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1.xml" ContentType="application/vnd.openxmlformats-officedocument.presentationml.tags+xml"/>
  <Override PartName="/ppt/notesSlides/notesSlide8.xml" ContentType="application/vnd.openxmlformats-officedocument.presentationml.notesSlide+xml"/>
  <Override PartName="/ppt/tags/tag102.xml" ContentType="application/vnd.openxmlformats-officedocument.presentationml.tags+xml"/>
  <Override PartName="/ppt/notesSlides/notesSlide9.xml" ContentType="application/vnd.openxmlformats-officedocument.presentationml.notesSlide+xml"/>
  <Override PartName="/ppt/tags/tag103.xml" ContentType="application/vnd.openxmlformats-officedocument.presentationml.tags+xml"/>
  <Override PartName="/ppt/notesSlides/notesSlide10.xml" ContentType="application/vnd.openxmlformats-officedocument.presentationml.notesSlide+xml"/>
  <Override PartName="/ppt/tags/tag104.xml" ContentType="application/vnd.openxmlformats-officedocument.presentationml.tags+xml"/>
  <Override PartName="/ppt/notesSlides/notesSlide11.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2.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3.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4.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5.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6.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7.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18.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19.xml" ContentType="application/vnd.openxmlformats-officedocument.presentationml.notesSlide+xml"/>
  <Override PartName="/ppt/tags/tag13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56.xml" ContentType="application/vnd.openxmlformats-officedocument.presentationml.notesSlide+xml"/>
  <Override PartName="/ppt/comments/comment1.xml" ContentType="application/vnd.openxmlformats-officedocument.presentationml.comment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62.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63.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2"/>
  </p:sldMasterIdLst>
  <p:notesMasterIdLst>
    <p:notesMasterId r:id="rId147"/>
  </p:notesMasterIdLst>
  <p:sldIdLst>
    <p:sldId id="259" r:id="rId63"/>
    <p:sldId id="394" r:id="rId64"/>
    <p:sldId id="423" r:id="rId65"/>
    <p:sldId id="261" r:id="rId66"/>
    <p:sldId id="395" r:id="rId67"/>
    <p:sldId id="385" r:id="rId68"/>
    <p:sldId id="386" r:id="rId69"/>
    <p:sldId id="381" r:id="rId70"/>
    <p:sldId id="382" r:id="rId71"/>
    <p:sldId id="383" r:id="rId72"/>
    <p:sldId id="328" r:id="rId73"/>
    <p:sldId id="329" r:id="rId74"/>
    <p:sldId id="330" r:id="rId75"/>
    <p:sldId id="333" r:id="rId76"/>
    <p:sldId id="331" r:id="rId77"/>
    <p:sldId id="334" r:id="rId78"/>
    <p:sldId id="332" r:id="rId79"/>
    <p:sldId id="391" r:id="rId80"/>
    <p:sldId id="392" r:id="rId81"/>
    <p:sldId id="390" r:id="rId82"/>
    <p:sldId id="396" r:id="rId83"/>
    <p:sldId id="272" r:id="rId84"/>
    <p:sldId id="397" r:id="rId85"/>
    <p:sldId id="378" r:id="rId86"/>
    <p:sldId id="336" r:id="rId87"/>
    <p:sldId id="379" r:id="rId88"/>
    <p:sldId id="437" r:id="rId89"/>
    <p:sldId id="436" r:id="rId90"/>
    <p:sldId id="285" r:id="rId91"/>
    <p:sldId id="380" r:id="rId92"/>
    <p:sldId id="375" r:id="rId93"/>
    <p:sldId id="393" r:id="rId94"/>
    <p:sldId id="398" r:id="rId95"/>
    <p:sldId id="295" r:id="rId96"/>
    <p:sldId id="399" r:id="rId97"/>
    <p:sldId id="297" r:id="rId98"/>
    <p:sldId id="342" r:id="rId99"/>
    <p:sldId id="406" r:id="rId100"/>
    <p:sldId id="301" r:id="rId101"/>
    <p:sldId id="400" r:id="rId102"/>
    <p:sldId id="344" r:id="rId103"/>
    <p:sldId id="347" r:id="rId104"/>
    <p:sldId id="424" r:id="rId105"/>
    <p:sldId id="425" r:id="rId106"/>
    <p:sldId id="345" r:id="rId107"/>
    <p:sldId id="357" r:id="rId108"/>
    <p:sldId id="401" r:id="rId109"/>
    <p:sldId id="303" r:id="rId110"/>
    <p:sldId id="402" r:id="rId111"/>
    <p:sldId id="348" r:id="rId112"/>
    <p:sldId id="426" r:id="rId113"/>
    <p:sldId id="429" r:id="rId114"/>
    <p:sldId id="431" r:id="rId115"/>
    <p:sldId id="427" r:id="rId116"/>
    <p:sldId id="430" r:id="rId117"/>
    <p:sldId id="434" r:id="rId118"/>
    <p:sldId id="428" r:id="rId119"/>
    <p:sldId id="433" r:id="rId120"/>
    <p:sldId id="360" r:id="rId121"/>
    <p:sldId id="403" r:id="rId122"/>
    <p:sldId id="313" r:id="rId123"/>
    <p:sldId id="404" r:id="rId124"/>
    <p:sldId id="373" r:id="rId125"/>
    <p:sldId id="343" r:id="rId126"/>
    <p:sldId id="367" r:id="rId127"/>
    <p:sldId id="405" r:id="rId128"/>
    <p:sldId id="407" r:id="rId129"/>
    <p:sldId id="408" r:id="rId130"/>
    <p:sldId id="413" r:id="rId131"/>
    <p:sldId id="412" r:id="rId132"/>
    <p:sldId id="414" r:id="rId133"/>
    <p:sldId id="415" r:id="rId134"/>
    <p:sldId id="417" r:id="rId135"/>
    <p:sldId id="416" r:id="rId136"/>
    <p:sldId id="420" r:id="rId137"/>
    <p:sldId id="421" r:id="rId138"/>
    <p:sldId id="410" r:id="rId139"/>
    <p:sldId id="411" r:id="rId140"/>
    <p:sldId id="320" r:id="rId141"/>
    <p:sldId id="321" r:id="rId142"/>
    <p:sldId id="324" r:id="rId143"/>
    <p:sldId id="325" r:id="rId144"/>
    <p:sldId id="326" r:id="rId145"/>
    <p:sldId id="327" r:id="rId1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76"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ck, Stephanie (DF PL DS TS DEL 4)" initials="BS(PDTD4" lastIdx="1" clrIdx="0">
    <p:extLst/>
  </p:cmAuthor>
  <p:cmAuthor id="2" name="Fields, Holly (DF PL CLD MK&amp;BS)" initials="FH(PCM"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24" autoAdjust="0"/>
    <p:restoredTop sz="88998" autoAdjust="0"/>
  </p:normalViewPr>
  <p:slideViewPr>
    <p:cSldViewPr snapToGrid="0" showGuides="1">
      <p:cViewPr varScale="1">
        <p:scale>
          <a:sx n="57" d="100"/>
          <a:sy n="57" d="100"/>
        </p:scale>
        <p:origin x="996" y="66"/>
      </p:cViewPr>
      <p:guideLst>
        <p:guide orient="horz" pos="2976"/>
        <p:guide pos="384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55.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1.xml"/><Relationship Id="rId68" Type="http://schemas.openxmlformats.org/officeDocument/2006/relationships/slide" Target="slides/slide6.xml"/><Relationship Id="rId84" Type="http://schemas.openxmlformats.org/officeDocument/2006/relationships/slide" Target="slides/slide22.xml"/><Relationship Id="rId89" Type="http://schemas.openxmlformats.org/officeDocument/2006/relationships/slide" Target="slides/slide27.xml"/><Relationship Id="rId112" Type="http://schemas.openxmlformats.org/officeDocument/2006/relationships/slide" Target="slides/slide50.xml"/><Relationship Id="rId133" Type="http://schemas.openxmlformats.org/officeDocument/2006/relationships/slide" Target="slides/slide71.xml"/><Relationship Id="rId138" Type="http://schemas.openxmlformats.org/officeDocument/2006/relationships/slide" Target="slides/slide76.xml"/><Relationship Id="rId16" Type="http://schemas.openxmlformats.org/officeDocument/2006/relationships/customXml" Target="../customXml/item16.xml"/><Relationship Id="rId107" Type="http://schemas.openxmlformats.org/officeDocument/2006/relationships/slide" Target="slides/slide45.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12.xml"/><Relationship Id="rId79" Type="http://schemas.openxmlformats.org/officeDocument/2006/relationships/slide" Target="slides/slide17.xml"/><Relationship Id="rId102" Type="http://schemas.openxmlformats.org/officeDocument/2006/relationships/slide" Target="slides/slide40.xml"/><Relationship Id="rId123" Type="http://schemas.openxmlformats.org/officeDocument/2006/relationships/slide" Target="slides/slide61.xml"/><Relationship Id="rId128" Type="http://schemas.openxmlformats.org/officeDocument/2006/relationships/slide" Target="slides/slide66.xml"/><Relationship Id="rId144" Type="http://schemas.openxmlformats.org/officeDocument/2006/relationships/slide" Target="slides/slide82.xml"/><Relationship Id="rId149" Type="http://schemas.openxmlformats.org/officeDocument/2006/relationships/presProps" Target="presProps.xml"/><Relationship Id="rId5" Type="http://schemas.openxmlformats.org/officeDocument/2006/relationships/customXml" Target="../customXml/item5.xml"/><Relationship Id="rId90" Type="http://schemas.openxmlformats.org/officeDocument/2006/relationships/slide" Target="slides/slide28.xml"/><Relationship Id="rId95" Type="http://schemas.openxmlformats.org/officeDocument/2006/relationships/slide" Target="slides/slide33.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slide" Target="slides/slide2.xml"/><Relationship Id="rId69" Type="http://schemas.openxmlformats.org/officeDocument/2006/relationships/slide" Target="slides/slide7.xml"/><Relationship Id="rId113" Type="http://schemas.openxmlformats.org/officeDocument/2006/relationships/slide" Target="slides/slide51.xml"/><Relationship Id="rId118" Type="http://schemas.openxmlformats.org/officeDocument/2006/relationships/slide" Target="slides/slide56.xml"/><Relationship Id="rId134" Type="http://schemas.openxmlformats.org/officeDocument/2006/relationships/slide" Target="slides/slide72.xml"/><Relationship Id="rId139" Type="http://schemas.openxmlformats.org/officeDocument/2006/relationships/slide" Target="slides/slide77.xml"/><Relationship Id="rId80" Type="http://schemas.openxmlformats.org/officeDocument/2006/relationships/slide" Target="slides/slide18.xml"/><Relationship Id="rId85" Type="http://schemas.openxmlformats.org/officeDocument/2006/relationships/slide" Target="slides/slide23.xml"/><Relationship Id="rId150" Type="http://schemas.openxmlformats.org/officeDocument/2006/relationships/viewProps" Target="viewProps.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slide" Target="slides/slide5.xml"/><Relationship Id="rId103" Type="http://schemas.openxmlformats.org/officeDocument/2006/relationships/slide" Target="slides/slide41.xml"/><Relationship Id="rId108" Type="http://schemas.openxmlformats.org/officeDocument/2006/relationships/slide" Target="slides/slide46.xml"/><Relationship Id="rId116" Type="http://schemas.openxmlformats.org/officeDocument/2006/relationships/slide" Target="slides/slide54.xml"/><Relationship Id="rId124" Type="http://schemas.openxmlformats.org/officeDocument/2006/relationships/slide" Target="slides/slide62.xml"/><Relationship Id="rId129" Type="http://schemas.openxmlformats.org/officeDocument/2006/relationships/slide" Target="slides/slide67.xml"/><Relationship Id="rId137" Type="http://schemas.openxmlformats.org/officeDocument/2006/relationships/slide" Target="slides/slide75.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slideMaster" Target="slideMasters/slideMaster1.xml"/><Relationship Id="rId70" Type="http://schemas.openxmlformats.org/officeDocument/2006/relationships/slide" Target="slides/slide8.xml"/><Relationship Id="rId75" Type="http://schemas.openxmlformats.org/officeDocument/2006/relationships/slide" Target="slides/slide13.xml"/><Relationship Id="rId83" Type="http://schemas.openxmlformats.org/officeDocument/2006/relationships/slide" Target="slides/slide21.xml"/><Relationship Id="rId88" Type="http://schemas.openxmlformats.org/officeDocument/2006/relationships/slide" Target="slides/slide26.xml"/><Relationship Id="rId91" Type="http://schemas.openxmlformats.org/officeDocument/2006/relationships/slide" Target="slides/slide29.xml"/><Relationship Id="rId96" Type="http://schemas.openxmlformats.org/officeDocument/2006/relationships/slide" Target="slides/slide34.xml"/><Relationship Id="rId111" Type="http://schemas.openxmlformats.org/officeDocument/2006/relationships/slide" Target="slides/slide49.xml"/><Relationship Id="rId132" Type="http://schemas.openxmlformats.org/officeDocument/2006/relationships/slide" Target="slides/slide70.xml"/><Relationship Id="rId140" Type="http://schemas.openxmlformats.org/officeDocument/2006/relationships/slide" Target="slides/slide78.xml"/><Relationship Id="rId145" Type="http://schemas.openxmlformats.org/officeDocument/2006/relationships/slide" Target="slides/slide83.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slide" Target="slides/slide44.xml"/><Relationship Id="rId114" Type="http://schemas.openxmlformats.org/officeDocument/2006/relationships/slide" Target="slides/slide52.xml"/><Relationship Id="rId119" Type="http://schemas.openxmlformats.org/officeDocument/2006/relationships/slide" Target="slides/slide57.xml"/><Relationship Id="rId127" Type="http://schemas.openxmlformats.org/officeDocument/2006/relationships/slide" Target="slides/slide65.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slide" Target="slides/slide3.xml"/><Relationship Id="rId73" Type="http://schemas.openxmlformats.org/officeDocument/2006/relationships/slide" Target="slides/slide11.xml"/><Relationship Id="rId78" Type="http://schemas.openxmlformats.org/officeDocument/2006/relationships/slide" Target="slides/slide16.xml"/><Relationship Id="rId81" Type="http://schemas.openxmlformats.org/officeDocument/2006/relationships/slide" Target="slides/slide19.xml"/><Relationship Id="rId86" Type="http://schemas.openxmlformats.org/officeDocument/2006/relationships/slide" Target="slides/slide24.xml"/><Relationship Id="rId94" Type="http://schemas.openxmlformats.org/officeDocument/2006/relationships/slide" Target="slides/slide32.xml"/><Relationship Id="rId99" Type="http://schemas.openxmlformats.org/officeDocument/2006/relationships/slide" Target="slides/slide37.xml"/><Relationship Id="rId101" Type="http://schemas.openxmlformats.org/officeDocument/2006/relationships/slide" Target="slides/slide39.xml"/><Relationship Id="rId122" Type="http://schemas.openxmlformats.org/officeDocument/2006/relationships/slide" Target="slides/slide60.xml"/><Relationship Id="rId130" Type="http://schemas.openxmlformats.org/officeDocument/2006/relationships/slide" Target="slides/slide68.xml"/><Relationship Id="rId135" Type="http://schemas.openxmlformats.org/officeDocument/2006/relationships/slide" Target="slides/slide73.xml"/><Relationship Id="rId143" Type="http://schemas.openxmlformats.org/officeDocument/2006/relationships/slide" Target="slides/slide81.xml"/><Relationship Id="rId148" Type="http://schemas.openxmlformats.org/officeDocument/2006/relationships/commentAuthors" Target="commentAuthors.xml"/><Relationship Id="rId15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47.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14.xml"/><Relationship Id="rId97" Type="http://schemas.openxmlformats.org/officeDocument/2006/relationships/slide" Target="slides/slide35.xml"/><Relationship Id="rId104" Type="http://schemas.openxmlformats.org/officeDocument/2006/relationships/slide" Target="slides/slide42.xml"/><Relationship Id="rId120" Type="http://schemas.openxmlformats.org/officeDocument/2006/relationships/slide" Target="slides/slide58.xml"/><Relationship Id="rId125" Type="http://schemas.openxmlformats.org/officeDocument/2006/relationships/slide" Target="slides/slide63.xml"/><Relationship Id="rId141" Type="http://schemas.openxmlformats.org/officeDocument/2006/relationships/slide" Target="slides/slide79.xml"/><Relationship Id="rId146" Type="http://schemas.openxmlformats.org/officeDocument/2006/relationships/slide" Target="slides/slide84.xml"/><Relationship Id="rId7" Type="http://schemas.openxmlformats.org/officeDocument/2006/relationships/customXml" Target="../customXml/item7.xml"/><Relationship Id="rId71" Type="http://schemas.openxmlformats.org/officeDocument/2006/relationships/slide" Target="slides/slide9.xml"/><Relationship Id="rId92" Type="http://schemas.openxmlformats.org/officeDocument/2006/relationships/slide" Target="slides/slide30.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4.xml"/><Relationship Id="rId87" Type="http://schemas.openxmlformats.org/officeDocument/2006/relationships/slide" Target="slides/slide25.xml"/><Relationship Id="rId110" Type="http://schemas.openxmlformats.org/officeDocument/2006/relationships/slide" Target="slides/slide48.xml"/><Relationship Id="rId115" Type="http://schemas.openxmlformats.org/officeDocument/2006/relationships/slide" Target="slides/slide53.xml"/><Relationship Id="rId131" Type="http://schemas.openxmlformats.org/officeDocument/2006/relationships/slide" Target="slides/slide69.xml"/><Relationship Id="rId136" Type="http://schemas.openxmlformats.org/officeDocument/2006/relationships/slide" Target="slides/slide74.xml"/><Relationship Id="rId61" Type="http://schemas.openxmlformats.org/officeDocument/2006/relationships/customXml" Target="../customXml/item61.xml"/><Relationship Id="rId82" Type="http://schemas.openxmlformats.org/officeDocument/2006/relationships/slide" Target="slides/slide20.xml"/><Relationship Id="rId152" Type="http://schemas.openxmlformats.org/officeDocument/2006/relationships/tableStyles" Target="tableStyles.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15.xml"/><Relationship Id="rId100" Type="http://schemas.openxmlformats.org/officeDocument/2006/relationships/slide" Target="slides/slide38.xml"/><Relationship Id="rId105" Type="http://schemas.openxmlformats.org/officeDocument/2006/relationships/slide" Target="slides/slide43.xml"/><Relationship Id="rId126" Type="http://schemas.openxmlformats.org/officeDocument/2006/relationships/slide" Target="slides/slide64.xml"/><Relationship Id="rId147"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10.xml"/><Relationship Id="rId93" Type="http://schemas.openxmlformats.org/officeDocument/2006/relationships/slide" Target="slides/slide31.xml"/><Relationship Id="rId98" Type="http://schemas.openxmlformats.org/officeDocument/2006/relationships/slide" Target="slides/slide36.xml"/><Relationship Id="rId121" Type="http://schemas.openxmlformats.org/officeDocument/2006/relationships/slide" Target="slides/slide59.xml"/><Relationship Id="rId142" Type="http://schemas.openxmlformats.org/officeDocument/2006/relationships/slide" Target="slides/slide80.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7-08-07T09:45:52.646" idx="2">
    <p:pos x="3652" y="2959"/>
    <p:text>word missing: gateway into field level ?? which...</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4A1C6D-E5E4-442C-A1DA-8B24A97FDA9F}" type="datetimeFigureOut">
              <a:rPr lang="en-US" smtClean="0"/>
              <a:t>8/2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22CA08-121E-44F4-A8B4-1C154DB46366}" type="slidenum">
              <a:rPr lang="en-US" smtClean="0"/>
              <a:t>‹#›</a:t>
            </a:fld>
            <a:endParaRPr lang="en-US"/>
          </a:p>
        </p:txBody>
      </p:sp>
    </p:spTree>
    <p:extLst>
      <p:ext uri="{BB962C8B-B14F-4D97-AF65-F5344CB8AC3E}">
        <p14:creationId xmlns:p14="http://schemas.microsoft.com/office/powerpoint/2010/main" val="2769190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documentation.unified-automation.com/uasdkcpp/1.5.3/html/L2UaNodeClasses.html#L3UaNodeClassBase" TargetMode="External"/><Relationship Id="rId2" Type="http://schemas.openxmlformats.org/officeDocument/2006/relationships/slide" Target="../slides/slide57.xml"/><Relationship Id="rId1" Type="http://schemas.openxmlformats.org/officeDocument/2006/relationships/notesMaster" Target="../notesMasters/notesMaster1.xml"/><Relationship Id="rId4" Type="http://schemas.openxmlformats.org/officeDocument/2006/relationships/hyperlink" Target="http://documentation.unified-automation.com/uasdkcpp/1.5.3/html/L2UaNodeIds.html"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documentation.unified-automation.com/uasdkcpp/1.5.3/html/L2UaSubscription.html"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1</a:t>
            </a:fld>
            <a:endParaRPr lang="en-US"/>
          </a:p>
        </p:txBody>
      </p:sp>
    </p:spTree>
    <p:extLst>
      <p:ext uri="{BB962C8B-B14F-4D97-AF65-F5344CB8AC3E}">
        <p14:creationId xmlns:p14="http://schemas.microsoft.com/office/powerpoint/2010/main" val="2060380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109538" y="741363"/>
            <a:ext cx="6580187" cy="3700462"/>
          </a:xfrm>
          <a:noFill/>
        </p:spPr>
      </p:sp>
      <p:sp>
        <p:nvSpPr>
          <p:cNvPr id="188419" name="Rectangle 3"/>
          <p:cNvSpPr>
            <a:spLocks noGrp="1" noChangeArrowheads="1"/>
          </p:cNvSpPr>
          <p:nvPr>
            <p:ph type="body" idx="1"/>
          </p:nvPr>
        </p:nvSpPr>
        <p:spPr/>
        <p:txBody>
          <a:bodyPr>
            <a:noAutofit/>
          </a:bodyPr>
          <a:lstStyle/>
          <a:p>
            <a:endParaRPr lang="en-US" dirty="0" smtClean="0"/>
          </a:p>
        </p:txBody>
      </p:sp>
    </p:spTree>
    <p:extLst>
      <p:ext uri="{BB962C8B-B14F-4D97-AF65-F5344CB8AC3E}">
        <p14:creationId xmlns:p14="http://schemas.microsoft.com/office/powerpoint/2010/main" val="1547967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381000" y="685800"/>
            <a:ext cx="6097588" cy="3429000"/>
          </a:xfrm>
          <a:noFill/>
        </p:spPr>
      </p:sp>
      <p:sp>
        <p:nvSpPr>
          <p:cNvPr id="188419" name="Rectangle 3"/>
          <p:cNvSpPr>
            <a:spLocks noGrp="1" noChangeArrowheads="1"/>
          </p:cNvSpPr>
          <p:nvPr>
            <p:ph type="body" idx="1"/>
          </p:nvPr>
        </p:nvSpPr>
        <p:spPr/>
        <p:txBody>
          <a:bodyPr>
            <a:noAutofit/>
          </a:bodyPr>
          <a:lstStyle/>
          <a:p>
            <a:endParaRPr lang="en-US" dirty="0" smtClean="0"/>
          </a:p>
        </p:txBody>
      </p:sp>
    </p:spTree>
    <p:extLst>
      <p:ext uri="{BB962C8B-B14F-4D97-AF65-F5344CB8AC3E}">
        <p14:creationId xmlns:p14="http://schemas.microsoft.com/office/powerpoint/2010/main" val="923765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izen </a:t>
            </a:r>
            <a:fld id="{AD141568-5488-4AC9-B82D-9F5CE1225E2A}" type="slidenum">
              <a:rPr lang="en-US" smtClean="0">
                <a:latin typeface="Arial" pitchFamily="34" charset="0"/>
              </a:rPr>
              <a:pPr/>
              <a:t>12</a:t>
            </a:fld>
            <a:endParaRPr lang="en-US" dirty="0">
              <a:latin typeface="Arial" pitchFamily="34" charset="0"/>
            </a:endParaRPr>
          </a:p>
        </p:txBody>
      </p:sp>
    </p:spTree>
    <p:extLst>
      <p:ext uri="{BB962C8B-B14F-4D97-AF65-F5344CB8AC3E}">
        <p14:creationId xmlns:p14="http://schemas.microsoft.com/office/powerpoint/2010/main" val="10068778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izen </a:t>
            </a:r>
            <a:fld id="{AD141568-5488-4AC9-B82D-9F5CE1225E2A}" type="slidenum">
              <a:rPr lang="en-US" smtClean="0">
                <a:latin typeface="Arial" pitchFamily="34" charset="0"/>
              </a:rPr>
              <a:pPr/>
              <a:t>13</a:t>
            </a:fld>
            <a:endParaRPr lang="en-US" dirty="0">
              <a:latin typeface="Arial" pitchFamily="34" charset="0"/>
            </a:endParaRPr>
          </a:p>
        </p:txBody>
      </p:sp>
    </p:spTree>
    <p:extLst>
      <p:ext uri="{BB962C8B-B14F-4D97-AF65-F5344CB8AC3E}">
        <p14:creationId xmlns:p14="http://schemas.microsoft.com/office/powerpoint/2010/main" val="1172554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izen </a:t>
            </a:r>
            <a:fld id="{AD141568-5488-4AC9-B82D-9F5CE1225E2A}" type="slidenum">
              <a:rPr lang="en-US" smtClean="0">
                <a:latin typeface="Arial" pitchFamily="34" charset="0"/>
              </a:rPr>
              <a:pPr/>
              <a:t>14</a:t>
            </a:fld>
            <a:endParaRPr lang="en-US" dirty="0">
              <a:latin typeface="Arial" pitchFamily="34" charset="0"/>
            </a:endParaRPr>
          </a:p>
        </p:txBody>
      </p:sp>
    </p:spTree>
    <p:extLst>
      <p:ext uri="{BB962C8B-B14F-4D97-AF65-F5344CB8AC3E}">
        <p14:creationId xmlns:p14="http://schemas.microsoft.com/office/powerpoint/2010/main" val="27118052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izen </a:t>
            </a:r>
            <a:fld id="{AD141568-5488-4AC9-B82D-9F5CE1225E2A}" type="slidenum">
              <a:rPr lang="en-US" smtClean="0">
                <a:latin typeface="Arial" pitchFamily="34" charset="0"/>
              </a:rPr>
              <a:pPr/>
              <a:t>15</a:t>
            </a:fld>
            <a:endParaRPr lang="en-US" dirty="0">
              <a:latin typeface="Arial" pitchFamily="34" charset="0"/>
            </a:endParaRPr>
          </a:p>
        </p:txBody>
      </p:sp>
    </p:spTree>
    <p:extLst>
      <p:ext uri="{BB962C8B-B14F-4D97-AF65-F5344CB8AC3E}">
        <p14:creationId xmlns:p14="http://schemas.microsoft.com/office/powerpoint/2010/main" val="3055626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izen </a:t>
            </a:r>
            <a:fld id="{AD141568-5488-4AC9-B82D-9F5CE1225E2A}" type="slidenum">
              <a:rPr lang="en-US" smtClean="0">
                <a:latin typeface="Arial" pitchFamily="34" charset="0"/>
              </a:rPr>
              <a:pPr/>
              <a:t>16</a:t>
            </a:fld>
            <a:endParaRPr lang="en-US" dirty="0">
              <a:latin typeface="Arial" pitchFamily="34" charset="0"/>
            </a:endParaRPr>
          </a:p>
        </p:txBody>
      </p:sp>
    </p:spTree>
    <p:extLst>
      <p:ext uri="{BB962C8B-B14F-4D97-AF65-F5344CB8AC3E}">
        <p14:creationId xmlns:p14="http://schemas.microsoft.com/office/powerpoint/2010/main" val="27118052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izen </a:t>
            </a:r>
            <a:fld id="{AD141568-5488-4AC9-B82D-9F5CE1225E2A}" type="slidenum">
              <a:rPr lang="en-US" smtClean="0">
                <a:latin typeface="Arial" pitchFamily="34" charset="0"/>
              </a:rPr>
              <a:pPr/>
              <a:t>17</a:t>
            </a:fld>
            <a:endParaRPr lang="en-US" dirty="0">
              <a:latin typeface="Arial" pitchFamily="34" charset="0"/>
            </a:endParaRPr>
          </a:p>
        </p:txBody>
      </p:sp>
    </p:spTree>
    <p:extLst>
      <p:ext uri="{BB962C8B-B14F-4D97-AF65-F5344CB8AC3E}">
        <p14:creationId xmlns:p14="http://schemas.microsoft.com/office/powerpoint/2010/main" val="27118052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18</a:t>
            </a:fld>
            <a:endParaRPr lang="en-US" dirty="0">
              <a:latin typeface="Arial" pitchFamily="34" charset="0"/>
            </a:endParaRPr>
          </a:p>
        </p:txBody>
      </p:sp>
    </p:spTree>
    <p:extLst>
      <p:ext uri="{BB962C8B-B14F-4D97-AF65-F5344CB8AC3E}">
        <p14:creationId xmlns:p14="http://schemas.microsoft.com/office/powerpoint/2010/main" val="32699648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19</a:t>
            </a:fld>
            <a:endParaRPr lang="en-US" dirty="0">
              <a:latin typeface="Arial" pitchFamily="34" charset="0"/>
            </a:endParaRPr>
          </a:p>
        </p:txBody>
      </p:sp>
    </p:spTree>
    <p:extLst>
      <p:ext uri="{BB962C8B-B14F-4D97-AF65-F5344CB8AC3E}">
        <p14:creationId xmlns:p14="http://schemas.microsoft.com/office/powerpoint/2010/main" val="4205630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 through</a:t>
            </a:r>
            <a:r>
              <a:rPr lang="en-US" baseline="0" dirty="0" smtClean="0"/>
              <a:t> the agenda of today’s training with explanation for each item</a:t>
            </a:r>
          </a:p>
          <a:p>
            <a:endParaRPr lang="en-US" baseline="0" dirty="0" smtClean="0"/>
          </a:p>
          <a:p>
            <a:pPr marL="228600" indent="-228600">
              <a:buAutoNum type="arabicParenR"/>
            </a:pPr>
            <a:r>
              <a:rPr lang="en-US" baseline="0" dirty="0" smtClean="0"/>
              <a:t>MSPH Ecosystem -&gt; How does it look like &amp; what parts do exist in the MSPH ecosystem?</a:t>
            </a:r>
          </a:p>
          <a:p>
            <a:pPr marL="228600" indent="-228600">
              <a:buAutoNum type="arabicParenR"/>
            </a:pPr>
            <a:r>
              <a:rPr lang="en-US" baseline="0" dirty="0" smtClean="0"/>
              <a:t>MSPH Scalable Portfolio -&gt; What does MSPH currently offer (e.g. infrastructure, APIs, apps)?</a:t>
            </a:r>
          </a:p>
          <a:p>
            <a:pPr marL="228600" indent="-228600">
              <a:buAutoNum type="arabicParenR"/>
            </a:pPr>
            <a:r>
              <a:rPr lang="en-US" baseline="0" dirty="0" smtClean="0"/>
              <a:t>IT security -&gt; How do we make sure your data is safe and no one has unauthorized access to your data?</a:t>
            </a:r>
          </a:p>
          <a:p>
            <a:pPr marL="228600" indent="-228600">
              <a:buAutoNum type="arabicParenR"/>
            </a:pPr>
            <a:r>
              <a:rPr lang="en-US" baseline="0" dirty="0" smtClean="0"/>
              <a:t>Demonstration/Hands-On -&gt; Probably most interesting part as we onboard a device to MSPH and let actually a training participant connect the device with MSPH</a:t>
            </a:r>
          </a:p>
          <a:p>
            <a:pPr marL="228600" indent="-228600">
              <a:buAutoNum type="arabicParenR"/>
            </a:pPr>
            <a:r>
              <a:rPr lang="en-US" baseline="0" dirty="0" smtClean="0"/>
              <a:t>Use Cases - </a:t>
            </a:r>
            <a:r>
              <a:rPr lang="en-US" baseline="0" dirty="0" err="1" smtClean="0"/>
              <a:t>MindApps</a:t>
            </a:r>
            <a:r>
              <a:rPr lang="en-US" baseline="0" dirty="0" smtClean="0"/>
              <a:t> &amp; Connectivity -&gt; For which use cases can MindSphere be used or is being used already? What are the benefits for our customers?</a:t>
            </a:r>
          </a:p>
          <a:p>
            <a:pPr marL="228600" indent="-228600">
              <a:buAutoNum type="arabicParenR"/>
            </a:pPr>
            <a:r>
              <a:rPr lang="en-US" baseline="0" dirty="0" smtClean="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smtClean="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a:t>
            </a:fld>
            <a:endParaRPr lang="en-US" dirty="0">
              <a:solidFill>
                <a:srgbClr val="000000"/>
              </a:solidFill>
              <a:latin typeface="Arial" pitchFamily="34" charset="0"/>
            </a:endParaRPr>
          </a:p>
        </p:txBody>
      </p:sp>
    </p:spTree>
    <p:extLst>
      <p:ext uri="{BB962C8B-B14F-4D97-AF65-F5344CB8AC3E}">
        <p14:creationId xmlns:p14="http://schemas.microsoft.com/office/powerpoint/2010/main" val="4278259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139700" y="768350"/>
            <a:ext cx="6821488" cy="3836988"/>
          </a:xfrm>
          <a:noFill/>
        </p:spPr>
      </p:sp>
      <p:sp>
        <p:nvSpPr>
          <p:cNvPr id="188419" name="Rectangle 3"/>
          <p:cNvSpPr>
            <a:spLocks noGrp="1" noChangeArrowheads="1"/>
          </p:cNvSpPr>
          <p:nvPr>
            <p:ph type="body" idx="1"/>
          </p:nvPr>
        </p:nvSpPr>
        <p:spPr/>
        <p:txBody>
          <a:bodyPr>
            <a:noAutofit/>
          </a:bodyPr>
          <a:lstStyle/>
          <a:p>
            <a:endParaRPr lang="en-US" dirty="0" smtClean="0"/>
          </a:p>
        </p:txBody>
      </p:sp>
    </p:spTree>
    <p:extLst>
      <p:ext uri="{BB962C8B-B14F-4D97-AF65-F5344CB8AC3E}">
        <p14:creationId xmlns:p14="http://schemas.microsoft.com/office/powerpoint/2010/main" val="1112554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a:t>
            </a:fld>
            <a:endParaRPr lang="en-US" dirty="0">
              <a:solidFill>
                <a:srgbClr val="000000"/>
              </a:solidFill>
              <a:latin typeface="Arial" pitchFamily="34" charset="0"/>
            </a:endParaRPr>
          </a:p>
        </p:txBody>
      </p:sp>
    </p:spTree>
    <p:extLst>
      <p:ext uri="{BB962C8B-B14F-4D97-AF65-F5344CB8AC3E}">
        <p14:creationId xmlns:p14="http://schemas.microsoft.com/office/powerpoint/2010/main" val="7519109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22</a:t>
            </a:fld>
            <a:endParaRPr lang="en-US"/>
          </a:p>
        </p:txBody>
      </p:sp>
    </p:spTree>
    <p:extLst>
      <p:ext uri="{BB962C8B-B14F-4D97-AF65-F5344CB8AC3E}">
        <p14:creationId xmlns:p14="http://schemas.microsoft.com/office/powerpoint/2010/main" val="20603809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 through</a:t>
            </a:r>
            <a:r>
              <a:rPr lang="en-US" baseline="0" dirty="0" smtClean="0"/>
              <a:t> the agenda of today’s training with explanation for each item</a:t>
            </a:r>
          </a:p>
          <a:p>
            <a:endParaRPr lang="en-US" baseline="0" dirty="0" smtClean="0"/>
          </a:p>
          <a:p>
            <a:pPr marL="228600" indent="-228600">
              <a:buAutoNum type="arabicParenR"/>
            </a:pPr>
            <a:r>
              <a:rPr lang="en-US" baseline="0" dirty="0" smtClean="0"/>
              <a:t>MSPH Ecosystem -&gt; How does it look like &amp; what parts do exist in the MSPH ecosystem?</a:t>
            </a:r>
          </a:p>
          <a:p>
            <a:pPr marL="228600" indent="-228600">
              <a:buAutoNum type="arabicParenR"/>
            </a:pPr>
            <a:r>
              <a:rPr lang="en-US" baseline="0" dirty="0" smtClean="0"/>
              <a:t>MSPH Scalable Portfolio -&gt; What does MSPH currently offer (e.g. infrastructure, APIs, apps)?</a:t>
            </a:r>
          </a:p>
          <a:p>
            <a:pPr marL="228600" indent="-228600">
              <a:buAutoNum type="arabicParenR"/>
            </a:pPr>
            <a:r>
              <a:rPr lang="en-US" baseline="0" dirty="0" smtClean="0"/>
              <a:t>IT security -&gt; How do we make sure your data is safe and no one has unauthorized access to your data?</a:t>
            </a:r>
          </a:p>
          <a:p>
            <a:pPr marL="228600" indent="-228600">
              <a:buAutoNum type="arabicParenR"/>
            </a:pPr>
            <a:r>
              <a:rPr lang="en-US" baseline="0" dirty="0" smtClean="0"/>
              <a:t>Demonstration/Hands-On -&gt; Probably most interesting part as we onboard a device to MSPH and let actually a training participant connect the device with MSPH</a:t>
            </a:r>
          </a:p>
          <a:p>
            <a:pPr marL="228600" indent="-228600">
              <a:buAutoNum type="arabicParenR"/>
            </a:pPr>
            <a:r>
              <a:rPr lang="en-US" baseline="0" dirty="0" smtClean="0"/>
              <a:t>Use Cases - </a:t>
            </a:r>
            <a:r>
              <a:rPr lang="en-US" baseline="0" dirty="0" err="1" smtClean="0"/>
              <a:t>MindApps</a:t>
            </a:r>
            <a:r>
              <a:rPr lang="en-US" baseline="0" dirty="0" smtClean="0"/>
              <a:t> &amp; Connectivity -&gt; For which use cases can MindSphere be used or is being used already? What are the benefits for our customers?</a:t>
            </a:r>
          </a:p>
          <a:p>
            <a:pPr marL="228600" indent="-228600">
              <a:buAutoNum type="arabicParenR"/>
            </a:pPr>
            <a:r>
              <a:rPr lang="en-US" baseline="0" dirty="0" smtClean="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smtClean="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3</a:t>
            </a:fld>
            <a:endParaRPr lang="en-US" dirty="0">
              <a:solidFill>
                <a:srgbClr val="000000"/>
              </a:solidFill>
              <a:latin typeface="Arial" pitchFamily="34" charset="0"/>
            </a:endParaRPr>
          </a:p>
        </p:txBody>
      </p:sp>
    </p:spTree>
    <p:extLst>
      <p:ext uri="{BB962C8B-B14F-4D97-AF65-F5344CB8AC3E}">
        <p14:creationId xmlns:p14="http://schemas.microsoft.com/office/powerpoint/2010/main" val="378663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7588" cy="3429000"/>
          </a:xfrm>
        </p:spPr>
      </p:sp>
      <p:sp>
        <p:nvSpPr>
          <p:cNvPr id="3" name="Notes Placeholder 2"/>
          <p:cNvSpPr>
            <a:spLocks noGrp="1"/>
          </p:cNvSpPr>
          <p:nvPr>
            <p:ph type="body" idx="1"/>
          </p:nvPr>
        </p:nvSpPr>
        <p:spPr/>
        <p:txBody>
          <a:bodyPr/>
          <a:lstStyle/>
          <a:p>
            <a:pPr defTabSz="914310">
              <a:defRPr/>
            </a:pPr>
            <a:endParaRPr lang="en-US" dirty="0" smtClean="0"/>
          </a:p>
        </p:txBody>
      </p:sp>
      <p:sp>
        <p:nvSpPr>
          <p:cNvPr id="4" name="Slide Number Placeholder 3"/>
          <p:cNvSpPr>
            <a:spLocks noGrp="1"/>
          </p:cNvSpPr>
          <p:nvPr>
            <p:ph type="sldNum" sz="quarter" idx="10"/>
          </p:nvPr>
        </p:nvSpPr>
        <p:spPr/>
        <p:txBody>
          <a:bodyPr/>
          <a:lstStyle/>
          <a:p>
            <a:fld id="{16160EF0-71D7-ED4C-BC5B-37DE0548B181}" type="slidenum">
              <a:rPr lang="en-US" smtClean="0">
                <a:solidFill>
                  <a:srgbClr val="000000"/>
                </a:solidFill>
              </a:rPr>
              <a:pPr/>
              <a:t>24</a:t>
            </a:fld>
            <a:endParaRPr lang="en-US">
              <a:solidFill>
                <a:srgbClr val="000000"/>
              </a:solidFill>
            </a:endParaRPr>
          </a:p>
        </p:txBody>
      </p:sp>
    </p:spTree>
    <p:extLst>
      <p:ext uri="{BB962C8B-B14F-4D97-AF65-F5344CB8AC3E}">
        <p14:creationId xmlns:p14="http://schemas.microsoft.com/office/powerpoint/2010/main" val="3102624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7588" cy="3429000"/>
          </a:xfrm>
        </p:spPr>
      </p:sp>
      <p:sp>
        <p:nvSpPr>
          <p:cNvPr id="3" name="Notes Placeholder 2"/>
          <p:cNvSpPr>
            <a:spLocks noGrp="1"/>
          </p:cNvSpPr>
          <p:nvPr>
            <p:ph type="body" idx="1"/>
          </p:nvPr>
        </p:nvSpPr>
        <p:spPr/>
        <p:txBody>
          <a:bodyPr/>
          <a:lstStyle/>
          <a:p>
            <a:pPr defTabSz="914310">
              <a:defRPr/>
            </a:pPr>
            <a:endParaRPr lang="en-US" dirty="0" smtClean="0"/>
          </a:p>
        </p:txBody>
      </p:sp>
      <p:sp>
        <p:nvSpPr>
          <p:cNvPr id="4" name="Slide Number Placeholder 3"/>
          <p:cNvSpPr>
            <a:spLocks noGrp="1"/>
          </p:cNvSpPr>
          <p:nvPr>
            <p:ph type="sldNum" sz="quarter" idx="10"/>
          </p:nvPr>
        </p:nvSpPr>
        <p:spPr/>
        <p:txBody>
          <a:bodyPr/>
          <a:lstStyle/>
          <a:p>
            <a:fld id="{16160EF0-71D7-ED4C-BC5B-37DE0548B181}" type="slidenum">
              <a:rPr lang="en-US" smtClean="0">
                <a:solidFill>
                  <a:srgbClr val="000000"/>
                </a:solidFill>
              </a:rPr>
              <a:pPr/>
              <a:t>26</a:t>
            </a:fld>
            <a:endParaRPr lang="en-US">
              <a:solidFill>
                <a:srgbClr val="000000"/>
              </a:solidFill>
            </a:endParaRPr>
          </a:p>
        </p:txBody>
      </p:sp>
    </p:spTree>
    <p:extLst>
      <p:ext uri="{BB962C8B-B14F-4D97-AF65-F5344CB8AC3E}">
        <p14:creationId xmlns:p14="http://schemas.microsoft.com/office/powerpoint/2010/main" val="8650936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29</a:t>
            </a:fld>
            <a:endParaRPr lang="en-US"/>
          </a:p>
        </p:txBody>
      </p:sp>
    </p:spTree>
    <p:extLst>
      <p:ext uri="{BB962C8B-B14F-4D97-AF65-F5344CB8AC3E}">
        <p14:creationId xmlns:p14="http://schemas.microsoft.com/office/powerpoint/2010/main" val="2538906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b="1" dirty="0" smtClean="0">
                <a:solidFill>
                  <a:schemeClr val="tx1"/>
                </a:solidFill>
              </a:rPr>
              <a:t>transparency</a:t>
            </a:r>
            <a:r>
              <a:rPr lang="en-US" sz="1600" dirty="0" smtClean="0">
                <a:solidFill>
                  <a:schemeClr val="tx1"/>
                </a:solidFill>
              </a:rPr>
              <a:t> of </a:t>
            </a:r>
            <a:r>
              <a:rPr lang="en-US" sz="1600" b="1" dirty="0" smtClean="0">
                <a:solidFill>
                  <a:schemeClr val="tx1"/>
                </a:solidFill>
              </a:rPr>
              <a:t>installed</a:t>
            </a:r>
            <a:r>
              <a:rPr lang="en-US" sz="1600" dirty="0" smtClean="0">
                <a:solidFill>
                  <a:schemeClr val="tx1"/>
                </a:solidFill>
              </a:rPr>
              <a:t> </a:t>
            </a:r>
            <a:r>
              <a:rPr lang="en-US" sz="1600" b="1" dirty="0" smtClean="0">
                <a:solidFill>
                  <a:schemeClr val="tx1"/>
                </a:solidFill>
              </a:rPr>
              <a:t>base</a:t>
            </a:r>
          </a:p>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dirty="0" smtClean="0">
                <a:solidFill>
                  <a:schemeClr val="tx1"/>
                </a:solidFill>
              </a:rPr>
              <a:t>An </a:t>
            </a:r>
            <a:r>
              <a:rPr lang="en-US" sz="1600" b="1" dirty="0" smtClean="0">
                <a:solidFill>
                  <a:schemeClr val="tx1"/>
                </a:solidFill>
              </a:rPr>
              <a:t>Asset</a:t>
            </a:r>
            <a:r>
              <a:rPr lang="en-US" sz="1600" dirty="0" smtClean="0">
                <a:solidFill>
                  <a:schemeClr val="tx1"/>
                </a:solidFill>
              </a:rPr>
              <a:t> is a logical representation of a machine or a system with one or multiple components</a:t>
            </a:r>
          </a:p>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dirty="0" smtClean="0">
                <a:solidFill>
                  <a:schemeClr val="tx1"/>
                </a:solidFill>
              </a:rPr>
              <a:t>For each asset cluster of multiple data sources which are required for a specific analysis </a:t>
            </a:r>
            <a:r>
              <a:rPr lang="en-US" sz="1600" b="1" dirty="0" smtClean="0">
                <a:solidFill>
                  <a:schemeClr val="tx1"/>
                </a:solidFill>
              </a:rPr>
              <a:t>Aspects</a:t>
            </a:r>
            <a:r>
              <a:rPr lang="en-US" sz="1600" dirty="0" smtClean="0">
                <a:solidFill>
                  <a:schemeClr val="tx1"/>
                </a:solidFill>
              </a:rPr>
              <a:t> (e.g., pressure, temperature, etc.) can be created </a:t>
            </a:r>
          </a:p>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dirty="0" smtClean="0">
                <a:solidFill>
                  <a:schemeClr val="tx1"/>
                </a:solidFill>
              </a:rPr>
              <a:t>A </a:t>
            </a:r>
            <a:r>
              <a:rPr lang="en-US" sz="1600" b="1" dirty="0" smtClean="0">
                <a:solidFill>
                  <a:schemeClr val="tx1"/>
                </a:solidFill>
              </a:rPr>
              <a:t>Map</a:t>
            </a:r>
            <a:r>
              <a:rPr lang="en-US" sz="1600" dirty="0" smtClean="0">
                <a:solidFill>
                  <a:schemeClr val="tx1"/>
                </a:solidFill>
              </a:rPr>
              <a:t> </a:t>
            </a:r>
            <a:r>
              <a:rPr lang="en-US" sz="1600" b="1" dirty="0" smtClean="0">
                <a:solidFill>
                  <a:schemeClr val="tx1"/>
                </a:solidFill>
              </a:rPr>
              <a:t>View</a:t>
            </a:r>
            <a:r>
              <a:rPr lang="en-US" sz="1600" dirty="0" smtClean="0">
                <a:solidFill>
                  <a:schemeClr val="tx1"/>
                </a:solidFill>
              </a:rPr>
              <a:t> shows the geographic location of connected Assets. Users see the recorded data in different diagrams. The user defines the data display timeframe</a:t>
            </a:r>
          </a:p>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dirty="0" smtClean="0">
                <a:solidFill>
                  <a:schemeClr val="tx1"/>
                </a:solidFill>
              </a:rPr>
              <a:t>The </a:t>
            </a:r>
            <a:r>
              <a:rPr lang="en-US" sz="1600" b="1" dirty="0" smtClean="0">
                <a:solidFill>
                  <a:schemeClr val="tx1"/>
                </a:solidFill>
              </a:rPr>
              <a:t>Request</a:t>
            </a:r>
            <a:r>
              <a:rPr lang="en-US" sz="1600" dirty="0" smtClean="0">
                <a:solidFill>
                  <a:schemeClr val="tx1"/>
                </a:solidFill>
              </a:rPr>
              <a:t> function helps users defining resulting actions after occurrence of an event, such as exceeding a limit</a:t>
            </a:r>
          </a:p>
          <a:p>
            <a:endParaRPr lang="en-US" dirty="0"/>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30</a:t>
            </a:fld>
            <a:endParaRPr lang="en-US" dirty="0">
              <a:latin typeface="Arial" pitchFamily="34" charset="0"/>
            </a:endParaRPr>
          </a:p>
        </p:txBody>
      </p:sp>
    </p:spTree>
    <p:extLst>
      <p:ext uri="{BB962C8B-B14F-4D97-AF65-F5344CB8AC3E}">
        <p14:creationId xmlns:p14="http://schemas.microsoft.com/office/powerpoint/2010/main" val="36344477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b="1" dirty="0" smtClean="0">
                <a:solidFill>
                  <a:schemeClr val="tx1"/>
                </a:solidFill>
              </a:rPr>
              <a:t>transparency</a:t>
            </a:r>
            <a:r>
              <a:rPr lang="en-US" sz="1600" dirty="0" smtClean="0">
                <a:solidFill>
                  <a:schemeClr val="tx1"/>
                </a:solidFill>
              </a:rPr>
              <a:t> of </a:t>
            </a:r>
            <a:r>
              <a:rPr lang="en-US" sz="1600" b="1" dirty="0" smtClean="0">
                <a:solidFill>
                  <a:schemeClr val="tx1"/>
                </a:solidFill>
              </a:rPr>
              <a:t>installed</a:t>
            </a:r>
            <a:r>
              <a:rPr lang="en-US" sz="1600" dirty="0" smtClean="0">
                <a:solidFill>
                  <a:schemeClr val="tx1"/>
                </a:solidFill>
              </a:rPr>
              <a:t> </a:t>
            </a:r>
            <a:r>
              <a:rPr lang="en-US" sz="1600" b="1" dirty="0" smtClean="0">
                <a:solidFill>
                  <a:schemeClr val="tx1"/>
                </a:solidFill>
              </a:rPr>
              <a:t>base</a:t>
            </a:r>
          </a:p>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dirty="0" smtClean="0">
                <a:solidFill>
                  <a:schemeClr val="tx1"/>
                </a:solidFill>
              </a:rPr>
              <a:t>An </a:t>
            </a:r>
            <a:r>
              <a:rPr lang="en-US" sz="1600" b="1" dirty="0" smtClean="0">
                <a:solidFill>
                  <a:schemeClr val="tx1"/>
                </a:solidFill>
              </a:rPr>
              <a:t>Asset</a:t>
            </a:r>
            <a:r>
              <a:rPr lang="en-US" sz="1600" dirty="0" smtClean="0">
                <a:solidFill>
                  <a:schemeClr val="tx1"/>
                </a:solidFill>
              </a:rPr>
              <a:t> is a logical representation of a machine or a system with one or multiple components</a:t>
            </a:r>
          </a:p>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dirty="0" smtClean="0">
                <a:solidFill>
                  <a:schemeClr val="tx1"/>
                </a:solidFill>
              </a:rPr>
              <a:t>For each asset cluster of multiple data sources which are required for a specific analysis </a:t>
            </a:r>
            <a:r>
              <a:rPr lang="en-US" sz="1600" b="1" dirty="0" smtClean="0">
                <a:solidFill>
                  <a:schemeClr val="tx1"/>
                </a:solidFill>
              </a:rPr>
              <a:t>Aspects</a:t>
            </a:r>
            <a:r>
              <a:rPr lang="en-US" sz="1600" dirty="0" smtClean="0">
                <a:solidFill>
                  <a:schemeClr val="tx1"/>
                </a:solidFill>
              </a:rPr>
              <a:t> (e.g., pressure, temperature, etc.) can be created </a:t>
            </a:r>
          </a:p>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dirty="0" smtClean="0">
                <a:solidFill>
                  <a:schemeClr val="tx1"/>
                </a:solidFill>
              </a:rPr>
              <a:t>A </a:t>
            </a:r>
            <a:r>
              <a:rPr lang="en-US" sz="1600" b="1" dirty="0" smtClean="0">
                <a:solidFill>
                  <a:schemeClr val="tx1"/>
                </a:solidFill>
              </a:rPr>
              <a:t>Map</a:t>
            </a:r>
            <a:r>
              <a:rPr lang="en-US" sz="1600" dirty="0" smtClean="0">
                <a:solidFill>
                  <a:schemeClr val="tx1"/>
                </a:solidFill>
              </a:rPr>
              <a:t> </a:t>
            </a:r>
            <a:r>
              <a:rPr lang="en-US" sz="1600" b="1" dirty="0" smtClean="0">
                <a:solidFill>
                  <a:schemeClr val="tx1"/>
                </a:solidFill>
              </a:rPr>
              <a:t>View</a:t>
            </a:r>
            <a:r>
              <a:rPr lang="en-US" sz="1600" dirty="0" smtClean="0">
                <a:solidFill>
                  <a:schemeClr val="tx1"/>
                </a:solidFill>
              </a:rPr>
              <a:t> shows the geographic location of connected Assets. Users see the recorded data in different diagrams. The user defines the data display timeframe</a:t>
            </a:r>
          </a:p>
          <a:p>
            <a:pPr marL="179388" lvl="1" indent="-177800">
              <a:lnSpc>
                <a:spcPct val="110000"/>
              </a:lnSpc>
              <a:spcBef>
                <a:spcPts val="0"/>
              </a:spcBef>
              <a:spcAft>
                <a:spcPts val="600"/>
              </a:spcAft>
              <a:buClr>
                <a:srgbClr val="00646E"/>
              </a:buClr>
              <a:buSzPts val="1400"/>
              <a:buFont typeface="Arial" panose="020B0604020202020204" pitchFamily="34" charset="0"/>
              <a:buChar char="•"/>
            </a:pPr>
            <a:r>
              <a:rPr lang="en-US" sz="1600" dirty="0" smtClean="0">
                <a:solidFill>
                  <a:schemeClr val="tx1"/>
                </a:solidFill>
              </a:rPr>
              <a:t>The </a:t>
            </a:r>
            <a:r>
              <a:rPr lang="en-US" sz="1600" b="1" dirty="0" smtClean="0">
                <a:solidFill>
                  <a:schemeClr val="tx1"/>
                </a:solidFill>
              </a:rPr>
              <a:t>Request</a:t>
            </a:r>
            <a:r>
              <a:rPr lang="en-US" sz="1600" dirty="0" smtClean="0">
                <a:solidFill>
                  <a:schemeClr val="tx1"/>
                </a:solidFill>
              </a:rPr>
              <a:t> function helps users defining resulting actions after occurrence of an event, such as exceeding a limit</a:t>
            </a:r>
          </a:p>
          <a:p>
            <a:endParaRPr lang="en-US" dirty="0"/>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31</a:t>
            </a:fld>
            <a:endParaRPr lang="en-US" dirty="0">
              <a:latin typeface="Arial" pitchFamily="34" charset="0"/>
            </a:endParaRPr>
          </a:p>
        </p:txBody>
      </p:sp>
    </p:spTree>
    <p:extLst>
      <p:ext uri="{BB962C8B-B14F-4D97-AF65-F5344CB8AC3E}">
        <p14:creationId xmlns:p14="http://schemas.microsoft.com/office/powerpoint/2010/main" val="26491995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32</a:t>
            </a:fld>
            <a:endParaRPr lang="en-US"/>
          </a:p>
        </p:txBody>
      </p:sp>
    </p:spTree>
    <p:extLst>
      <p:ext uri="{BB962C8B-B14F-4D97-AF65-F5344CB8AC3E}">
        <p14:creationId xmlns:p14="http://schemas.microsoft.com/office/powerpoint/2010/main" val="1552775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109538" y="741363"/>
            <a:ext cx="6580187" cy="3700462"/>
          </a:xfrm>
          <a:noFill/>
        </p:spPr>
      </p:sp>
      <p:sp>
        <p:nvSpPr>
          <p:cNvPr id="188419" name="Rectangle 3"/>
          <p:cNvSpPr>
            <a:spLocks noGrp="1" noChangeArrowheads="1"/>
          </p:cNvSpPr>
          <p:nvPr>
            <p:ph type="body" idx="1"/>
          </p:nvPr>
        </p:nvSpPr>
        <p:spPr/>
        <p:txBody>
          <a:bodyPr>
            <a:noAutofit/>
          </a:bodyPr>
          <a:lstStyle/>
          <a:p>
            <a:endParaRPr lang="en-US" dirty="0" smtClean="0"/>
          </a:p>
        </p:txBody>
      </p:sp>
    </p:spTree>
    <p:extLst>
      <p:ext uri="{BB962C8B-B14F-4D97-AF65-F5344CB8AC3E}">
        <p14:creationId xmlns:p14="http://schemas.microsoft.com/office/powerpoint/2010/main" val="22619369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9512775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34</a:t>
            </a:fld>
            <a:endParaRPr lang="en-US"/>
          </a:p>
        </p:txBody>
      </p:sp>
    </p:spTree>
    <p:extLst>
      <p:ext uri="{BB962C8B-B14F-4D97-AF65-F5344CB8AC3E}">
        <p14:creationId xmlns:p14="http://schemas.microsoft.com/office/powerpoint/2010/main" val="20603809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 through</a:t>
            </a:r>
            <a:r>
              <a:rPr lang="en-US" baseline="0" dirty="0" smtClean="0"/>
              <a:t> the agenda of today’s training with explanation for each item</a:t>
            </a:r>
          </a:p>
          <a:p>
            <a:endParaRPr lang="en-US" baseline="0" dirty="0" smtClean="0"/>
          </a:p>
          <a:p>
            <a:pPr marL="228600" indent="-228600">
              <a:buAutoNum type="arabicParenR"/>
            </a:pPr>
            <a:r>
              <a:rPr lang="en-US" baseline="0" dirty="0" smtClean="0"/>
              <a:t>MSPH Ecosystem -&gt; How does it look like &amp; what parts do exist in the MSPH ecosystem?</a:t>
            </a:r>
          </a:p>
          <a:p>
            <a:pPr marL="228600" indent="-228600">
              <a:buAutoNum type="arabicParenR"/>
            </a:pPr>
            <a:r>
              <a:rPr lang="en-US" baseline="0" dirty="0" smtClean="0"/>
              <a:t>MSPH Scalable Portfolio -&gt; What does MSPH currently offer (e.g. infrastructure, APIs, apps)?</a:t>
            </a:r>
          </a:p>
          <a:p>
            <a:pPr marL="228600" indent="-228600">
              <a:buAutoNum type="arabicParenR"/>
            </a:pPr>
            <a:r>
              <a:rPr lang="en-US" baseline="0" dirty="0" smtClean="0"/>
              <a:t>IT security -&gt; How do we make sure your data is safe and no one has unauthorized access to your data?</a:t>
            </a:r>
          </a:p>
          <a:p>
            <a:pPr marL="228600" indent="-228600">
              <a:buAutoNum type="arabicParenR"/>
            </a:pPr>
            <a:r>
              <a:rPr lang="en-US" baseline="0" dirty="0" smtClean="0"/>
              <a:t>Demonstration/Hands-On -&gt; Probably most interesting part as we onboard a device to MSPH and let actually a training participant connect the device with MSPH</a:t>
            </a:r>
          </a:p>
          <a:p>
            <a:pPr marL="228600" indent="-228600">
              <a:buAutoNum type="arabicParenR"/>
            </a:pPr>
            <a:r>
              <a:rPr lang="en-US" baseline="0" dirty="0" smtClean="0"/>
              <a:t>Use Cases - </a:t>
            </a:r>
            <a:r>
              <a:rPr lang="en-US" baseline="0" dirty="0" err="1" smtClean="0"/>
              <a:t>MindApps</a:t>
            </a:r>
            <a:r>
              <a:rPr lang="en-US" baseline="0" dirty="0" smtClean="0"/>
              <a:t> &amp; Connectivity -&gt; For which use cases can MindSphere be used or is being used already? What are the benefits for our customers?</a:t>
            </a:r>
          </a:p>
          <a:p>
            <a:pPr marL="228600" indent="-228600">
              <a:buAutoNum type="arabicParenR"/>
            </a:pPr>
            <a:r>
              <a:rPr lang="en-US" baseline="0" dirty="0" smtClean="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smtClean="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5</a:t>
            </a:fld>
            <a:endParaRPr lang="en-US" dirty="0">
              <a:solidFill>
                <a:srgbClr val="000000"/>
              </a:solidFill>
              <a:latin typeface="Arial" pitchFamily="34" charset="0"/>
            </a:endParaRPr>
          </a:p>
        </p:txBody>
      </p:sp>
    </p:spTree>
    <p:extLst>
      <p:ext uri="{BB962C8B-B14F-4D97-AF65-F5344CB8AC3E}">
        <p14:creationId xmlns:p14="http://schemas.microsoft.com/office/powerpoint/2010/main" val="27271844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36</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37</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8</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836268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39</a:t>
            </a:fld>
            <a:endParaRPr lang="en-US"/>
          </a:p>
        </p:txBody>
      </p:sp>
    </p:spTree>
    <p:extLst>
      <p:ext uri="{BB962C8B-B14F-4D97-AF65-F5344CB8AC3E}">
        <p14:creationId xmlns:p14="http://schemas.microsoft.com/office/powerpoint/2010/main" val="20603809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 through</a:t>
            </a:r>
            <a:r>
              <a:rPr lang="en-US" baseline="0" dirty="0" smtClean="0"/>
              <a:t> the agenda of today’s training with explanation for each item</a:t>
            </a:r>
          </a:p>
          <a:p>
            <a:endParaRPr lang="en-US" baseline="0" dirty="0" smtClean="0"/>
          </a:p>
          <a:p>
            <a:pPr marL="228600" indent="-228600">
              <a:buAutoNum type="arabicParenR"/>
            </a:pPr>
            <a:r>
              <a:rPr lang="en-US" baseline="0" dirty="0" smtClean="0"/>
              <a:t>MSPH Ecosystem -&gt; How does it look like &amp; what parts do exist in the MSPH ecosystem?</a:t>
            </a:r>
          </a:p>
          <a:p>
            <a:pPr marL="228600" indent="-228600">
              <a:buAutoNum type="arabicParenR"/>
            </a:pPr>
            <a:r>
              <a:rPr lang="en-US" baseline="0" dirty="0" smtClean="0"/>
              <a:t>MSPH Scalable Portfolio -&gt; What does MSPH currently offer (e.g. infrastructure, APIs, apps)?</a:t>
            </a:r>
          </a:p>
          <a:p>
            <a:pPr marL="228600" indent="-228600">
              <a:buAutoNum type="arabicParenR"/>
            </a:pPr>
            <a:r>
              <a:rPr lang="en-US" baseline="0" dirty="0" smtClean="0"/>
              <a:t>IT security -&gt; How do we make sure your data is safe and no one has unauthorized access to your data?</a:t>
            </a:r>
          </a:p>
          <a:p>
            <a:pPr marL="228600" indent="-228600">
              <a:buAutoNum type="arabicParenR"/>
            </a:pPr>
            <a:r>
              <a:rPr lang="en-US" baseline="0" dirty="0" smtClean="0"/>
              <a:t>Demonstration/Hands-On -&gt; Probably most interesting part as we onboard a device to MSPH and let actually a training participant connect the device with MSPH</a:t>
            </a:r>
          </a:p>
          <a:p>
            <a:pPr marL="228600" indent="-228600">
              <a:buAutoNum type="arabicParenR"/>
            </a:pPr>
            <a:r>
              <a:rPr lang="en-US" baseline="0" dirty="0" smtClean="0"/>
              <a:t>Use Cases - </a:t>
            </a:r>
            <a:r>
              <a:rPr lang="en-US" baseline="0" dirty="0" err="1" smtClean="0"/>
              <a:t>MindApps</a:t>
            </a:r>
            <a:r>
              <a:rPr lang="en-US" baseline="0" dirty="0" smtClean="0"/>
              <a:t> &amp; Connectivity -&gt; For which use cases can MindSphere be used or is being used already? What are the benefits for our customers?</a:t>
            </a:r>
          </a:p>
          <a:p>
            <a:pPr marL="228600" indent="-228600">
              <a:buAutoNum type="arabicParenR"/>
            </a:pPr>
            <a:r>
              <a:rPr lang="en-US" baseline="0" dirty="0" smtClean="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smtClean="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40</a:t>
            </a:fld>
            <a:endParaRPr lang="en-US" dirty="0">
              <a:solidFill>
                <a:srgbClr val="000000"/>
              </a:solidFill>
              <a:latin typeface="Arial" pitchFamily="34" charset="0"/>
            </a:endParaRPr>
          </a:p>
        </p:txBody>
      </p:sp>
    </p:spTree>
    <p:extLst>
      <p:ext uri="{BB962C8B-B14F-4D97-AF65-F5344CB8AC3E}">
        <p14:creationId xmlns:p14="http://schemas.microsoft.com/office/powerpoint/2010/main" val="6445316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lnSpc>
                <a:spcPct val="110000"/>
              </a:lnSpc>
              <a:spcBef>
                <a:spcPct val="0"/>
              </a:spcBef>
            </a:pPr>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41</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smtClean="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smtClean="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42</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4</a:t>
            </a:fld>
            <a:endParaRPr lang="en-US"/>
          </a:p>
        </p:txBody>
      </p:sp>
    </p:spTree>
    <p:extLst>
      <p:ext uri="{BB962C8B-B14F-4D97-AF65-F5344CB8AC3E}">
        <p14:creationId xmlns:p14="http://schemas.microsoft.com/office/powerpoint/2010/main" val="20603809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45</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46</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47</a:t>
            </a:fld>
            <a:endParaRPr lang="en-US" dirty="0">
              <a:solidFill>
                <a:srgbClr val="000000"/>
              </a:solidFill>
              <a:latin typeface="Arial" pitchFamily="34" charset="0"/>
            </a:endParaRPr>
          </a:p>
        </p:txBody>
      </p:sp>
    </p:spTree>
    <p:extLst>
      <p:ext uri="{BB962C8B-B14F-4D97-AF65-F5344CB8AC3E}">
        <p14:creationId xmlns:p14="http://schemas.microsoft.com/office/powerpoint/2010/main" val="947691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48</a:t>
            </a:fld>
            <a:endParaRPr lang="en-US"/>
          </a:p>
        </p:txBody>
      </p:sp>
    </p:spTree>
    <p:extLst>
      <p:ext uri="{BB962C8B-B14F-4D97-AF65-F5344CB8AC3E}">
        <p14:creationId xmlns:p14="http://schemas.microsoft.com/office/powerpoint/2010/main" val="20603809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 through</a:t>
            </a:r>
            <a:r>
              <a:rPr lang="en-US" baseline="0" dirty="0" smtClean="0"/>
              <a:t> the agenda of today’s training with explanation for each item</a:t>
            </a:r>
          </a:p>
          <a:p>
            <a:endParaRPr lang="en-US" baseline="0" dirty="0" smtClean="0"/>
          </a:p>
          <a:p>
            <a:pPr marL="228600" indent="-228600">
              <a:buAutoNum type="arabicParenR"/>
            </a:pPr>
            <a:r>
              <a:rPr lang="en-US" baseline="0" dirty="0" smtClean="0"/>
              <a:t>MSPH Ecosystem -&gt; How does it look like &amp; what parts do exist in the MSPH ecosystem?</a:t>
            </a:r>
          </a:p>
          <a:p>
            <a:pPr marL="228600" indent="-228600">
              <a:buAutoNum type="arabicParenR"/>
            </a:pPr>
            <a:r>
              <a:rPr lang="en-US" baseline="0" dirty="0" smtClean="0"/>
              <a:t>MSPH Scalable Portfolio -&gt; What does MSPH currently offer (e.g. infrastructure, APIs, apps)?</a:t>
            </a:r>
          </a:p>
          <a:p>
            <a:pPr marL="228600" indent="-228600">
              <a:buAutoNum type="arabicParenR"/>
            </a:pPr>
            <a:r>
              <a:rPr lang="en-US" baseline="0" dirty="0" smtClean="0"/>
              <a:t>IT security -&gt; How do we make sure your data is safe and no one has unauthorized access to your data?</a:t>
            </a:r>
          </a:p>
          <a:p>
            <a:pPr marL="228600" indent="-228600">
              <a:buAutoNum type="arabicParenR"/>
            </a:pPr>
            <a:r>
              <a:rPr lang="en-US" baseline="0" dirty="0" smtClean="0"/>
              <a:t>Demonstration/Hands-On -&gt; Probably most interesting part as we onboard a device to MSPH and let actually a training participant connect the device with MSPH</a:t>
            </a:r>
          </a:p>
          <a:p>
            <a:pPr marL="228600" indent="-228600">
              <a:buAutoNum type="arabicParenR"/>
            </a:pPr>
            <a:r>
              <a:rPr lang="en-US" baseline="0" dirty="0" smtClean="0"/>
              <a:t>Use Cases - </a:t>
            </a:r>
            <a:r>
              <a:rPr lang="en-US" baseline="0" dirty="0" err="1" smtClean="0"/>
              <a:t>MindApps</a:t>
            </a:r>
            <a:r>
              <a:rPr lang="en-US" baseline="0" dirty="0" smtClean="0"/>
              <a:t> &amp; Connectivity -&gt; For which use cases can MindSphere be used or is being used already? What are the benefits for our customers?</a:t>
            </a:r>
          </a:p>
          <a:p>
            <a:pPr marL="228600" indent="-228600">
              <a:buAutoNum type="arabicParenR"/>
            </a:pPr>
            <a:r>
              <a:rPr lang="en-US" baseline="0" dirty="0" smtClean="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smtClean="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49</a:t>
            </a:fld>
            <a:endParaRPr lang="en-US" dirty="0">
              <a:solidFill>
                <a:srgbClr val="000000"/>
              </a:solidFill>
              <a:latin typeface="Arial" pitchFamily="34" charset="0"/>
            </a:endParaRPr>
          </a:p>
        </p:txBody>
      </p:sp>
    </p:spTree>
    <p:extLst>
      <p:ext uri="{BB962C8B-B14F-4D97-AF65-F5344CB8AC3E}">
        <p14:creationId xmlns:p14="http://schemas.microsoft.com/office/powerpoint/2010/main" val="1526313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b="1" dirty="0" smtClean="0"/>
              <a:t>Platform Independence:</a:t>
            </a:r>
          </a:p>
          <a:p>
            <a:pPr marL="171450" indent="-171450" algn="l">
              <a:lnSpc>
                <a:spcPct val="110000"/>
              </a:lnSpc>
              <a:spcBef>
                <a:spcPct val="0"/>
              </a:spcBef>
              <a:buFont typeface="Arial" panose="020B0604020202020204" pitchFamily="34" charset="0"/>
              <a:buChar char="•"/>
            </a:pPr>
            <a:r>
              <a:rPr lang="en-US" b="0" dirty="0" smtClean="0"/>
              <a:t>Hardware platforms: traditional PC hardware, cloud-based servers, PLCs, micro-controllers (e.g. ARM)</a:t>
            </a:r>
          </a:p>
          <a:p>
            <a:pPr marL="171450" indent="-171450" algn="l">
              <a:lnSpc>
                <a:spcPct val="110000"/>
              </a:lnSpc>
              <a:spcBef>
                <a:spcPct val="0"/>
              </a:spcBef>
              <a:buFont typeface="Arial" panose="020B0604020202020204" pitchFamily="34" charset="0"/>
              <a:buChar char="•"/>
            </a:pPr>
            <a:r>
              <a:rPr lang="en-US" b="0" dirty="0" smtClean="0"/>
              <a:t>Operating Systems: Microsoft Windows, Apple OSX, Android, or any distribution of Linux</a:t>
            </a:r>
          </a:p>
          <a:p>
            <a:pPr marL="0" indent="0" algn="l">
              <a:lnSpc>
                <a:spcPct val="110000"/>
              </a:lnSpc>
              <a:spcBef>
                <a:spcPct val="0"/>
              </a:spcBef>
              <a:buFont typeface="Arial" panose="020B0604020202020204" pitchFamily="34" charset="0"/>
              <a:buNone/>
            </a:pPr>
            <a:endParaRPr lang="en-US" b="0" dirty="0" smtClean="0"/>
          </a:p>
          <a:p>
            <a:pPr marL="0" indent="0" algn="l">
              <a:lnSpc>
                <a:spcPct val="110000"/>
              </a:lnSpc>
              <a:spcBef>
                <a:spcPct val="0"/>
              </a:spcBef>
              <a:buFont typeface="Arial" panose="020B0604020202020204" pitchFamily="34" charset="0"/>
              <a:buNone/>
            </a:pPr>
            <a:r>
              <a:rPr lang="en-US" b="1" dirty="0" smtClean="0"/>
              <a:t>Security:</a:t>
            </a:r>
          </a:p>
          <a:p>
            <a:pPr marL="171450" indent="-171450" algn="l">
              <a:lnSpc>
                <a:spcPct val="110000"/>
              </a:lnSpc>
              <a:spcBef>
                <a:spcPct val="0"/>
              </a:spcBef>
              <a:buFont typeface="Arial" panose="020B0604020202020204" pitchFamily="34" charset="0"/>
              <a:buChar char="•"/>
            </a:pPr>
            <a:r>
              <a:rPr lang="en-US" b="0" dirty="0" smtClean="0"/>
              <a:t>Session Encryption - messages are transmitted securely at 128 or 256 bit encryption levels</a:t>
            </a:r>
          </a:p>
          <a:p>
            <a:pPr marL="171450" indent="-171450" algn="l">
              <a:lnSpc>
                <a:spcPct val="110000"/>
              </a:lnSpc>
              <a:spcBef>
                <a:spcPct val="0"/>
              </a:spcBef>
              <a:buFont typeface="Arial" panose="020B0604020202020204" pitchFamily="34" charset="0"/>
              <a:buChar char="•"/>
            </a:pPr>
            <a:r>
              <a:rPr lang="en-US" b="0" dirty="0" smtClean="0"/>
              <a:t>Sequenced Packets - exposure to message replay attacks is eliminated with sequencing</a:t>
            </a:r>
          </a:p>
          <a:p>
            <a:pPr marL="171450" indent="-171450" algn="l">
              <a:lnSpc>
                <a:spcPct val="110000"/>
              </a:lnSpc>
              <a:spcBef>
                <a:spcPct val="0"/>
              </a:spcBef>
              <a:buFont typeface="Arial" panose="020B0604020202020204" pitchFamily="34" charset="0"/>
              <a:buChar char="•"/>
            </a:pPr>
            <a:r>
              <a:rPr lang="en-US" b="0" dirty="0" smtClean="0"/>
              <a:t>Authentication - each UA client and server is identified through OpenSSL certificates providing control over which applications and systems are permitted to connect with each other</a:t>
            </a:r>
          </a:p>
          <a:p>
            <a:pPr marL="171450" indent="-171450" algn="l">
              <a:lnSpc>
                <a:spcPct val="110000"/>
              </a:lnSpc>
              <a:spcBef>
                <a:spcPct val="0"/>
              </a:spcBef>
              <a:buFont typeface="Arial" panose="020B0604020202020204" pitchFamily="34" charset="0"/>
              <a:buChar char="•"/>
            </a:pPr>
            <a:r>
              <a:rPr lang="en-US" b="0" dirty="0" smtClean="0"/>
              <a:t>User Control - applications can require users to authenticate (login credentials, certificate, etc.) and can further restrict and enhance their capabilities with access rights and address-space “views”</a:t>
            </a:r>
          </a:p>
          <a:p>
            <a:pPr marL="171450" indent="-171450" algn="l">
              <a:lnSpc>
                <a:spcPct val="110000"/>
              </a:lnSpc>
              <a:spcBef>
                <a:spcPct val="0"/>
              </a:spcBef>
              <a:buFont typeface="Arial" panose="020B0604020202020204" pitchFamily="34" charset="0"/>
              <a:buChar char="•"/>
            </a:pPr>
            <a:r>
              <a:rPr lang="en-US" b="0" dirty="0" smtClean="0"/>
              <a:t>Auditing - activities by user and/or system are logged providing an access audit trail</a:t>
            </a:r>
          </a:p>
          <a:p>
            <a:pPr marL="171450" indent="-171450" algn="l">
              <a:lnSpc>
                <a:spcPct val="110000"/>
              </a:lnSpc>
              <a:spcBef>
                <a:spcPct val="0"/>
              </a:spcBef>
              <a:buFont typeface="Arial" panose="020B0604020202020204" pitchFamily="34" charset="0"/>
              <a:buChar char="•"/>
            </a:pPr>
            <a:endParaRPr lang="en-US" b="0" dirty="0" smtClean="0"/>
          </a:p>
          <a:p>
            <a:pPr algn="l">
              <a:lnSpc>
                <a:spcPct val="110000"/>
              </a:lnSpc>
              <a:spcBef>
                <a:spcPct val="0"/>
              </a:spcBef>
            </a:pP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50</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Discovery:</a:t>
            </a:r>
            <a:r>
              <a:rPr lang="en-US" sz="1200" b="0" i="0" kern="1200" dirty="0" smtClean="0">
                <a:solidFill>
                  <a:schemeClr val="tx1"/>
                </a:solidFill>
                <a:effectLst/>
                <a:latin typeface="+mn-lt"/>
                <a:ea typeface="+mn-ea"/>
                <a:cs typeface="+mn-cs"/>
              </a:rPr>
              <a:t> find the availability of OPC Servers on local PCs and/or networks</a:t>
            </a:r>
          </a:p>
          <a:p>
            <a:r>
              <a:rPr lang="en-US" sz="1200" b="1" i="0" kern="1200" dirty="0" smtClean="0">
                <a:solidFill>
                  <a:schemeClr val="tx1"/>
                </a:solidFill>
                <a:effectLst/>
                <a:latin typeface="+mn-lt"/>
                <a:ea typeface="+mn-ea"/>
                <a:cs typeface="+mn-cs"/>
              </a:rPr>
              <a:t>Address space:</a:t>
            </a:r>
            <a:r>
              <a:rPr lang="en-US" sz="1200" b="0" i="0" kern="1200" dirty="0" smtClean="0">
                <a:solidFill>
                  <a:schemeClr val="tx1"/>
                </a:solidFill>
                <a:effectLst/>
                <a:latin typeface="+mn-lt"/>
                <a:ea typeface="+mn-ea"/>
                <a:cs typeface="+mn-cs"/>
              </a:rPr>
              <a:t> all data is represented hierarchically (e.g. files and folders) allowing for simple and complex structures to be discovered and utilized by OPC Clients</a:t>
            </a:r>
          </a:p>
          <a:p>
            <a:r>
              <a:rPr lang="en-US" sz="1200" b="1" i="0" kern="1200" dirty="0" smtClean="0">
                <a:solidFill>
                  <a:schemeClr val="tx1"/>
                </a:solidFill>
                <a:effectLst/>
                <a:latin typeface="+mn-lt"/>
                <a:ea typeface="+mn-ea"/>
                <a:cs typeface="+mn-cs"/>
              </a:rPr>
              <a:t>On-demand:</a:t>
            </a:r>
            <a:r>
              <a:rPr lang="en-US" sz="1200" b="0" i="0" kern="1200" dirty="0" smtClean="0">
                <a:solidFill>
                  <a:schemeClr val="tx1"/>
                </a:solidFill>
                <a:effectLst/>
                <a:latin typeface="+mn-lt"/>
                <a:ea typeface="+mn-ea"/>
                <a:cs typeface="+mn-cs"/>
              </a:rPr>
              <a:t> read and write data/information based on access-permissions</a:t>
            </a:r>
          </a:p>
          <a:p>
            <a:r>
              <a:rPr lang="en-US" sz="1200" b="1" i="0" kern="1200" dirty="0" smtClean="0">
                <a:solidFill>
                  <a:schemeClr val="tx1"/>
                </a:solidFill>
                <a:effectLst/>
                <a:latin typeface="+mn-lt"/>
                <a:ea typeface="+mn-ea"/>
                <a:cs typeface="+mn-cs"/>
              </a:rPr>
              <a:t>Subscriptions:</a:t>
            </a:r>
            <a:r>
              <a:rPr lang="en-US" sz="1200" b="0" i="0" kern="1200" dirty="0" smtClean="0">
                <a:solidFill>
                  <a:schemeClr val="tx1"/>
                </a:solidFill>
                <a:effectLst/>
                <a:latin typeface="+mn-lt"/>
                <a:ea typeface="+mn-ea"/>
                <a:cs typeface="+mn-cs"/>
              </a:rPr>
              <a:t> monitor data/information and report-by-exception when values change based on a client’s criteria</a:t>
            </a:r>
          </a:p>
          <a:p>
            <a:r>
              <a:rPr lang="en-US" sz="1200" b="1" i="0" kern="1200" dirty="0" smtClean="0">
                <a:solidFill>
                  <a:schemeClr val="tx1"/>
                </a:solidFill>
                <a:effectLst/>
                <a:latin typeface="+mn-lt"/>
                <a:ea typeface="+mn-ea"/>
                <a:cs typeface="+mn-cs"/>
              </a:rPr>
              <a:t>Events:</a:t>
            </a:r>
            <a:r>
              <a:rPr lang="en-US" sz="1200" b="0" i="0" kern="1200" dirty="0" smtClean="0">
                <a:solidFill>
                  <a:schemeClr val="tx1"/>
                </a:solidFill>
                <a:effectLst/>
                <a:latin typeface="+mn-lt"/>
                <a:ea typeface="+mn-ea"/>
                <a:cs typeface="+mn-cs"/>
              </a:rPr>
              <a:t> notify important information based on client’s criteria</a:t>
            </a:r>
          </a:p>
          <a:p>
            <a:r>
              <a:rPr lang="en-US" sz="1200" b="1" i="0" kern="1200" dirty="0" smtClean="0">
                <a:solidFill>
                  <a:schemeClr val="tx1"/>
                </a:solidFill>
                <a:effectLst/>
                <a:latin typeface="+mn-lt"/>
                <a:ea typeface="+mn-ea"/>
                <a:cs typeface="+mn-cs"/>
              </a:rPr>
              <a:t>Methods:</a:t>
            </a:r>
            <a:r>
              <a:rPr lang="en-US" sz="1200" b="0" i="0" kern="1200" dirty="0" smtClean="0">
                <a:solidFill>
                  <a:schemeClr val="tx1"/>
                </a:solidFill>
                <a:effectLst/>
                <a:latin typeface="+mn-lt"/>
                <a:ea typeface="+mn-ea"/>
                <a:cs typeface="+mn-cs"/>
              </a:rPr>
              <a:t> clients can execute programs, etc. based on methods defined on the server</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51</a:t>
            </a:fld>
            <a:endParaRPr lang="en-US"/>
          </a:p>
        </p:txBody>
      </p:sp>
    </p:spTree>
    <p:extLst>
      <p:ext uri="{BB962C8B-B14F-4D97-AF65-F5344CB8AC3E}">
        <p14:creationId xmlns:p14="http://schemas.microsoft.com/office/powerpoint/2010/main" val="5894860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C UA was designed to support a wide range of</a:t>
            </a:r>
          </a:p>
          <a:p>
            <a:r>
              <a:rPr lang="en-US" dirty="0" smtClean="0"/>
              <a:t>systems, ranging from PLC’s in production to enterprise</a:t>
            </a:r>
          </a:p>
          <a:p>
            <a:r>
              <a:rPr lang="en-US" dirty="0" smtClean="0"/>
              <a:t>servers. These systems are characterized by</a:t>
            </a:r>
          </a:p>
          <a:p>
            <a:r>
              <a:rPr lang="en-US" dirty="0" smtClean="0"/>
              <a:t>their diversity in terms of size, performance, platforms</a:t>
            </a:r>
          </a:p>
          <a:p>
            <a:r>
              <a:rPr lang="en-US" dirty="0" smtClean="0"/>
              <a:t>and functional capabilities.</a:t>
            </a:r>
          </a:p>
          <a:p>
            <a:endParaRPr lang="en-US" dirty="0" smtClean="0"/>
          </a:p>
          <a:p>
            <a:r>
              <a:rPr lang="en-US" dirty="0" smtClean="0"/>
              <a:t>In order to meet these objectives, the following basic</a:t>
            </a:r>
          </a:p>
          <a:p>
            <a:r>
              <a:rPr lang="en-US" dirty="0" smtClean="0"/>
              <a:t>functionalities were </a:t>
            </a:r>
            <a:r>
              <a:rPr lang="en-US" dirty="0" err="1" smtClean="0"/>
              <a:t>specifi</a:t>
            </a:r>
            <a:r>
              <a:rPr lang="en-US" dirty="0" smtClean="0"/>
              <a:t> </a:t>
            </a:r>
            <a:r>
              <a:rPr lang="en-US" dirty="0" err="1" smtClean="0"/>
              <a:t>ed</a:t>
            </a:r>
            <a:r>
              <a:rPr lang="en-US" dirty="0" smtClean="0"/>
              <a:t> for OPC UA:</a:t>
            </a:r>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53</a:t>
            </a:fld>
            <a:endParaRPr lang="en-US"/>
          </a:p>
        </p:txBody>
      </p:sp>
    </p:spTree>
    <p:extLst>
      <p:ext uri="{BB962C8B-B14F-4D97-AF65-F5344CB8AC3E}">
        <p14:creationId xmlns:p14="http://schemas.microsoft.com/office/powerpoint/2010/main" val="21477432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http://documentation.unified-automation.com/uasdkcpp/1.2.0/L2OpcUaSoftwareLayers.html</a:t>
            </a:r>
          </a:p>
          <a:p>
            <a:endParaRPr lang="de-DE" dirty="0" smtClean="0"/>
          </a:p>
          <a:p>
            <a:r>
              <a:rPr lang="en-US" sz="1200" b="0" i="0" kern="1200" dirty="0" smtClean="0">
                <a:solidFill>
                  <a:schemeClr val="tx1"/>
                </a:solidFill>
                <a:effectLst/>
                <a:latin typeface="+mn-lt"/>
                <a:ea typeface="+mn-ea"/>
                <a:cs typeface="+mn-cs"/>
              </a:rPr>
              <a:t>OPC UA uses a similar client–server concept like Classic OPC. An application that wants to expose its own information to other applications is called UA server and an application that wants to consume information from other applications is called UA client. But it is expected that much more applications will be both UA server and UA client in one application than in Classic OPC. One reason is that more UA servers will be integrated directly in devices. Implementing also a UA client enables device to device communication. Another reason is the use of OPC UA as configuration interface, where UA clients are also UA servers to be configured via OPC UA.A typical OPC UA application is composed of three software layers shown in the following figure. The complete software stack can be implemented with C/C++, .NET, or JAVA. OPC UA is not limited to these programming languages and development platforms, but only these environments are currently used for implementing the OPC Foundation UA Stack deliverables.</a:t>
            </a:r>
          </a:p>
          <a:p>
            <a:r>
              <a:rPr lang="en-US" sz="1200" b="0" i="0" kern="1200" dirty="0" smtClean="0">
                <a:solidFill>
                  <a:schemeClr val="tx1"/>
                </a:solidFill>
                <a:effectLst/>
                <a:latin typeface="+mn-lt"/>
                <a:ea typeface="+mn-ea"/>
                <a:cs typeface="+mn-cs"/>
              </a:rPr>
              <a:t>An OPC UA Application is a system that wants to expose or to consume data via OPC UA. It contains the specific functionality for the application and the mapping of this functionality to OPC UA by using an OPC UA Stack and an OPC UA Software Development Kit (SDK).</a:t>
            </a:r>
          </a:p>
          <a:p>
            <a:r>
              <a:rPr lang="en-US" sz="1200" b="0" i="0" kern="1200" dirty="0" smtClean="0">
                <a:solidFill>
                  <a:schemeClr val="tx1"/>
                </a:solidFill>
                <a:effectLst/>
                <a:latin typeface="+mn-lt"/>
                <a:ea typeface="+mn-ea"/>
                <a:cs typeface="+mn-cs"/>
              </a:rPr>
              <a:t>An OPC UA client or server SDK implements common OPC UA functionality that is part of the application layer, since the UA Stacks implement only the communication channels. An OPC UA SDK reduces the development effort and facilitates faster interoperability for an OPC UA application.</a:t>
            </a:r>
          </a:p>
          <a:p>
            <a:r>
              <a:rPr lang="en-US" sz="1200" b="0" i="0" kern="1200" dirty="0" smtClean="0">
                <a:solidFill>
                  <a:schemeClr val="tx1"/>
                </a:solidFill>
                <a:effectLst/>
                <a:latin typeface="+mn-lt"/>
                <a:ea typeface="+mn-ea"/>
                <a:cs typeface="+mn-cs"/>
              </a:rPr>
              <a:t>An OPC UA Stack implements the different OPC UA transport mappings defined in UA Part 6. The Stack is used to invoke UA Services across process or network boundaries. OPC UA defines three Stack layers and different profiles for each layer. The message encoding layer defines the serialization of Service parameters in a binary and a XML format. The message security layer specifies how the messages must be secured by using the Web Service security standards or a UA binary version of the Web Service standards. The message transport layer defines the used network protocol, which could be UA TCP or HTTP and SOAP for Web Services. The following figure illustrates the different UA communication stack layers. The implementation of the layers in a UA Stack and the resulting API for the applications is not part of the OPC UA specification. The UA Stacks provide language-dependent APIs for UA client and UA server applications, but the Services and their parameters are similar and based on the abstract Service definition in UA Part 4.</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54</a:t>
            </a:fld>
            <a:endParaRPr lang="en-US"/>
          </a:p>
        </p:txBody>
      </p:sp>
    </p:spTree>
    <p:extLst>
      <p:ext uri="{BB962C8B-B14F-4D97-AF65-F5344CB8AC3E}">
        <p14:creationId xmlns:p14="http://schemas.microsoft.com/office/powerpoint/2010/main" val="33951082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https://opcfoundation.org/wp-content/uploads/2017/11/OPC-UA-Interoperability-For-Industrie4-and-IoT-EN.pdf</a:t>
            </a:r>
          </a:p>
          <a:p>
            <a:endParaRPr lang="de-DE" dirty="0" smtClean="0"/>
          </a:p>
          <a:p>
            <a:endParaRPr lang="de-DE" dirty="0" smtClean="0"/>
          </a:p>
          <a:p>
            <a:r>
              <a:rPr lang="en-US" dirty="0" smtClean="0"/>
              <a:t>➞ </a:t>
            </a:r>
            <a:r>
              <a:rPr lang="en-US" dirty="0" err="1" smtClean="0"/>
              <a:t>SecureChannel</a:t>
            </a:r>
            <a:r>
              <a:rPr lang="en-US" dirty="0" smtClean="0"/>
              <a:t> service set This set includes services to determine the security configuration of a server and establish a communication channel in which the confidentiality and completeness (integrity) of the exchanged messages is guaranteed. These services are not implemented directly in the OPC UA application but are provided by the communication stack used. </a:t>
            </a:r>
          </a:p>
          <a:p>
            <a:r>
              <a:rPr lang="en-US" dirty="0" smtClean="0"/>
              <a:t>➞ Session service set This service set defines services used to establish an application-layer connection (a session) on behalf of a specific user. </a:t>
            </a:r>
          </a:p>
          <a:p>
            <a:r>
              <a:rPr lang="en-US" dirty="0" smtClean="0"/>
              <a:t>➞ </a:t>
            </a:r>
            <a:r>
              <a:rPr lang="en-US" dirty="0" err="1" smtClean="0"/>
              <a:t>NodeManagement</a:t>
            </a:r>
            <a:r>
              <a:rPr lang="en-US" dirty="0" smtClean="0"/>
              <a:t> service set These services provide an interface for the configuration of servers. It allows clients to add, modify, and delete nodes in the address space. </a:t>
            </a:r>
          </a:p>
          <a:p>
            <a:r>
              <a:rPr lang="en-US" dirty="0" smtClean="0"/>
              <a:t>➞ View service set The view service set allows clients to discover nodes by browsing. Browsing allows clients to navigate up and down the hierarchy, or to follow references between nodes. This enables the client to explore the structure of the address space. </a:t>
            </a:r>
          </a:p>
          <a:p>
            <a:r>
              <a:rPr lang="en-US" dirty="0" smtClean="0"/>
              <a:t>➞ Attribute service set The attribute service set is used to read and write attribute values. Attributes are primitive characteristics of nodes that are defined by OPC UA. </a:t>
            </a:r>
          </a:p>
          <a:p>
            <a:r>
              <a:rPr lang="en-US" dirty="0" smtClean="0"/>
              <a:t>➞ Method service set Methods represent the function calls of objects. They are invoked and return after completion. The method service set defines the means to invoke methods. </a:t>
            </a:r>
          </a:p>
          <a:p>
            <a:r>
              <a:rPr lang="en-US" dirty="0" smtClean="0"/>
              <a:t>➞ </a:t>
            </a:r>
            <a:r>
              <a:rPr lang="en-US" dirty="0" err="1" smtClean="0"/>
              <a:t>MonitoredItem</a:t>
            </a:r>
            <a:r>
              <a:rPr lang="en-US" dirty="0" smtClean="0"/>
              <a:t> service set This service can be used to determine which attributes from the address space should be monitored for changes by a client, or which events the client is interested in. </a:t>
            </a:r>
          </a:p>
          <a:p>
            <a:r>
              <a:rPr lang="en-US" dirty="0" smtClean="0"/>
              <a:t>➞ Subscription service set Can be used to generate, modify or delete messages for </a:t>
            </a:r>
            <a:r>
              <a:rPr lang="en-US" dirty="0" err="1" smtClean="0"/>
              <a:t>MonitoredItems</a:t>
            </a:r>
            <a:r>
              <a:rPr lang="en-US" dirty="0" smtClean="0"/>
              <a:t>. </a:t>
            </a:r>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56</a:t>
            </a:fld>
            <a:endParaRPr lang="en-US"/>
          </a:p>
        </p:txBody>
      </p:sp>
    </p:spTree>
    <p:extLst>
      <p:ext uri="{BB962C8B-B14F-4D97-AF65-F5344CB8AC3E}">
        <p14:creationId xmlns:p14="http://schemas.microsoft.com/office/powerpoint/2010/main" val="3712667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 through</a:t>
            </a:r>
            <a:r>
              <a:rPr lang="en-US" baseline="0" dirty="0" smtClean="0"/>
              <a:t> the agenda of today’s training with explanation for each item</a:t>
            </a:r>
          </a:p>
          <a:p>
            <a:endParaRPr lang="en-US" baseline="0" dirty="0" smtClean="0"/>
          </a:p>
          <a:p>
            <a:pPr marL="228600" indent="-228600">
              <a:buAutoNum type="arabicParenR"/>
            </a:pPr>
            <a:r>
              <a:rPr lang="en-US" baseline="0" dirty="0" smtClean="0"/>
              <a:t>MSPH Ecosystem -&gt; How does it look like &amp; what parts do exist in the MSPH ecosystem?</a:t>
            </a:r>
          </a:p>
          <a:p>
            <a:pPr marL="228600" indent="-228600">
              <a:buAutoNum type="arabicParenR"/>
            </a:pPr>
            <a:r>
              <a:rPr lang="en-US" baseline="0" dirty="0" smtClean="0"/>
              <a:t>MSPH Scalable Portfolio -&gt; What does MSPH currently offer (e.g. infrastructure, APIs, apps)?</a:t>
            </a:r>
          </a:p>
          <a:p>
            <a:pPr marL="228600" indent="-228600">
              <a:buAutoNum type="arabicParenR"/>
            </a:pPr>
            <a:r>
              <a:rPr lang="en-US" baseline="0" dirty="0" smtClean="0"/>
              <a:t>IT security -&gt; How do we make sure your data is safe and no one has unauthorized access to your data?</a:t>
            </a:r>
          </a:p>
          <a:p>
            <a:pPr marL="228600" indent="-228600">
              <a:buAutoNum type="arabicParenR"/>
            </a:pPr>
            <a:r>
              <a:rPr lang="en-US" baseline="0" dirty="0" smtClean="0"/>
              <a:t>Demonstration/Hands-On -&gt; Probably most interesting part as we onboard a device to MSPH and let actually a training participant connect the device with MSPH</a:t>
            </a:r>
          </a:p>
          <a:p>
            <a:pPr marL="228600" indent="-228600">
              <a:buAutoNum type="arabicParenR"/>
            </a:pPr>
            <a:r>
              <a:rPr lang="en-US" baseline="0" dirty="0" smtClean="0"/>
              <a:t>Use Cases - </a:t>
            </a:r>
            <a:r>
              <a:rPr lang="en-US" baseline="0" dirty="0" err="1" smtClean="0"/>
              <a:t>MindApps</a:t>
            </a:r>
            <a:r>
              <a:rPr lang="en-US" baseline="0" dirty="0" smtClean="0"/>
              <a:t> &amp; Connectivity -&gt; For which use cases can MindSphere be used or is being used already? What are the benefits for our customers?</a:t>
            </a:r>
          </a:p>
          <a:p>
            <a:pPr marL="228600" indent="-228600">
              <a:buAutoNum type="arabicParenR"/>
            </a:pPr>
            <a:r>
              <a:rPr lang="en-US" baseline="0" dirty="0" smtClean="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smtClean="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5</a:t>
            </a:fld>
            <a:endParaRPr lang="en-US" dirty="0">
              <a:solidFill>
                <a:srgbClr val="000000"/>
              </a:solidFill>
              <a:latin typeface="Arial" pitchFamily="34" charset="0"/>
            </a:endParaRPr>
          </a:p>
        </p:txBody>
      </p:sp>
    </p:spTree>
    <p:extLst>
      <p:ext uri="{BB962C8B-B14F-4D97-AF65-F5344CB8AC3E}">
        <p14:creationId xmlns:p14="http://schemas.microsoft.com/office/powerpoint/2010/main" val="33412921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http://documentation.unified-automation.com/uasdkcpp/1.2.0/L2UaAddressSpaceConcepts.html</a:t>
            </a:r>
          </a:p>
          <a:p>
            <a:r>
              <a:rPr lang="en-US" sz="1200" b="0" i="0" kern="1200" dirty="0" smtClean="0">
                <a:solidFill>
                  <a:schemeClr val="tx1"/>
                </a:solidFill>
                <a:effectLst/>
                <a:latin typeface="+mn-lt"/>
                <a:ea typeface="+mn-ea"/>
                <a:cs typeface="+mn-cs"/>
              </a:rPr>
              <a:t>http://documentation.unified-automation.com/uasdkcpp/1.5.3/html/L2UaNodeClasses.html#L3UaNodeClassBase</a:t>
            </a: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dirty="0" smtClean="0"/>
              <a:t>INTEGRATED ADDRESS SPACE MODEL The object model enables production data, alarms, events and historic data to be integrated in a single OPC UA server. This allows, for example to represent a temperature measuring device as an object with its temperature value, alarm parameters and corresponding alarm limits. OPC UA integrates and standardizes the different address spaces and the services, so that OPC UA applications only require a single interface for navigation. The OPC UA address space is structured hierarchically, to foster the interoperability of clients and servers. The top levels are standardized for all servers. All nodes in the address space can be reached via the hierarchy. They can have additional references among each other, so that the address space forms a cohesive network of nodes. The OPC UA address space not only contains instances (instance spac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Description of OPC UA node classes.</a:t>
            </a:r>
          </a:p>
          <a:p>
            <a:r>
              <a:rPr lang="en-US" sz="1200" b="1" i="0" kern="1200" dirty="0" smtClean="0">
                <a:solidFill>
                  <a:schemeClr val="tx1"/>
                </a:solidFill>
                <a:effectLst/>
                <a:latin typeface="+mn-lt"/>
                <a:ea typeface="+mn-ea"/>
                <a:cs typeface="+mn-cs"/>
              </a:rPr>
              <a:t>Base Node Class</a:t>
            </a:r>
          </a:p>
          <a:p>
            <a:r>
              <a:rPr lang="en-US" sz="1200" b="0" i="0" kern="1200" dirty="0" smtClean="0">
                <a:solidFill>
                  <a:schemeClr val="tx1"/>
                </a:solidFill>
                <a:effectLst/>
                <a:latin typeface="+mn-lt"/>
                <a:ea typeface="+mn-ea"/>
                <a:cs typeface="+mn-cs"/>
              </a:rPr>
              <a:t>The base node class can not be used directly. It specifies the attributes available in all node classes.</a:t>
            </a:r>
          </a:p>
          <a:p>
            <a:r>
              <a:rPr lang="en-US" sz="1200" b="0" i="0" kern="1200" dirty="0" smtClean="0">
                <a:solidFill>
                  <a:schemeClr val="tx1"/>
                </a:solidFill>
                <a:effectLst/>
                <a:latin typeface="+mn-lt"/>
                <a:ea typeface="+mn-ea"/>
                <a:cs typeface="+mn-cs"/>
              </a:rPr>
              <a:t>The following attributes are available for each node class.</a:t>
            </a:r>
          </a:p>
          <a:p>
            <a:r>
              <a:rPr lang="en-US" dirty="0" err="1" smtClean="0"/>
              <a:t>AttributeUseDataTypeDescription</a:t>
            </a:r>
            <a:r>
              <a:rPr lang="en-US" dirty="0" err="1" smtClean="0">
                <a:effectLst/>
              </a:rPr>
              <a:t>NodeIdMandatoryNodeIdUniquely</a:t>
            </a:r>
            <a:r>
              <a:rPr lang="en-US" dirty="0" smtClean="0">
                <a:effectLst/>
              </a:rPr>
              <a:t> identifies a Node in an OPC UA server and is used to address the Node in the OPC UA </a:t>
            </a:r>
            <a:r>
              <a:rPr lang="en-US" dirty="0" err="1" smtClean="0">
                <a:effectLst/>
              </a:rPr>
              <a:t>ServicesNodeClassMandatoryNodeClassAn</a:t>
            </a:r>
            <a:r>
              <a:rPr lang="en-US" dirty="0" smtClean="0">
                <a:effectLst/>
              </a:rPr>
              <a:t> enumeration identifying the </a:t>
            </a:r>
            <a:r>
              <a:rPr lang="en-US" dirty="0" err="1" smtClean="0">
                <a:effectLst/>
              </a:rPr>
              <a:t>NodeClass</a:t>
            </a:r>
            <a:r>
              <a:rPr lang="en-US" dirty="0" smtClean="0">
                <a:effectLst/>
              </a:rPr>
              <a:t> of a Node such as Object, Variable or </a:t>
            </a:r>
            <a:r>
              <a:rPr lang="en-US" dirty="0" err="1" smtClean="0">
                <a:effectLst/>
              </a:rPr>
              <a:t>MethodBrowseNameMandatoryQualifiedNameIdentifies</a:t>
            </a:r>
            <a:r>
              <a:rPr lang="en-US" dirty="0" smtClean="0">
                <a:effectLst/>
              </a:rPr>
              <a:t> the Node when browsing the OPC UA server. It is not </a:t>
            </a:r>
            <a:r>
              <a:rPr lang="en-US" dirty="0" err="1" smtClean="0">
                <a:effectLst/>
              </a:rPr>
              <a:t>localizedDisplayNameMandatoryLocalizedTextContains</a:t>
            </a:r>
            <a:r>
              <a:rPr lang="en-US" dirty="0" smtClean="0">
                <a:effectLst/>
              </a:rPr>
              <a:t> the Name of the Node that should be used to display the name in a user interface. Therefore, it is </a:t>
            </a:r>
            <a:r>
              <a:rPr lang="en-US" dirty="0" err="1" smtClean="0">
                <a:effectLst/>
              </a:rPr>
              <a:t>localizedDescriptionOptionalLocalizedTextThis</a:t>
            </a:r>
            <a:r>
              <a:rPr lang="en-US" dirty="0" smtClean="0">
                <a:effectLst/>
              </a:rPr>
              <a:t> optional Attribute contains a localized textual description of the NodeWriteMaskOptionalUInt32Is optional and specifies which Attributes of the Node are writable, i.e., can be modified by an OPC UA clientUserWriteMaskOptionalUInt32Is optional and specifies which Attributes of the Node can be modified by the user currently connected to the </a:t>
            </a:r>
            <a:r>
              <a:rPr lang="en-US" dirty="0" err="1" smtClean="0">
                <a:effectLst/>
              </a:rPr>
              <a:t>server</a:t>
            </a:r>
            <a:r>
              <a:rPr lang="en-US" sz="1200" b="1" i="0" kern="1200" dirty="0" err="1" smtClean="0">
                <a:solidFill>
                  <a:schemeClr val="tx1"/>
                </a:solidFill>
                <a:effectLst/>
                <a:latin typeface="+mn-lt"/>
                <a:ea typeface="+mn-ea"/>
                <a:cs typeface="+mn-cs"/>
              </a:rPr>
              <a:t>Object</a:t>
            </a:r>
            <a:endParaRPr lang="en-US" sz="1200" b="1"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Object node class is used to represent systems, system components, real-world objects and software objects.</a:t>
            </a:r>
          </a:p>
          <a:p>
            <a:r>
              <a:rPr lang="en-US" sz="1200" b="0" i="0" kern="1200" dirty="0" smtClean="0">
                <a:solidFill>
                  <a:schemeClr val="tx1"/>
                </a:solidFill>
                <a:effectLst/>
                <a:latin typeface="+mn-lt"/>
                <a:ea typeface="+mn-ea"/>
                <a:cs typeface="+mn-cs"/>
              </a:rPr>
              <a:t>The following attribute is specific for the Object node class:</a:t>
            </a:r>
          </a:p>
          <a:p>
            <a:r>
              <a:rPr lang="en-US" dirty="0" err="1" smtClean="0"/>
              <a:t>AttributeUseDataTypeDescription</a:t>
            </a:r>
            <a:r>
              <a:rPr lang="en-US" dirty="0" err="1" smtClean="0">
                <a:effectLst/>
              </a:rPr>
              <a:t>Contains</a:t>
            </a:r>
            <a:r>
              <a:rPr lang="en-US" dirty="0" smtClean="0">
                <a:effectLst/>
              </a:rPr>
              <a:t> all attributes of the </a:t>
            </a:r>
            <a:r>
              <a:rPr lang="en-US" sz="1200" b="1" u="none" strike="noStrike" kern="1200" dirty="0" smtClean="0">
                <a:solidFill>
                  <a:schemeClr val="tx1"/>
                </a:solidFill>
                <a:effectLst/>
                <a:latin typeface="+mn-lt"/>
                <a:ea typeface="+mn-ea"/>
                <a:cs typeface="+mn-cs"/>
                <a:hlinkClick r:id="rId3"/>
              </a:rPr>
              <a:t>Base Node </a:t>
            </a:r>
            <a:r>
              <a:rPr lang="en-US" sz="1200" b="1" u="none" strike="noStrike" kern="1200" dirty="0" err="1" smtClean="0">
                <a:solidFill>
                  <a:schemeClr val="tx1"/>
                </a:solidFill>
                <a:effectLst/>
                <a:latin typeface="+mn-lt"/>
                <a:ea typeface="+mn-ea"/>
                <a:cs typeface="+mn-cs"/>
                <a:hlinkClick r:id="rId3"/>
              </a:rPr>
              <a:t>Class</a:t>
            </a:r>
            <a:r>
              <a:rPr lang="en-US" dirty="0" err="1" smtClean="0">
                <a:effectLst/>
              </a:rPr>
              <a:t>EventNotifierMandatoryByteThis</a:t>
            </a:r>
            <a:r>
              <a:rPr lang="en-US" dirty="0" smtClean="0">
                <a:effectLst/>
              </a:rPr>
              <a:t> Attribute represents a bit mask that identifies whether the Object can be used to subscribe to Events and whether the history of Events is accessible and </a:t>
            </a:r>
            <a:r>
              <a:rPr lang="en-US" dirty="0" err="1" smtClean="0">
                <a:effectLst/>
              </a:rPr>
              <a:t>changeable</a:t>
            </a:r>
            <a:r>
              <a:rPr lang="en-US" sz="1200" b="1" i="0" kern="1200" dirty="0" err="1" smtClean="0">
                <a:solidFill>
                  <a:schemeClr val="tx1"/>
                </a:solidFill>
                <a:effectLst/>
                <a:latin typeface="+mn-lt"/>
                <a:ea typeface="+mn-ea"/>
                <a:cs typeface="+mn-cs"/>
              </a:rPr>
              <a:t>Variable</a:t>
            </a:r>
            <a:endParaRPr lang="en-US" sz="1200" b="1"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Variable node class is used to represent the content of an Object. Variables provide real data and thus the number of attributes is higher.</a:t>
            </a:r>
          </a:p>
          <a:p>
            <a:r>
              <a:rPr lang="en-US" sz="1200" b="0" i="0" kern="1200" dirty="0" smtClean="0">
                <a:solidFill>
                  <a:schemeClr val="tx1"/>
                </a:solidFill>
                <a:effectLst/>
                <a:latin typeface="+mn-lt"/>
                <a:ea typeface="+mn-ea"/>
                <a:cs typeface="+mn-cs"/>
              </a:rPr>
              <a:t>The following attributes are specific for the Variable node class:</a:t>
            </a:r>
          </a:p>
          <a:p>
            <a:r>
              <a:rPr lang="en-US" dirty="0" err="1" smtClean="0"/>
              <a:t>AttributeUseDataTypeDescription</a:t>
            </a:r>
            <a:r>
              <a:rPr lang="en-US" dirty="0" err="1" smtClean="0">
                <a:effectLst/>
              </a:rPr>
              <a:t>Contains</a:t>
            </a:r>
            <a:r>
              <a:rPr lang="en-US" dirty="0" smtClean="0">
                <a:effectLst/>
              </a:rPr>
              <a:t> all attributes of the </a:t>
            </a:r>
            <a:r>
              <a:rPr lang="en-US" sz="1200" b="1" u="none" strike="noStrike" kern="1200" dirty="0" smtClean="0">
                <a:solidFill>
                  <a:schemeClr val="tx1"/>
                </a:solidFill>
                <a:effectLst/>
                <a:latin typeface="+mn-lt"/>
                <a:ea typeface="+mn-ea"/>
                <a:cs typeface="+mn-cs"/>
                <a:hlinkClick r:id="rId3"/>
              </a:rPr>
              <a:t>Base Node </a:t>
            </a:r>
            <a:r>
              <a:rPr lang="en-US" sz="1200" b="1" u="none" strike="noStrike" kern="1200" dirty="0" err="1" smtClean="0">
                <a:solidFill>
                  <a:schemeClr val="tx1"/>
                </a:solidFill>
                <a:effectLst/>
                <a:latin typeface="+mn-lt"/>
                <a:ea typeface="+mn-ea"/>
                <a:cs typeface="+mn-cs"/>
                <a:hlinkClick r:id="rId3"/>
              </a:rPr>
              <a:t>Class</a:t>
            </a:r>
            <a:r>
              <a:rPr lang="en-US" dirty="0" err="1" smtClean="0">
                <a:effectLst/>
              </a:rPr>
              <a:t>ValueMandatoryBase</a:t>
            </a:r>
            <a:r>
              <a:rPr lang="en-US" dirty="0" smtClean="0">
                <a:effectLst/>
              </a:rPr>
              <a:t> Data </a:t>
            </a:r>
            <a:r>
              <a:rPr lang="en-US" dirty="0" err="1" smtClean="0">
                <a:effectLst/>
              </a:rPr>
              <a:t>TypeThe</a:t>
            </a:r>
            <a:r>
              <a:rPr lang="en-US" dirty="0" smtClean="0">
                <a:effectLst/>
              </a:rPr>
              <a:t> actual value of the Variable. The data type of the value is specified by the </a:t>
            </a:r>
            <a:r>
              <a:rPr lang="en-US" dirty="0" err="1" smtClean="0">
                <a:effectLst/>
              </a:rPr>
              <a:t>DataType</a:t>
            </a:r>
            <a:r>
              <a:rPr lang="en-US" dirty="0" smtClean="0">
                <a:effectLst/>
              </a:rPr>
              <a:t>, </a:t>
            </a:r>
            <a:r>
              <a:rPr lang="en-US" dirty="0" err="1" smtClean="0">
                <a:effectLst/>
              </a:rPr>
              <a:t>ValueRank</a:t>
            </a:r>
            <a:r>
              <a:rPr lang="en-US" dirty="0" smtClean="0">
                <a:effectLst/>
              </a:rPr>
              <a:t>, and </a:t>
            </a:r>
            <a:r>
              <a:rPr lang="en-US" dirty="0" err="1" smtClean="0">
                <a:effectLst/>
              </a:rPr>
              <a:t>ArrayDimensions</a:t>
            </a:r>
            <a:r>
              <a:rPr lang="en-US" dirty="0" smtClean="0">
                <a:effectLst/>
              </a:rPr>
              <a:t> </a:t>
            </a:r>
            <a:r>
              <a:rPr lang="en-US" dirty="0" err="1" smtClean="0">
                <a:effectLst/>
              </a:rPr>
              <a:t>AttributesDataTypeMandatoryNodeIdDataTypes</a:t>
            </a:r>
            <a:r>
              <a:rPr lang="en-US" dirty="0" smtClean="0">
                <a:effectLst/>
              </a:rPr>
              <a:t> are represented as Nodes in the Address Space. This Attribute contains a </a:t>
            </a:r>
            <a:r>
              <a:rPr lang="en-US" dirty="0" err="1" smtClean="0">
                <a:effectLst/>
              </a:rPr>
              <a:t>NodeId</a:t>
            </a:r>
            <a:r>
              <a:rPr lang="en-US" dirty="0" smtClean="0">
                <a:effectLst/>
              </a:rPr>
              <a:t> of such a Node and thus defines the </a:t>
            </a:r>
            <a:r>
              <a:rPr lang="en-US" dirty="0" err="1" smtClean="0">
                <a:effectLst/>
              </a:rPr>
              <a:t>DataType</a:t>
            </a:r>
            <a:r>
              <a:rPr lang="en-US" dirty="0" smtClean="0">
                <a:effectLst/>
              </a:rPr>
              <a:t> of the Value AttributeValueRankMandatoryInt32Identifies if the value is an array and when it is an array it allows specifying the dimensions of the arrayArrayDimensionsOptionalUInt32[]This optional Attribute allows specifying the size of an array and can only be used if the value is an array. For each dimension of the array a corresponding entry defines the length of the </a:t>
            </a:r>
            <a:r>
              <a:rPr lang="en-US" dirty="0" err="1" smtClean="0">
                <a:effectLst/>
              </a:rPr>
              <a:t>dimensionAccessLevelMandatoryByteA</a:t>
            </a:r>
            <a:r>
              <a:rPr lang="en-US" dirty="0" smtClean="0">
                <a:effectLst/>
              </a:rPr>
              <a:t> bit mask indicating whether the current value of the Value Attribute is readable and writable as well as whether the history of the value is readable and </a:t>
            </a:r>
            <a:r>
              <a:rPr lang="en-US" dirty="0" err="1" smtClean="0">
                <a:effectLst/>
              </a:rPr>
              <a:t>changeableUserAccessLevelMandatoryByteContains</a:t>
            </a:r>
            <a:r>
              <a:rPr lang="en-US" dirty="0" smtClean="0">
                <a:effectLst/>
              </a:rPr>
              <a:t> the same information as the </a:t>
            </a:r>
            <a:r>
              <a:rPr lang="en-US" dirty="0" err="1" smtClean="0">
                <a:effectLst/>
              </a:rPr>
              <a:t>AccessLevel</a:t>
            </a:r>
            <a:r>
              <a:rPr lang="en-US" dirty="0" smtClean="0">
                <a:effectLst/>
              </a:rPr>
              <a:t> but takes user access rights into </a:t>
            </a:r>
            <a:r>
              <a:rPr lang="en-US" dirty="0" err="1" smtClean="0">
                <a:effectLst/>
              </a:rPr>
              <a:t>accountMinimumSamplingIntervalOptionalDoubleThis</a:t>
            </a:r>
            <a:r>
              <a:rPr lang="en-US" dirty="0" smtClean="0">
                <a:effectLst/>
              </a:rPr>
              <a:t> optional Attribute provides the information how fast the OPC UA server can detect changes of the Value Attribute. For Values not directly managed by the server, e.g., the temperature of a temperature sensor, the server may need to scan the device for changes (polling) and thus is not able to detect changes faster than this minimum </a:t>
            </a:r>
            <a:r>
              <a:rPr lang="en-US" dirty="0" err="1" smtClean="0">
                <a:effectLst/>
              </a:rPr>
              <a:t>intervalHistorizingMandatoryBooleanIndicates</a:t>
            </a:r>
            <a:r>
              <a:rPr lang="en-US" dirty="0" smtClean="0">
                <a:effectLst/>
              </a:rPr>
              <a:t> whether the server currently collects history for the Value. The </a:t>
            </a:r>
            <a:r>
              <a:rPr lang="en-US" dirty="0" err="1" smtClean="0">
                <a:effectLst/>
              </a:rPr>
              <a:t>AccessLevel</a:t>
            </a:r>
            <a:r>
              <a:rPr lang="en-US" dirty="0" smtClean="0">
                <a:effectLst/>
              </a:rPr>
              <a:t> Attribute does not provide that information, it only specifies whether some history is </a:t>
            </a:r>
            <a:r>
              <a:rPr lang="en-US" dirty="0" err="1" smtClean="0">
                <a:effectLst/>
              </a:rPr>
              <a:t>available</a:t>
            </a:r>
            <a:r>
              <a:rPr lang="en-US" sz="1200" b="1" i="0" kern="1200" dirty="0" err="1" smtClean="0">
                <a:solidFill>
                  <a:schemeClr val="tx1"/>
                </a:solidFill>
                <a:effectLst/>
                <a:latin typeface="+mn-lt"/>
                <a:ea typeface="+mn-ea"/>
                <a:cs typeface="+mn-cs"/>
              </a:rPr>
              <a:t>Method</a:t>
            </a:r>
            <a:endParaRPr lang="en-US" sz="1200" b="1"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Method node class is used to represent a Method in the server address space.</a:t>
            </a:r>
          </a:p>
          <a:p>
            <a:r>
              <a:rPr lang="en-US" sz="1200" b="0" i="0" kern="1200" dirty="0" smtClean="0">
                <a:solidFill>
                  <a:schemeClr val="tx1"/>
                </a:solidFill>
                <a:effectLst/>
                <a:latin typeface="+mn-lt"/>
                <a:ea typeface="+mn-ea"/>
                <a:cs typeface="+mn-cs"/>
              </a:rPr>
              <a:t>The following attributes are specific for the Method node class.</a:t>
            </a:r>
          </a:p>
          <a:p>
            <a:r>
              <a:rPr lang="en-US" dirty="0" err="1" smtClean="0"/>
              <a:t>AttributeUseDataTypeDescription</a:t>
            </a:r>
            <a:r>
              <a:rPr lang="en-US" dirty="0" err="1" smtClean="0">
                <a:effectLst/>
              </a:rPr>
              <a:t>Contains</a:t>
            </a:r>
            <a:r>
              <a:rPr lang="en-US" dirty="0" smtClean="0">
                <a:effectLst/>
              </a:rPr>
              <a:t> all attributes of the </a:t>
            </a:r>
            <a:r>
              <a:rPr lang="en-US" sz="1200" b="1" u="none" strike="noStrike" kern="1200" dirty="0" smtClean="0">
                <a:solidFill>
                  <a:schemeClr val="tx1"/>
                </a:solidFill>
                <a:effectLst/>
                <a:latin typeface="+mn-lt"/>
                <a:ea typeface="+mn-ea"/>
                <a:cs typeface="+mn-cs"/>
                <a:hlinkClick r:id="rId3"/>
              </a:rPr>
              <a:t>Base Node </a:t>
            </a:r>
            <a:r>
              <a:rPr lang="en-US" sz="1200" b="1" u="none" strike="noStrike" kern="1200" dirty="0" err="1" smtClean="0">
                <a:solidFill>
                  <a:schemeClr val="tx1"/>
                </a:solidFill>
                <a:effectLst/>
                <a:latin typeface="+mn-lt"/>
                <a:ea typeface="+mn-ea"/>
                <a:cs typeface="+mn-cs"/>
                <a:hlinkClick r:id="rId3"/>
              </a:rPr>
              <a:t>Class</a:t>
            </a:r>
            <a:r>
              <a:rPr lang="en-US" dirty="0" err="1" smtClean="0">
                <a:effectLst/>
              </a:rPr>
              <a:t>ExecutableMandatoryBooleanA</a:t>
            </a:r>
            <a:r>
              <a:rPr lang="en-US" dirty="0" smtClean="0">
                <a:effectLst/>
              </a:rPr>
              <a:t> flag indicating if the Method can be invoked at the </a:t>
            </a:r>
            <a:r>
              <a:rPr lang="en-US" dirty="0" err="1" smtClean="0">
                <a:effectLst/>
              </a:rPr>
              <a:t>momentUserExecutableMandatoryBooleanSame</a:t>
            </a:r>
            <a:r>
              <a:rPr lang="en-US" dirty="0" smtClean="0">
                <a:effectLst/>
              </a:rPr>
              <a:t> as the Executable Attribute taking user access rights into </a:t>
            </a:r>
            <a:r>
              <a:rPr lang="en-US" dirty="0" err="1" smtClean="0">
                <a:effectLst/>
              </a:rPr>
              <a:t>account</a:t>
            </a:r>
            <a:r>
              <a:rPr lang="en-US" sz="1200" b="1" i="0" kern="1200" dirty="0" err="1" smtClean="0">
                <a:solidFill>
                  <a:schemeClr val="tx1"/>
                </a:solidFill>
                <a:effectLst/>
                <a:latin typeface="+mn-lt"/>
                <a:ea typeface="+mn-ea"/>
                <a:cs typeface="+mn-cs"/>
              </a:rPr>
              <a:t>ReferenceType</a:t>
            </a:r>
            <a:endParaRPr lang="en-US" sz="1200" b="1"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a:t>
            </a:r>
            <a:r>
              <a:rPr lang="en-US" sz="1200" b="0" i="0" kern="1200" dirty="0" err="1" smtClean="0">
                <a:solidFill>
                  <a:schemeClr val="tx1"/>
                </a:solidFill>
                <a:effectLst/>
                <a:latin typeface="+mn-lt"/>
                <a:ea typeface="+mn-ea"/>
                <a:cs typeface="+mn-cs"/>
              </a:rPr>
              <a:t>ReferenceType</a:t>
            </a:r>
            <a:r>
              <a:rPr lang="en-US" sz="1200" b="0" i="0" kern="1200" dirty="0" smtClean="0">
                <a:solidFill>
                  <a:schemeClr val="tx1"/>
                </a:solidFill>
                <a:effectLst/>
                <a:latin typeface="+mn-lt"/>
                <a:ea typeface="+mn-ea"/>
                <a:cs typeface="+mn-cs"/>
              </a:rPr>
              <a:t> node class is used to represent the type of references used by the server.</a:t>
            </a:r>
          </a:p>
          <a:p>
            <a:r>
              <a:rPr lang="en-US" sz="1200" b="0" i="0" kern="1200" dirty="0" smtClean="0">
                <a:solidFill>
                  <a:schemeClr val="tx1"/>
                </a:solidFill>
                <a:effectLst/>
                <a:latin typeface="+mn-lt"/>
                <a:ea typeface="+mn-ea"/>
                <a:cs typeface="+mn-cs"/>
              </a:rPr>
              <a:t>The following attributes are specific for the </a:t>
            </a:r>
            <a:r>
              <a:rPr lang="en-US" sz="1200" b="0" i="0" kern="1200" dirty="0" err="1" smtClean="0">
                <a:solidFill>
                  <a:schemeClr val="tx1"/>
                </a:solidFill>
                <a:effectLst/>
                <a:latin typeface="+mn-lt"/>
                <a:ea typeface="+mn-ea"/>
                <a:cs typeface="+mn-cs"/>
              </a:rPr>
              <a:t>ReferenceType</a:t>
            </a:r>
            <a:r>
              <a:rPr lang="en-US" sz="1200" b="0" i="0" kern="1200" dirty="0" smtClean="0">
                <a:solidFill>
                  <a:schemeClr val="tx1"/>
                </a:solidFill>
                <a:effectLst/>
                <a:latin typeface="+mn-lt"/>
                <a:ea typeface="+mn-ea"/>
                <a:cs typeface="+mn-cs"/>
              </a:rPr>
              <a:t> node class:</a:t>
            </a:r>
          </a:p>
          <a:p>
            <a:r>
              <a:rPr lang="en-US" dirty="0" err="1" smtClean="0"/>
              <a:t>AttributeUseDataTypeDescription</a:t>
            </a:r>
            <a:r>
              <a:rPr lang="en-US" dirty="0" err="1" smtClean="0">
                <a:effectLst/>
              </a:rPr>
              <a:t>Contains</a:t>
            </a:r>
            <a:r>
              <a:rPr lang="en-US" dirty="0" smtClean="0">
                <a:effectLst/>
              </a:rPr>
              <a:t> all attributes of the </a:t>
            </a:r>
            <a:r>
              <a:rPr lang="en-US" sz="1200" b="1" u="none" strike="noStrike" kern="1200" dirty="0" smtClean="0">
                <a:solidFill>
                  <a:schemeClr val="tx1"/>
                </a:solidFill>
                <a:effectLst/>
                <a:latin typeface="+mn-lt"/>
                <a:ea typeface="+mn-ea"/>
                <a:cs typeface="+mn-cs"/>
                <a:hlinkClick r:id="rId3"/>
              </a:rPr>
              <a:t>Base Node </a:t>
            </a:r>
            <a:r>
              <a:rPr lang="en-US" sz="1200" b="1" u="none" strike="noStrike" kern="1200" dirty="0" err="1" smtClean="0">
                <a:solidFill>
                  <a:schemeClr val="tx1"/>
                </a:solidFill>
                <a:effectLst/>
                <a:latin typeface="+mn-lt"/>
                <a:ea typeface="+mn-ea"/>
                <a:cs typeface="+mn-cs"/>
                <a:hlinkClick r:id="rId3"/>
              </a:rPr>
              <a:t>Class</a:t>
            </a:r>
            <a:r>
              <a:rPr lang="en-US" dirty="0" err="1" smtClean="0">
                <a:effectLst/>
              </a:rPr>
              <a:t>IsAbstractMandatoryBooleanSpecifies</a:t>
            </a:r>
            <a:r>
              <a:rPr lang="en-US" dirty="0" smtClean="0">
                <a:effectLst/>
              </a:rPr>
              <a:t> if the </a:t>
            </a:r>
            <a:r>
              <a:rPr lang="en-US" dirty="0" err="1" smtClean="0">
                <a:effectLst/>
              </a:rPr>
              <a:t>ReferenceType</a:t>
            </a:r>
            <a:r>
              <a:rPr lang="en-US" dirty="0" smtClean="0">
                <a:effectLst/>
              </a:rPr>
              <a:t> can be used for References or is only used for organizational purposes in the </a:t>
            </a:r>
            <a:r>
              <a:rPr lang="en-US" dirty="0" err="1" smtClean="0">
                <a:effectLst/>
              </a:rPr>
              <a:t>ReferenceType</a:t>
            </a:r>
            <a:r>
              <a:rPr lang="en-US" dirty="0" smtClean="0">
                <a:effectLst/>
              </a:rPr>
              <a:t> </a:t>
            </a:r>
            <a:r>
              <a:rPr lang="en-US" dirty="0" err="1" smtClean="0">
                <a:effectLst/>
              </a:rPr>
              <a:t>hierarchySymmetricMandatoryBooleanIndicates</a:t>
            </a:r>
            <a:r>
              <a:rPr lang="en-US" dirty="0" smtClean="0">
                <a:effectLst/>
              </a:rPr>
              <a:t> whether the Reference is symmetric, i.e., whether the meaning is the same in forward and inverse </a:t>
            </a:r>
            <a:r>
              <a:rPr lang="en-US" dirty="0" err="1" smtClean="0">
                <a:effectLst/>
              </a:rPr>
              <a:t>directionInverseNameOptionalLocalizedTextThis</a:t>
            </a:r>
            <a:r>
              <a:rPr lang="en-US" dirty="0" smtClean="0">
                <a:effectLst/>
              </a:rPr>
              <a:t> optional Attribute specifies the semantic of the Reference in inverse direction. It can only be applied for </a:t>
            </a:r>
            <a:r>
              <a:rPr lang="en-US" dirty="0" err="1" smtClean="0">
                <a:effectLst/>
              </a:rPr>
              <a:t>nonsymmetric</a:t>
            </a:r>
            <a:r>
              <a:rPr lang="en-US" dirty="0" smtClean="0">
                <a:effectLst/>
              </a:rPr>
              <a:t> References and must be provided if such a </a:t>
            </a:r>
            <a:r>
              <a:rPr lang="en-US" dirty="0" err="1" smtClean="0">
                <a:effectLst/>
              </a:rPr>
              <a:t>ReferenceType</a:t>
            </a:r>
            <a:r>
              <a:rPr lang="en-US" dirty="0" smtClean="0">
                <a:effectLst/>
              </a:rPr>
              <a:t> is not </a:t>
            </a:r>
            <a:r>
              <a:rPr lang="en-US" dirty="0" err="1" smtClean="0">
                <a:effectLst/>
              </a:rPr>
              <a:t>abstract</a:t>
            </a:r>
            <a:r>
              <a:rPr lang="en-US" sz="1200" b="1" i="0" kern="1200" dirty="0" err="1" smtClean="0">
                <a:solidFill>
                  <a:schemeClr val="tx1"/>
                </a:solidFill>
                <a:effectLst/>
                <a:latin typeface="+mn-lt"/>
                <a:ea typeface="+mn-ea"/>
                <a:cs typeface="+mn-cs"/>
              </a:rPr>
              <a:t>ObjectType</a:t>
            </a:r>
            <a:endParaRPr lang="en-US" sz="1200" b="1"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a:t>
            </a:r>
            <a:r>
              <a:rPr lang="en-US" sz="1200" b="0" i="0" kern="1200" dirty="0" err="1" smtClean="0">
                <a:solidFill>
                  <a:schemeClr val="tx1"/>
                </a:solidFill>
                <a:effectLst/>
                <a:latin typeface="+mn-lt"/>
                <a:ea typeface="+mn-ea"/>
                <a:cs typeface="+mn-cs"/>
              </a:rPr>
              <a:t>ObjectType</a:t>
            </a:r>
            <a:r>
              <a:rPr lang="en-US" sz="1200" b="0" i="0" kern="1200" dirty="0" smtClean="0">
                <a:solidFill>
                  <a:schemeClr val="tx1"/>
                </a:solidFill>
                <a:effectLst/>
                <a:latin typeface="+mn-lt"/>
                <a:ea typeface="+mn-ea"/>
                <a:cs typeface="+mn-cs"/>
              </a:rPr>
              <a:t> node class is used represents a type node for objects in the server address space. </a:t>
            </a:r>
            <a:r>
              <a:rPr lang="en-US" sz="1200" b="0" i="0" kern="1200" dirty="0" err="1" smtClean="0">
                <a:solidFill>
                  <a:schemeClr val="tx1"/>
                </a:solidFill>
                <a:effectLst/>
                <a:latin typeface="+mn-lt"/>
                <a:ea typeface="+mn-ea"/>
                <a:cs typeface="+mn-cs"/>
              </a:rPr>
              <a:t>ObjectTypes</a:t>
            </a:r>
            <a:r>
              <a:rPr lang="en-US" sz="1200" b="0" i="0" kern="1200" dirty="0" smtClean="0">
                <a:solidFill>
                  <a:schemeClr val="tx1"/>
                </a:solidFill>
                <a:effectLst/>
                <a:latin typeface="+mn-lt"/>
                <a:ea typeface="+mn-ea"/>
                <a:cs typeface="+mn-cs"/>
              </a:rPr>
              <a:t> are similar to a classes in object oriented languages.</a:t>
            </a:r>
          </a:p>
          <a:p>
            <a:r>
              <a:rPr lang="en-US" sz="1200" b="0" i="0" kern="1200" dirty="0" smtClean="0">
                <a:solidFill>
                  <a:schemeClr val="tx1"/>
                </a:solidFill>
                <a:effectLst/>
                <a:latin typeface="+mn-lt"/>
                <a:ea typeface="+mn-ea"/>
                <a:cs typeface="+mn-cs"/>
              </a:rPr>
              <a:t>The following attribute is specific for the </a:t>
            </a:r>
            <a:r>
              <a:rPr lang="en-US" sz="1200" b="0" i="0" kern="1200" dirty="0" err="1" smtClean="0">
                <a:solidFill>
                  <a:schemeClr val="tx1"/>
                </a:solidFill>
                <a:effectLst/>
                <a:latin typeface="+mn-lt"/>
                <a:ea typeface="+mn-ea"/>
                <a:cs typeface="+mn-cs"/>
              </a:rPr>
              <a:t>ObjectType</a:t>
            </a:r>
            <a:r>
              <a:rPr lang="en-US" sz="1200" b="0" i="0" kern="1200" dirty="0" smtClean="0">
                <a:solidFill>
                  <a:schemeClr val="tx1"/>
                </a:solidFill>
                <a:effectLst/>
                <a:latin typeface="+mn-lt"/>
                <a:ea typeface="+mn-ea"/>
                <a:cs typeface="+mn-cs"/>
              </a:rPr>
              <a:t> node class.</a:t>
            </a:r>
          </a:p>
          <a:p>
            <a:r>
              <a:rPr lang="en-US" dirty="0" err="1" smtClean="0"/>
              <a:t>AttributeUseDataTypeDescription</a:t>
            </a:r>
            <a:r>
              <a:rPr lang="en-US" dirty="0" err="1" smtClean="0">
                <a:effectLst/>
              </a:rPr>
              <a:t>Contains</a:t>
            </a:r>
            <a:r>
              <a:rPr lang="en-US" dirty="0" smtClean="0">
                <a:effectLst/>
              </a:rPr>
              <a:t> all attributes of the </a:t>
            </a:r>
            <a:r>
              <a:rPr lang="en-US" sz="1200" b="1" u="none" strike="noStrike" kern="1200" dirty="0" smtClean="0">
                <a:solidFill>
                  <a:schemeClr val="tx1"/>
                </a:solidFill>
                <a:effectLst/>
                <a:latin typeface="+mn-lt"/>
                <a:ea typeface="+mn-ea"/>
                <a:cs typeface="+mn-cs"/>
                <a:hlinkClick r:id="rId3"/>
              </a:rPr>
              <a:t>Base Node </a:t>
            </a:r>
            <a:r>
              <a:rPr lang="en-US" sz="1200" b="1" u="none" strike="noStrike" kern="1200" dirty="0" err="1" smtClean="0">
                <a:solidFill>
                  <a:schemeClr val="tx1"/>
                </a:solidFill>
                <a:effectLst/>
                <a:latin typeface="+mn-lt"/>
                <a:ea typeface="+mn-ea"/>
                <a:cs typeface="+mn-cs"/>
                <a:hlinkClick r:id="rId3"/>
              </a:rPr>
              <a:t>Class</a:t>
            </a:r>
            <a:r>
              <a:rPr lang="en-US" dirty="0" err="1" smtClean="0">
                <a:effectLst/>
              </a:rPr>
              <a:t>IsAbstractMandatoryBooleanThis</a:t>
            </a:r>
            <a:r>
              <a:rPr lang="en-US" dirty="0" smtClean="0">
                <a:effectLst/>
              </a:rPr>
              <a:t> Attribute indicates whether the </a:t>
            </a:r>
            <a:r>
              <a:rPr lang="en-US" dirty="0" err="1" smtClean="0">
                <a:effectLst/>
              </a:rPr>
              <a:t>ObjectType</a:t>
            </a:r>
            <a:r>
              <a:rPr lang="en-US" dirty="0" smtClean="0">
                <a:effectLst/>
              </a:rPr>
              <a:t> is concrete or abstract and therefore cannot directly be used as type </a:t>
            </a:r>
            <a:r>
              <a:rPr lang="en-US" dirty="0" err="1" smtClean="0">
                <a:effectLst/>
              </a:rPr>
              <a:t>definition</a:t>
            </a:r>
            <a:r>
              <a:rPr lang="en-US" sz="1200" b="1" i="0" kern="1200" dirty="0" err="1" smtClean="0">
                <a:solidFill>
                  <a:schemeClr val="tx1"/>
                </a:solidFill>
                <a:effectLst/>
                <a:latin typeface="+mn-lt"/>
                <a:ea typeface="+mn-ea"/>
                <a:cs typeface="+mn-cs"/>
              </a:rPr>
              <a:t>VariableType</a:t>
            </a:r>
            <a:endParaRPr lang="en-US" sz="1200" b="1"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a:t>
            </a:r>
            <a:r>
              <a:rPr lang="en-US" sz="1200" b="0" i="0" kern="1200" dirty="0" err="1" smtClean="0">
                <a:solidFill>
                  <a:schemeClr val="tx1"/>
                </a:solidFill>
                <a:effectLst/>
                <a:latin typeface="+mn-lt"/>
                <a:ea typeface="+mn-ea"/>
                <a:cs typeface="+mn-cs"/>
              </a:rPr>
              <a:t>VariableType</a:t>
            </a:r>
            <a:r>
              <a:rPr lang="en-US" sz="1200" b="0" i="0" kern="1200" dirty="0" smtClean="0">
                <a:solidFill>
                  <a:schemeClr val="tx1"/>
                </a:solidFill>
                <a:effectLst/>
                <a:latin typeface="+mn-lt"/>
                <a:ea typeface="+mn-ea"/>
                <a:cs typeface="+mn-cs"/>
              </a:rPr>
              <a:t> node class is used represents a type node for variables in the server address space. </a:t>
            </a:r>
            <a:r>
              <a:rPr lang="en-US" sz="1200" b="0" i="0" kern="1200" dirty="0" err="1" smtClean="0">
                <a:solidFill>
                  <a:schemeClr val="tx1"/>
                </a:solidFill>
                <a:effectLst/>
                <a:latin typeface="+mn-lt"/>
                <a:ea typeface="+mn-ea"/>
                <a:cs typeface="+mn-cs"/>
              </a:rPr>
              <a:t>VariableType</a:t>
            </a:r>
            <a:r>
              <a:rPr lang="en-US" sz="1200" b="0" i="0" kern="1200" dirty="0" smtClean="0">
                <a:solidFill>
                  <a:schemeClr val="tx1"/>
                </a:solidFill>
                <a:effectLst/>
                <a:latin typeface="+mn-lt"/>
                <a:ea typeface="+mn-ea"/>
                <a:cs typeface="+mn-cs"/>
              </a:rPr>
              <a:t> are typically used to define which properties are available on the Variable instance.</a:t>
            </a:r>
          </a:p>
          <a:p>
            <a:r>
              <a:rPr lang="en-US" sz="1200" b="0" i="0" kern="1200" dirty="0" smtClean="0">
                <a:solidFill>
                  <a:schemeClr val="tx1"/>
                </a:solidFill>
                <a:effectLst/>
                <a:latin typeface="+mn-lt"/>
                <a:ea typeface="+mn-ea"/>
                <a:cs typeface="+mn-cs"/>
              </a:rPr>
              <a:t>The following attributes are specific for the </a:t>
            </a:r>
            <a:r>
              <a:rPr lang="en-US" sz="1200" b="0" i="0" kern="1200" dirty="0" err="1" smtClean="0">
                <a:solidFill>
                  <a:schemeClr val="tx1"/>
                </a:solidFill>
                <a:effectLst/>
                <a:latin typeface="+mn-lt"/>
                <a:ea typeface="+mn-ea"/>
                <a:cs typeface="+mn-cs"/>
              </a:rPr>
              <a:t>VariableType</a:t>
            </a:r>
            <a:r>
              <a:rPr lang="en-US" sz="1200" b="0" i="0" kern="1200" dirty="0" smtClean="0">
                <a:solidFill>
                  <a:schemeClr val="tx1"/>
                </a:solidFill>
                <a:effectLst/>
                <a:latin typeface="+mn-lt"/>
                <a:ea typeface="+mn-ea"/>
                <a:cs typeface="+mn-cs"/>
              </a:rPr>
              <a:t> node class:</a:t>
            </a:r>
          </a:p>
          <a:p>
            <a:r>
              <a:rPr lang="en-US" dirty="0" err="1" smtClean="0"/>
              <a:t>AttributeUseDataTypeDescription</a:t>
            </a:r>
            <a:r>
              <a:rPr lang="en-US" dirty="0" err="1" smtClean="0">
                <a:effectLst/>
              </a:rPr>
              <a:t>Contains</a:t>
            </a:r>
            <a:r>
              <a:rPr lang="en-US" dirty="0" smtClean="0">
                <a:effectLst/>
              </a:rPr>
              <a:t> all attributes of the </a:t>
            </a:r>
            <a:r>
              <a:rPr lang="en-US" sz="1200" b="1" u="none" strike="noStrike" kern="1200" dirty="0" smtClean="0">
                <a:solidFill>
                  <a:schemeClr val="tx1"/>
                </a:solidFill>
                <a:effectLst/>
                <a:latin typeface="+mn-lt"/>
                <a:ea typeface="+mn-ea"/>
                <a:cs typeface="+mn-cs"/>
                <a:hlinkClick r:id="rId3"/>
              </a:rPr>
              <a:t>Base Node </a:t>
            </a:r>
            <a:r>
              <a:rPr lang="en-US" sz="1200" b="1" u="none" strike="noStrike" kern="1200" dirty="0" err="1" smtClean="0">
                <a:solidFill>
                  <a:schemeClr val="tx1"/>
                </a:solidFill>
                <a:effectLst/>
                <a:latin typeface="+mn-lt"/>
                <a:ea typeface="+mn-ea"/>
                <a:cs typeface="+mn-cs"/>
                <a:hlinkClick r:id="rId3"/>
              </a:rPr>
              <a:t>Class</a:t>
            </a:r>
            <a:r>
              <a:rPr lang="en-US" dirty="0" err="1" smtClean="0">
                <a:effectLst/>
              </a:rPr>
              <a:t>ValueOptionalBase</a:t>
            </a:r>
            <a:r>
              <a:rPr lang="en-US" dirty="0" smtClean="0">
                <a:effectLst/>
              </a:rPr>
              <a:t> Data </a:t>
            </a:r>
            <a:r>
              <a:rPr lang="en-US" dirty="0" err="1" smtClean="0">
                <a:effectLst/>
              </a:rPr>
              <a:t>TypeThis</a:t>
            </a:r>
            <a:r>
              <a:rPr lang="en-US" dirty="0" smtClean="0">
                <a:effectLst/>
              </a:rPr>
              <a:t> optional Attribute defines a default value for instances of this </a:t>
            </a:r>
            <a:r>
              <a:rPr lang="en-US" dirty="0" err="1" smtClean="0">
                <a:effectLst/>
              </a:rPr>
              <a:t>VariableType</a:t>
            </a:r>
            <a:r>
              <a:rPr lang="en-US" dirty="0" smtClean="0">
                <a:effectLst/>
              </a:rPr>
              <a:t>. The data type of the value is specified by the </a:t>
            </a:r>
            <a:r>
              <a:rPr lang="en-US" dirty="0" err="1" smtClean="0">
                <a:effectLst/>
              </a:rPr>
              <a:t>DataType</a:t>
            </a:r>
            <a:r>
              <a:rPr lang="en-US" dirty="0" smtClean="0">
                <a:effectLst/>
              </a:rPr>
              <a:t>, </a:t>
            </a:r>
            <a:r>
              <a:rPr lang="en-US" dirty="0" err="1" smtClean="0">
                <a:effectLst/>
              </a:rPr>
              <a:t>ValueRank</a:t>
            </a:r>
            <a:r>
              <a:rPr lang="en-US" dirty="0" smtClean="0">
                <a:effectLst/>
              </a:rPr>
              <a:t>, and </a:t>
            </a:r>
            <a:r>
              <a:rPr lang="en-US" dirty="0" err="1" smtClean="0">
                <a:effectLst/>
              </a:rPr>
              <a:t>ArrayDimensions</a:t>
            </a:r>
            <a:r>
              <a:rPr lang="en-US" dirty="0" smtClean="0">
                <a:effectLst/>
              </a:rPr>
              <a:t> </a:t>
            </a:r>
            <a:r>
              <a:rPr lang="en-US" dirty="0" err="1" smtClean="0">
                <a:effectLst/>
              </a:rPr>
              <a:t>AttributesDataTypeMandatoryNodeIdDefines</a:t>
            </a:r>
            <a:r>
              <a:rPr lang="en-US" dirty="0" smtClean="0">
                <a:effectLst/>
              </a:rPr>
              <a:t> the </a:t>
            </a:r>
            <a:r>
              <a:rPr lang="en-US" dirty="0" err="1" smtClean="0">
                <a:effectLst/>
              </a:rPr>
              <a:t>DataType</a:t>
            </a:r>
            <a:r>
              <a:rPr lang="en-US" dirty="0" smtClean="0">
                <a:effectLst/>
              </a:rPr>
              <a:t> of the Value Attribute for instances of this type as well as for the Value Attribute of the </a:t>
            </a:r>
            <a:r>
              <a:rPr lang="en-US" dirty="0" err="1" smtClean="0">
                <a:effectLst/>
              </a:rPr>
              <a:t>VariableType</a:t>
            </a:r>
            <a:r>
              <a:rPr lang="en-US" dirty="0" smtClean="0">
                <a:effectLst/>
              </a:rPr>
              <a:t> if providedValueRankMandatoryInt32Identifies if the value is an array and when it is an array it allows specifying the dimensions of the arrayArrayDimensionsOptionalUInt32[]This optional Attribute allows specifying the size of an array and can only be used if the value is an array. For each dimension of the array a corresponding entry defines the length of the </a:t>
            </a:r>
            <a:r>
              <a:rPr lang="en-US" dirty="0" err="1" smtClean="0">
                <a:effectLst/>
              </a:rPr>
              <a:t>dimensionIsAbstractMandatoryBooleanThis</a:t>
            </a:r>
            <a:r>
              <a:rPr lang="en-US" dirty="0" smtClean="0">
                <a:effectLst/>
              </a:rPr>
              <a:t> Attribute indicates if the </a:t>
            </a:r>
            <a:r>
              <a:rPr lang="en-US" dirty="0" err="1" smtClean="0">
                <a:effectLst/>
              </a:rPr>
              <a:t>VariableType</a:t>
            </a:r>
            <a:r>
              <a:rPr lang="en-US" dirty="0" smtClean="0">
                <a:effectLst/>
              </a:rPr>
              <a:t> is abstract and therefore cannot directly be used as type </a:t>
            </a:r>
            <a:r>
              <a:rPr lang="en-US" dirty="0" err="1" smtClean="0">
                <a:effectLst/>
              </a:rPr>
              <a:t>definition</a:t>
            </a:r>
            <a:r>
              <a:rPr lang="en-US" sz="1200" b="1" i="0" kern="1200" dirty="0" err="1" smtClean="0">
                <a:solidFill>
                  <a:schemeClr val="tx1"/>
                </a:solidFill>
                <a:effectLst/>
                <a:latin typeface="+mn-lt"/>
                <a:ea typeface="+mn-ea"/>
                <a:cs typeface="+mn-cs"/>
              </a:rPr>
              <a:t>DataType</a:t>
            </a:r>
            <a:endParaRPr lang="en-US" sz="1200" b="1"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ll </a:t>
            </a:r>
            <a:r>
              <a:rPr lang="en-US" sz="1200" b="0" i="0" kern="1200" dirty="0" err="1" smtClean="0">
                <a:solidFill>
                  <a:schemeClr val="tx1"/>
                </a:solidFill>
                <a:effectLst/>
                <a:latin typeface="+mn-lt"/>
                <a:ea typeface="+mn-ea"/>
                <a:cs typeface="+mn-cs"/>
              </a:rPr>
              <a:t>DataTypes</a:t>
            </a:r>
            <a:r>
              <a:rPr lang="en-US" sz="1200" b="0" i="0" kern="1200" dirty="0" smtClean="0">
                <a:solidFill>
                  <a:schemeClr val="tx1"/>
                </a:solidFill>
                <a:effectLst/>
                <a:latin typeface="+mn-lt"/>
                <a:ea typeface="+mn-ea"/>
                <a:cs typeface="+mn-cs"/>
              </a:rPr>
              <a:t> are represented as Nodes of the </a:t>
            </a:r>
            <a:r>
              <a:rPr lang="en-US" sz="1200" b="0" i="0" kern="1200" dirty="0" err="1" smtClean="0">
                <a:solidFill>
                  <a:schemeClr val="tx1"/>
                </a:solidFill>
                <a:effectLst/>
                <a:latin typeface="+mn-lt"/>
                <a:ea typeface="+mn-ea"/>
                <a:cs typeface="+mn-cs"/>
              </a:rPr>
              <a:t>NodeClass</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DataType</a:t>
            </a:r>
            <a:r>
              <a:rPr lang="en-US" sz="1200" b="0" i="0" kern="1200" dirty="0" smtClean="0">
                <a:solidFill>
                  <a:schemeClr val="tx1"/>
                </a:solidFill>
                <a:effectLst/>
                <a:latin typeface="+mn-lt"/>
                <a:ea typeface="+mn-ea"/>
                <a:cs typeface="+mn-cs"/>
              </a:rPr>
              <a:t> in the Address Space.</a:t>
            </a:r>
          </a:p>
          <a:p>
            <a:r>
              <a:rPr lang="en-US" sz="1200" b="0" i="0" kern="1200" dirty="0" smtClean="0">
                <a:solidFill>
                  <a:schemeClr val="tx1"/>
                </a:solidFill>
                <a:effectLst/>
                <a:latin typeface="+mn-lt"/>
                <a:ea typeface="+mn-ea"/>
                <a:cs typeface="+mn-cs"/>
              </a:rPr>
              <a:t>The following attribute is specific for the </a:t>
            </a:r>
            <a:r>
              <a:rPr lang="en-US" sz="1200" b="0" i="0" kern="1200" dirty="0" err="1" smtClean="0">
                <a:solidFill>
                  <a:schemeClr val="tx1"/>
                </a:solidFill>
                <a:effectLst/>
                <a:latin typeface="+mn-lt"/>
                <a:ea typeface="+mn-ea"/>
                <a:cs typeface="+mn-cs"/>
              </a:rPr>
              <a:t>DataType</a:t>
            </a:r>
            <a:r>
              <a:rPr lang="en-US" sz="1200" b="0" i="0" kern="1200" dirty="0" smtClean="0">
                <a:solidFill>
                  <a:schemeClr val="tx1"/>
                </a:solidFill>
                <a:effectLst/>
                <a:latin typeface="+mn-lt"/>
                <a:ea typeface="+mn-ea"/>
                <a:cs typeface="+mn-cs"/>
              </a:rPr>
              <a:t> node class:</a:t>
            </a:r>
          </a:p>
          <a:p>
            <a:r>
              <a:rPr lang="en-US" dirty="0" err="1" smtClean="0"/>
              <a:t>AttributeUseDataTypeDescription</a:t>
            </a:r>
            <a:r>
              <a:rPr lang="en-US" dirty="0" err="1" smtClean="0">
                <a:effectLst/>
              </a:rPr>
              <a:t>Contains</a:t>
            </a:r>
            <a:r>
              <a:rPr lang="en-US" dirty="0" smtClean="0">
                <a:effectLst/>
              </a:rPr>
              <a:t> all attributes of the </a:t>
            </a:r>
            <a:r>
              <a:rPr lang="en-US" sz="1200" b="1" u="none" strike="noStrike" kern="1200" dirty="0" smtClean="0">
                <a:solidFill>
                  <a:schemeClr val="tx1"/>
                </a:solidFill>
                <a:effectLst/>
                <a:latin typeface="+mn-lt"/>
                <a:ea typeface="+mn-ea"/>
                <a:cs typeface="+mn-cs"/>
                <a:hlinkClick r:id="rId3"/>
              </a:rPr>
              <a:t>Base Node </a:t>
            </a:r>
            <a:r>
              <a:rPr lang="en-US" sz="1200" b="1" u="none" strike="noStrike" kern="1200" dirty="0" err="1" smtClean="0">
                <a:solidFill>
                  <a:schemeClr val="tx1"/>
                </a:solidFill>
                <a:effectLst/>
                <a:latin typeface="+mn-lt"/>
                <a:ea typeface="+mn-ea"/>
                <a:cs typeface="+mn-cs"/>
                <a:hlinkClick r:id="rId3"/>
              </a:rPr>
              <a:t>Class</a:t>
            </a:r>
            <a:r>
              <a:rPr lang="en-US" dirty="0" err="1" smtClean="0">
                <a:effectLst/>
              </a:rPr>
              <a:t>IsAbstractMandatoryBooleanIndicates</a:t>
            </a:r>
            <a:r>
              <a:rPr lang="en-US" dirty="0" smtClean="0">
                <a:effectLst/>
              </a:rPr>
              <a:t> whether the </a:t>
            </a:r>
            <a:r>
              <a:rPr lang="en-US" dirty="0" err="1" smtClean="0">
                <a:effectLst/>
              </a:rPr>
              <a:t>DataType</a:t>
            </a:r>
            <a:r>
              <a:rPr lang="en-US" dirty="0" smtClean="0">
                <a:effectLst/>
              </a:rPr>
              <a:t> is abstract. An abstract </a:t>
            </a:r>
            <a:r>
              <a:rPr lang="en-US" dirty="0" err="1" smtClean="0">
                <a:effectLst/>
              </a:rPr>
              <a:t>DataType</a:t>
            </a:r>
            <a:r>
              <a:rPr lang="en-US" dirty="0" smtClean="0">
                <a:effectLst/>
              </a:rPr>
              <a:t> can be used in the </a:t>
            </a:r>
            <a:r>
              <a:rPr lang="en-US" dirty="0" err="1" smtClean="0">
                <a:effectLst/>
              </a:rPr>
              <a:t>DataType</a:t>
            </a:r>
            <a:r>
              <a:rPr lang="en-US" dirty="0" smtClean="0">
                <a:effectLst/>
              </a:rPr>
              <a:t> Attribute. However, concrete values must be of a concrete </a:t>
            </a:r>
            <a:r>
              <a:rPr lang="en-US" dirty="0" err="1" smtClean="0">
                <a:effectLst/>
              </a:rPr>
              <a:t>DataType</a:t>
            </a:r>
            <a:r>
              <a:rPr lang="en-US" sz="1200" b="1" i="0" kern="1200" dirty="0" err="1" smtClean="0">
                <a:solidFill>
                  <a:schemeClr val="tx1"/>
                </a:solidFill>
                <a:effectLst/>
                <a:latin typeface="+mn-lt"/>
                <a:ea typeface="+mn-ea"/>
                <a:cs typeface="+mn-cs"/>
              </a:rPr>
              <a:t>View</a:t>
            </a:r>
            <a:endParaRPr lang="en-US" sz="1200" b="1"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 View is used to restrict the number of visible Nodes and References in a large Address Space. By using Views servers can organize their Address Space and provide views on it tailored to specific tasks or use cases.</a:t>
            </a:r>
          </a:p>
          <a:p>
            <a:r>
              <a:rPr lang="en-US" sz="1200" b="0" i="0" kern="1200" dirty="0" smtClean="0">
                <a:solidFill>
                  <a:schemeClr val="tx1"/>
                </a:solidFill>
                <a:effectLst/>
                <a:latin typeface="+mn-lt"/>
                <a:ea typeface="+mn-ea"/>
                <a:cs typeface="+mn-cs"/>
              </a:rPr>
              <a:t>The following attributes are specific for the View node class:</a:t>
            </a:r>
          </a:p>
          <a:p>
            <a:r>
              <a:rPr lang="en-US" dirty="0" err="1" smtClean="0"/>
              <a:t>AttributeUseDataTypeDescription</a:t>
            </a:r>
            <a:r>
              <a:rPr lang="en-US" dirty="0" err="1" smtClean="0">
                <a:effectLst/>
              </a:rPr>
              <a:t>Contains</a:t>
            </a:r>
            <a:r>
              <a:rPr lang="en-US" dirty="0" smtClean="0">
                <a:effectLst/>
              </a:rPr>
              <a:t> all attributes of the </a:t>
            </a:r>
            <a:r>
              <a:rPr lang="en-US" sz="1200" b="1" u="none" strike="noStrike" kern="1200" dirty="0" smtClean="0">
                <a:solidFill>
                  <a:schemeClr val="tx1"/>
                </a:solidFill>
                <a:effectLst/>
                <a:latin typeface="+mn-lt"/>
                <a:ea typeface="+mn-ea"/>
                <a:cs typeface="+mn-cs"/>
                <a:hlinkClick r:id="rId3"/>
              </a:rPr>
              <a:t>Base Node </a:t>
            </a:r>
            <a:r>
              <a:rPr lang="en-US" sz="1200" b="1" u="none" strike="noStrike" kern="1200" dirty="0" err="1" smtClean="0">
                <a:solidFill>
                  <a:schemeClr val="tx1"/>
                </a:solidFill>
                <a:effectLst/>
                <a:latin typeface="+mn-lt"/>
                <a:ea typeface="+mn-ea"/>
                <a:cs typeface="+mn-cs"/>
                <a:hlinkClick r:id="rId3"/>
              </a:rPr>
              <a:t>Class</a:t>
            </a:r>
            <a:r>
              <a:rPr lang="en-US" dirty="0" err="1" smtClean="0">
                <a:effectLst/>
              </a:rPr>
              <a:t>ContainsNoLoopsMandatoryBooleanThis</a:t>
            </a:r>
            <a:r>
              <a:rPr lang="en-US" dirty="0" smtClean="0">
                <a:effectLst/>
              </a:rPr>
              <a:t> Attributes indicates whether the Nodes contained in the View do span a </a:t>
            </a:r>
            <a:r>
              <a:rPr lang="en-US" dirty="0" err="1" smtClean="0">
                <a:effectLst/>
              </a:rPr>
              <a:t>nonlooping</a:t>
            </a:r>
            <a:r>
              <a:rPr lang="en-US" dirty="0" smtClean="0">
                <a:effectLst/>
              </a:rPr>
              <a:t> hierarchy when following hierarchical </a:t>
            </a:r>
            <a:r>
              <a:rPr lang="en-US" dirty="0" err="1" smtClean="0">
                <a:effectLst/>
              </a:rPr>
              <a:t>ReferencesEventNotifierMandatoryByteThis</a:t>
            </a:r>
            <a:r>
              <a:rPr lang="en-US" dirty="0" smtClean="0">
                <a:effectLst/>
              </a:rPr>
              <a:t> Attribute represents a bit mask that identifies whether the View can be used to subscribe to Events and whether the history of Events is accessible and </a:t>
            </a:r>
            <a:r>
              <a:rPr lang="en-US" dirty="0" err="1" smtClean="0">
                <a:effectLst/>
              </a:rPr>
              <a:t>changeable</a:t>
            </a:r>
            <a:r>
              <a:rPr lang="en-US" sz="1200" b="0" i="0" kern="1200" dirty="0" err="1" smtClean="0">
                <a:solidFill>
                  <a:schemeClr val="tx1"/>
                </a:solidFill>
                <a:effectLst/>
                <a:latin typeface="+mn-lt"/>
                <a:ea typeface="+mn-ea"/>
                <a:cs typeface="+mn-cs"/>
              </a:rPr>
              <a:t>The</a:t>
            </a:r>
            <a:r>
              <a:rPr lang="en-US" sz="1200" b="0" i="0" kern="1200" dirty="0" smtClean="0">
                <a:solidFill>
                  <a:schemeClr val="tx1"/>
                </a:solidFill>
                <a:effectLst/>
                <a:latin typeface="+mn-lt"/>
                <a:ea typeface="+mn-ea"/>
                <a:cs typeface="+mn-cs"/>
              </a:rPr>
              <a:t> next chapter describes the </a:t>
            </a:r>
            <a:r>
              <a:rPr lang="en-US" sz="1200" b="1" i="0" u="none" strike="noStrike" kern="1200" dirty="0" smtClean="0">
                <a:solidFill>
                  <a:schemeClr val="tx1"/>
                </a:solidFill>
                <a:effectLst/>
                <a:latin typeface="+mn-lt"/>
                <a:ea typeface="+mn-ea"/>
                <a:cs typeface="+mn-cs"/>
                <a:hlinkClick r:id="rId4"/>
              </a:rPr>
              <a:t>OPC UA </a:t>
            </a:r>
            <a:r>
              <a:rPr lang="en-US" sz="1200" b="1" i="0" u="none" strike="noStrike" kern="1200" dirty="0" err="1" smtClean="0">
                <a:solidFill>
                  <a:schemeClr val="tx1"/>
                </a:solidFill>
                <a:effectLst/>
                <a:latin typeface="+mn-lt"/>
                <a:ea typeface="+mn-ea"/>
                <a:cs typeface="+mn-cs"/>
                <a:hlinkClick r:id="rId4"/>
              </a:rPr>
              <a:t>NodeId</a:t>
            </a:r>
            <a:r>
              <a:rPr lang="en-US" sz="1200" b="1" i="0" u="none" strike="noStrike" kern="1200" dirty="0" smtClean="0">
                <a:solidFill>
                  <a:schemeClr val="tx1"/>
                </a:solidFill>
                <a:effectLst/>
                <a:latin typeface="+mn-lt"/>
                <a:ea typeface="+mn-ea"/>
                <a:cs typeface="+mn-cs"/>
                <a:hlinkClick r:id="rId4"/>
              </a:rPr>
              <a:t> Concepts</a:t>
            </a:r>
            <a:r>
              <a:rPr lang="en-US" sz="1200" b="0" i="0" kern="1200" dirty="0" smtClean="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57</a:t>
            </a:fld>
            <a:endParaRPr lang="en-US"/>
          </a:p>
        </p:txBody>
      </p:sp>
    </p:spTree>
    <p:extLst>
      <p:ext uri="{BB962C8B-B14F-4D97-AF65-F5344CB8AC3E}">
        <p14:creationId xmlns:p14="http://schemas.microsoft.com/office/powerpoint/2010/main" val="16764802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Difference to “Classic” OPC DA</a:t>
            </a:r>
          </a:p>
          <a:p>
            <a:r>
              <a:rPr lang="en-US" sz="1200" b="0" i="0" kern="1200" dirty="0" smtClean="0">
                <a:solidFill>
                  <a:schemeClr val="tx1"/>
                </a:solidFill>
                <a:effectLst/>
                <a:latin typeface="+mn-lt"/>
                <a:ea typeface="+mn-ea"/>
                <a:cs typeface="+mn-cs"/>
              </a:rPr>
              <a:t>In the old days the classic DA Server have used simple “string”-Identifiers. The so called “</a:t>
            </a:r>
            <a:r>
              <a:rPr lang="en-US" sz="1200" b="0" i="0" kern="1200" dirty="0" err="1" smtClean="0">
                <a:solidFill>
                  <a:schemeClr val="tx1"/>
                </a:solidFill>
                <a:effectLst/>
                <a:latin typeface="+mn-lt"/>
                <a:ea typeface="+mn-ea"/>
                <a:cs typeface="+mn-cs"/>
              </a:rPr>
              <a:t>ItemID</a:t>
            </a:r>
            <a:r>
              <a:rPr lang="en-US" sz="1200" b="0" i="0" kern="1200" dirty="0" smtClean="0">
                <a:solidFill>
                  <a:schemeClr val="tx1"/>
                </a:solidFill>
                <a:effectLst/>
                <a:latin typeface="+mn-lt"/>
                <a:ea typeface="+mn-ea"/>
                <a:cs typeface="+mn-cs"/>
              </a:rPr>
              <a:t>” was a fully qualified name that was unique throughout the whole server (there was only one “namespace”). Furthermore, the classic DA Servers had only capabilities for a simple hierarchy, i.e. a tree-like structure with branches and leaves. Hence, many vendors have used the full folder hierarchy to create unique </a:t>
            </a:r>
            <a:r>
              <a:rPr lang="en-US" sz="1200" b="0" i="0" kern="1200" dirty="0" err="1" smtClean="0">
                <a:solidFill>
                  <a:schemeClr val="tx1"/>
                </a:solidFill>
                <a:effectLst/>
                <a:latin typeface="+mn-lt"/>
                <a:ea typeface="+mn-ea"/>
                <a:cs typeface="+mn-cs"/>
              </a:rPr>
              <a:t>ItemIDs</a:t>
            </a:r>
            <a:r>
              <a:rPr lang="en-US" sz="1200" b="0" i="0" kern="1200" dirty="0" smtClean="0">
                <a:solidFill>
                  <a:schemeClr val="tx1"/>
                </a:solidFill>
                <a:effectLst/>
                <a:latin typeface="+mn-lt"/>
                <a:ea typeface="+mn-ea"/>
                <a:cs typeface="+mn-cs"/>
              </a:rPr>
              <a:t> (e.g. “Folder1.Folder2.Folder3.MyTemperature”). This lead to massive redundant strings, wasting memory and slowing down performance when looking up or searching for individual Items. With OPC UA, this concept has been abandoned.</a:t>
            </a:r>
          </a:p>
          <a:p>
            <a:r>
              <a:rPr lang="en-US" sz="1200" b="1" i="0" kern="1200" dirty="0" smtClean="0">
                <a:solidFill>
                  <a:schemeClr val="tx1"/>
                </a:solidFill>
                <a:effectLst/>
                <a:latin typeface="+mn-lt"/>
                <a:ea typeface="+mn-ea"/>
                <a:cs typeface="+mn-cs"/>
              </a:rPr>
              <a:t>OPC UA </a:t>
            </a:r>
            <a:r>
              <a:rPr lang="en-US" sz="1200" b="1" i="0" kern="1200" dirty="0" err="1" smtClean="0">
                <a:solidFill>
                  <a:schemeClr val="tx1"/>
                </a:solidFill>
                <a:effectLst/>
                <a:latin typeface="+mn-lt"/>
                <a:ea typeface="+mn-ea"/>
                <a:cs typeface="+mn-cs"/>
              </a:rPr>
              <a:t>NodeIds</a:t>
            </a:r>
            <a:endParaRPr lang="en-US" sz="1200" b="1"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n OPC UA, every entity in the address space is a node. To uniquely identify a Node, each node has a </a:t>
            </a:r>
            <a:r>
              <a:rPr lang="en-US" sz="1200" b="0" i="0" kern="1200" dirty="0" err="1" smtClean="0">
                <a:solidFill>
                  <a:schemeClr val="tx1"/>
                </a:solidFill>
                <a:effectLst/>
                <a:latin typeface="+mn-lt"/>
                <a:ea typeface="+mn-ea"/>
                <a:cs typeface="+mn-cs"/>
              </a:rPr>
              <a:t>NodeId</a:t>
            </a:r>
            <a:r>
              <a:rPr lang="en-US" sz="1200" b="0" i="0" kern="1200" dirty="0" smtClean="0">
                <a:solidFill>
                  <a:schemeClr val="tx1"/>
                </a:solidFill>
                <a:effectLst/>
                <a:latin typeface="+mn-lt"/>
                <a:ea typeface="+mn-ea"/>
                <a:cs typeface="+mn-cs"/>
              </a:rPr>
              <a:t>, which is always composed of three elements:</a:t>
            </a:r>
          </a:p>
          <a:p>
            <a:r>
              <a:rPr lang="en-US" dirty="0" err="1" smtClean="0"/>
              <a:t>NamespaceIndexThe</a:t>
            </a:r>
            <a:r>
              <a:rPr lang="en-US" dirty="0" smtClean="0"/>
              <a:t> index an OPC UA server uses for a namespace URI. The namespace URI identifies the naming authority defining the identifiers of </a:t>
            </a:r>
            <a:r>
              <a:rPr lang="en-US" dirty="0" err="1" smtClean="0"/>
              <a:t>NodeIds</a:t>
            </a:r>
            <a:r>
              <a:rPr lang="en-US" dirty="0" smtClean="0"/>
              <a:t>, e.g. the OPC Foundation, other standard bodies and consortia, the underlying system, the local server. They are stored in the so-called namespace array (also referred to as namespace table). Namespace indexes are numeric values used to identify namespaces to optimize transfer and processing. The namespace index is the index of the namespace URI in the namespace </a:t>
            </a:r>
            <a:r>
              <a:rPr lang="en-US" dirty="0" err="1" smtClean="0"/>
              <a:t>array.IdentifierTypeThe</a:t>
            </a:r>
            <a:r>
              <a:rPr lang="en-US" dirty="0" smtClean="0"/>
              <a:t> format and data type of the identifier. It can be a numeric value, a string, a globally unique identifier (GUID), or an opaque value (a namespace specific format in a </a:t>
            </a:r>
            <a:r>
              <a:rPr lang="en-US" dirty="0" err="1" smtClean="0"/>
              <a:t>ByteString</a:t>
            </a:r>
            <a:r>
              <a:rPr lang="en-US" dirty="0" smtClean="0"/>
              <a:t>). Which type is preferred depends on the use case. If it is important to save memory or bandwidth, it makes sense to use numeric </a:t>
            </a:r>
            <a:r>
              <a:rPr lang="en-US" dirty="0" err="1" smtClean="0"/>
              <a:t>NodeIds</a:t>
            </a:r>
            <a:r>
              <a:rPr lang="en-US" dirty="0" smtClean="0"/>
              <a:t> which are smaller and faster to resolve. The OPC UA namespace as defined by the OPC Foundation uses numeric </a:t>
            </a:r>
            <a:r>
              <a:rPr lang="en-US" dirty="0" err="1" smtClean="0"/>
              <a:t>NodeIds</a:t>
            </a:r>
            <a:r>
              <a:rPr lang="en-US" dirty="0" smtClean="0"/>
              <a:t>. System-wide and globally unique identifiers allow clients to track Nodes, e.g. work orders, moving between OPC UA servers as they progress through the </a:t>
            </a:r>
            <a:r>
              <a:rPr lang="en-US" dirty="0" err="1" smtClean="0"/>
              <a:t>system.IdentifierThe</a:t>
            </a:r>
            <a:r>
              <a:rPr lang="en-US" dirty="0" smtClean="0"/>
              <a:t> identifier for a node in the address space of an OPC UA </a:t>
            </a:r>
            <a:r>
              <a:rPr lang="en-US" dirty="0" err="1" smtClean="0"/>
              <a:t>server.</a:t>
            </a:r>
            <a:r>
              <a:rPr lang="en-US" sz="1200" b="0" i="0" kern="1200" dirty="0" err="1" smtClean="0">
                <a:solidFill>
                  <a:schemeClr val="tx1"/>
                </a:solidFill>
                <a:effectLst/>
                <a:latin typeface="+mn-lt"/>
                <a:ea typeface="+mn-ea"/>
                <a:cs typeface="+mn-cs"/>
              </a:rPr>
              <a:t>The</a:t>
            </a:r>
            <a:r>
              <a:rPr lang="en-US" sz="1200" b="0" i="0" kern="1200" dirty="0" smtClean="0">
                <a:solidFill>
                  <a:schemeClr val="tx1"/>
                </a:solidFill>
                <a:effectLst/>
                <a:latin typeface="+mn-lt"/>
                <a:ea typeface="+mn-ea"/>
                <a:cs typeface="+mn-cs"/>
              </a:rPr>
              <a:t> following image shows examples for </a:t>
            </a:r>
            <a:r>
              <a:rPr lang="en-US" sz="1200" b="0" i="0" kern="1200" dirty="0" err="1" smtClean="0">
                <a:solidFill>
                  <a:schemeClr val="tx1"/>
                </a:solidFill>
                <a:effectLst/>
                <a:latin typeface="+mn-lt"/>
                <a:ea typeface="+mn-ea"/>
                <a:cs typeface="+mn-cs"/>
              </a:rPr>
              <a:t>NodeIds</a:t>
            </a:r>
            <a:r>
              <a:rPr lang="en-US" sz="1200" b="0" i="0" kern="1200" dirty="0" smtClean="0">
                <a:solidFill>
                  <a:schemeClr val="tx1"/>
                </a:solidFill>
                <a:effectLst/>
                <a:latin typeface="+mn-lt"/>
                <a:ea typeface="+mn-ea"/>
                <a:cs typeface="+mn-cs"/>
              </a:rPr>
              <a:t> having different identifier types.</a:t>
            </a:r>
          </a:p>
          <a:p>
            <a:r>
              <a:rPr lang="en-US" sz="1200" b="1" i="0" kern="1200" dirty="0" smtClean="0">
                <a:solidFill>
                  <a:schemeClr val="tx1"/>
                </a:solidFill>
                <a:effectLst/>
                <a:latin typeface="+mn-lt"/>
                <a:ea typeface="+mn-ea"/>
                <a:cs typeface="+mn-cs"/>
              </a:rPr>
              <a:t>Examples for different types of </a:t>
            </a:r>
            <a:r>
              <a:rPr lang="en-US" sz="1200" b="1" i="0" kern="1200" dirty="0" err="1" smtClean="0">
                <a:solidFill>
                  <a:schemeClr val="tx1"/>
                </a:solidFill>
                <a:effectLst/>
                <a:latin typeface="+mn-lt"/>
                <a:ea typeface="+mn-ea"/>
                <a:cs typeface="+mn-cs"/>
              </a:rPr>
              <a:t>NodeIds</a:t>
            </a:r>
            <a:endParaRPr lang="en-US" sz="1200" b="1"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XML Notation</a:t>
            </a:r>
          </a:p>
          <a:p>
            <a:r>
              <a:rPr lang="en-US" sz="1200" b="0" i="0" kern="1200" dirty="0" smtClean="0">
                <a:solidFill>
                  <a:schemeClr val="tx1"/>
                </a:solidFill>
                <a:effectLst/>
                <a:latin typeface="+mn-lt"/>
                <a:ea typeface="+mn-ea"/>
                <a:cs typeface="+mn-cs"/>
              </a:rPr>
              <a:t>There is an XML notation defined by the OPC UA XML Schema which represents a fully qualified </a:t>
            </a:r>
            <a:r>
              <a:rPr lang="en-US" sz="1200" b="0" i="0" kern="1200" dirty="0" err="1" smtClean="0">
                <a:solidFill>
                  <a:schemeClr val="tx1"/>
                </a:solidFill>
                <a:effectLst/>
                <a:latin typeface="+mn-lt"/>
                <a:ea typeface="+mn-ea"/>
                <a:cs typeface="+mn-cs"/>
              </a:rPr>
              <a:t>NodeId</a:t>
            </a:r>
            <a:r>
              <a:rPr lang="en-US" sz="1200" b="0" i="0" kern="1200" dirty="0" smtClean="0">
                <a:solidFill>
                  <a:schemeClr val="tx1"/>
                </a:solidFill>
                <a:effectLst/>
                <a:latin typeface="+mn-lt"/>
                <a:ea typeface="+mn-ea"/>
                <a:cs typeface="+mn-cs"/>
              </a:rPr>
              <a:t>. The format of the string is:</a:t>
            </a:r>
          </a:p>
          <a:p>
            <a:r>
              <a:rPr lang="en-US" sz="1200" b="1" i="0" kern="1200" dirty="0" smtClean="0">
                <a:solidFill>
                  <a:schemeClr val="tx1"/>
                </a:solidFill>
                <a:effectLst/>
                <a:latin typeface="+mn-lt"/>
                <a:ea typeface="+mn-ea"/>
                <a:cs typeface="+mn-cs"/>
              </a:rPr>
              <a:t>ns=&lt;</a:t>
            </a:r>
            <a:r>
              <a:rPr lang="en-US" sz="1200" b="1" i="0" kern="1200" dirty="0" err="1" smtClean="0">
                <a:solidFill>
                  <a:schemeClr val="tx1"/>
                </a:solidFill>
                <a:effectLst/>
                <a:latin typeface="+mn-lt"/>
                <a:ea typeface="+mn-ea"/>
                <a:cs typeface="+mn-cs"/>
              </a:rPr>
              <a:t>namespaceIndex</a:t>
            </a:r>
            <a:r>
              <a:rPr lang="en-US" sz="1200" b="1" i="0" kern="1200" dirty="0" smtClean="0">
                <a:solidFill>
                  <a:schemeClr val="tx1"/>
                </a:solidFill>
                <a:effectLst/>
                <a:latin typeface="+mn-lt"/>
                <a:ea typeface="+mn-ea"/>
                <a:cs typeface="+mn-cs"/>
              </a:rPr>
              <a:t>&gt;;&lt;</a:t>
            </a:r>
            <a:r>
              <a:rPr lang="en-US" sz="1200" b="1" i="0" kern="1200" dirty="0" err="1" smtClean="0">
                <a:solidFill>
                  <a:schemeClr val="tx1"/>
                </a:solidFill>
                <a:effectLst/>
                <a:latin typeface="+mn-lt"/>
                <a:ea typeface="+mn-ea"/>
                <a:cs typeface="+mn-cs"/>
              </a:rPr>
              <a:t>identifiertype</a:t>
            </a:r>
            <a:r>
              <a:rPr lang="en-US" sz="1200" b="1" i="0" kern="1200" dirty="0" smtClean="0">
                <a:solidFill>
                  <a:schemeClr val="tx1"/>
                </a:solidFill>
                <a:effectLst/>
                <a:latin typeface="+mn-lt"/>
                <a:ea typeface="+mn-ea"/>
                <a:cs typeface="+mn-cs"/>
              </a:rPr>
              <a:t>&gt;=&lt;identifier&gt;</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with the fields</a:t>
            </a:r>
          </a:p>
          <a:p>
            <a:r>
              <a:rPr lang="en-US" dirty="0" smtClean="0"/>
              <a:t>&lt;namespace index&gt;The namespace index formatted as a base 10 number. If the index is 0, then the entire “ns=0;” clause is omitted.&lt;identifier type&gt;</a:t>
            </a:r>
            <a:r>
              <a:rPr lang="en-US" sz="1200" b="0" i="0" kern="1200" dirty="0" smtClean="0">
                <a:solidFill>
                  <a:schemeClr val="tx1"/>
                </a:solidFill>
                <a:effectLst/>
                <a:latin typeface="+mn-lt"/>
                <a:ea typeface="+mn-ea"/>
                <a:cs typeface="+mn-cs"/>
              </a:rPr>
              <a:t>A flag that specifies the identifier type. The flag has the following values:</a:t>
            </a:r>
          </a:p>
          <a:p>
            <a:r>
              <a:rPr lang="en-US" dirty="0" err="1" smtClean="0"/>
              <a:t>FlagIdentifier</a:t>
            </a:r>
            <a:r>
              <a:rPr lang="en-US" dirty="0" smtClean="0"/>
              <a:t> </a:t>
            </a:r>
            <a:r>
              <a:rPr lang="en-US" dirty="0" err="1" smtClean="0"/>
              <a:t>Type</a:t>
            </a:r>
            <a:r>
              <a:rPr lang="en-US" dirty="0" err="1" smtClean="0">
                <a:effectLst/>
              </a:rPr>
              <a:t>iNUMERIC</a:t>
            </a:r>
            <a:r>
              <a:rPr lang="en-US" dirty="0" smtClean="0">
                <a:effectLst/>
              </a:rPr>
              <a:t> (</a:t>
            </a:r>
            <a:r>
              <a:rPr lang="en-US" dirty="0" err="1" smtClean="0">
                <a:effectLst/>
              </a:rPr>
              <a:t>UInteger</a:t>
            </a:r>
            <a:r>
              <a:rPr lang="en-US" dirty="0" smtClean="0">
                <a:effectLst/>
              </a:rPr>
              <a:t>)</a:t>
            </a:r>
            <a:r>
              <a:rPr lang="en-US" dirty="0" err="1" smtClean="0">
                <a:effectLst/>
              </a:rPr>
              <a:t>sSTRING</a:t>
            </a:r>
            <a:r>
              <a:rPr lang="en-US" dirty="0" smtClean="0">
                <a:effectLst/>
              </a:rPr>
              <a:t> (String)</a:t>
            </a:r>
            <a:r>
              <a:rPr lang="en-US" dirty="0" err="1" smtClean="0">
                <a:effectLst/>
              </a:rPr>
              <a:t>gGUID</a:t>
            </a:r>
            <a:r>
              <a:rPr lang="en-US" dirty="0" smtClean="0">
                <a:effectLst/>
              </a:rPr>
              <a:t> (</a:t>
            </a:r>
            <a:r>
              <a:rPr lang="en-US" dirty="0" err="1" smtClean="0">
                <a:effectLst/>
              </a:rPr>
              <a:t>Guid</a:t>
            </a:r>
            <a:r>
              <a:rPr lang="en-US" dirty="0" smtClean="0">
                <a:effectLst/>
              </a:rPr>
              <a:t>)</a:t>
            </a:r>
            <a:r>
              <a:rPr lang="en-US" dirty="0" err="1" smtClean="0">
                <a:effectLst/>
              </a:rPr>
              <a:t>bOPAQUE</a:t>
            </a:r>
            <a:r>
              <a:rPr lang="en-US" dirty="0" smtClean="0">
                <a:effectLst/>
              </a:rPr>
              <a:t> (</a:t>
            </a:r>
            <a:r>
              <a:rPr lang="en-US" dirty="0" err="1" smtClean="0">
                <a:effectLst/>
              </a:rPr>
              <a:t>ByteString</a:t>
            </a:r>
            <a:r>
              <a:rPr lang="en-US" dirty="0" smtClean="0">
                <a:effectLst/>
              </a:rPr>
              <a:t>)</a:t>
            </a:r>
            <a:r>
              <a:rPr lang="en-US" dirty="0" smtClean="0"/>
              <a:t>&lt;identifier&gt;The identifier encoded as string. The identifier is formatted using the XML data type mapping for the identifier type. Note that the identifier may contain any non-null UTF8 character including </a:t>
            </a:r>
            <a:r>
              <a:rPr lang="en-US" dirty="0" err="1" smtClean="0"/>
              <a:t>whitespace.</a:t>
            </a:r>
            <a:r>
              <a:rPr lang="en-US" sz="1200" b="1" i="0" kern="1200" dirty="0" err="1" smtClean="0">
                <a:solidFill>
                  <a:schemeClr val="tx1"/>
                </a:solidFill>
                <a:effectLst/>
                <a:latin typeface="+mn-lt"/>
                <a:ea typeface="+mn-ea"/>
                <a:cs typeface="+mn-cs"/>
              </a:rPr>
              <a:t>Examples</a:t>
            </a:r>
            <a:r>
              <a:rPr lang="en-US" sz="1200" b="1" i="0" kern="1200" dirty="0" smtClean="0">
                <a:solidFill>
                  <a:schemeClr val="tx1"/>
                </a:solidFill>
                <a:effectLst/>
                <a:latin typeface="+mn-lt"/>
                <a:ea typeface="+mn-ea"/>
                <a:cs typeface="+mn-cs"/>
              </a:rPr>
              <a:t>:</a:t>
            </a:r>
          </a:p>
          <a:p>
            <a:r>
              <a:rPr lang="en-US" dirty="0" smtClean="0"/>
              <a:t>ns=2;s=</a:t>
            </a:r>
            <a:r>
              <a:rPr lang="en-US" dirty="0" err="1" smtClean="0"/>
              <a:t>MyTemperaturenamespace</a:t>
            </a:r>
            <a:r>
              <a:rPr lang="en-US" dirty="0" smtClean="0"/>
              <a:t> index 2, string </a:t>
            </a:r>
            <a:r>
              <a:rPr lang="en-US" dirty="0" err="1" smtClean="0"/>
              <a:t>identifieri</a:t>
            </a:r>
            <a:r>
              <a:rPr lang="en-US" dirty="0" smtClean="0"/>
              <a:t>=2045namespace index 0, numeric </a:t>
            </a:r>
            <a:r>
              <a:rPr lang="en-US" dirty="0" err="1" smtClean="0"/>
              <a:t>identifierns</a:t>
            </a:r>
            <a:r>
              <a:rPr lang="en-US" dirty="0" smtClean="0"/>
              <a:t>=1;g=09087e75-8e5e-499b-954f-f2a9603db28anamespace index 1, GUID </a:t>
            </a:r>
            <a:r>
              <a:rPr lang="en-US" dirty="0" err="1" smtClean="0"/>
              <a:t>identifierns</a:t>
            </a:r>
            <a:r>
              <a:rPr lang="en-US" dirty="0" smtClean="0"/>
              <a:t>=1;b=M/RbKBsRVkePCePcx24oRA=='namespace index 1, Opaque/</a:t>
            </a:r>
            <a:r>
              <a:rPr lang="en-US" dirty="0" err="1" smtClean="0"/>
              <a:t>ByteString</a:t>
            </a:r>
            <a:r>
              <a:rPr lang="en-US" dirty="0" smtClean="0"/>
              <a:t> </a:t>
            </a:r>
            <a:r>
              <a:rPr lang="en-US" dirty="0" err="1" smtClean="0"/>
              <a:t>identifier</a:t>
            </a:r>
            <a:r>
              <a:rPr lang="en-US" sz="1200" b="0" i="0" kern="1200" dirty="0" err="1" smtClean="0">
                <a:solidFill>
                  <a:schemeClr val="tx1"/>
                </a:solidFill>
                <a:effectLst/>
                <a:latin typeface="+mn-lt"/>
                <a:ea typeface="+mn-ea"/>
                <a:cs typeface="+mn-cs"/>
              </a:rPr>
              <a:t>The</a:t>
            </a:r>
            <a:r>
              <a:rPr lang="en-US" sz="1200" b="0" i="0" kern="1200" dirty="0" smtClean="0">
                <a:solidFill>
                  <a:schemeClr val="tx1"/>
                </a:solidFill>
                <a:effectLst/>
                <a:latin typeface="+mn-lt"/>
                <a:ea typeface="+mn-ea"/>
                <a:cs typeface="+mn-cs"/>
              </a:rPr>
              <a:t> identifier part of a </a:t>
            </a:r>
            <a:r>
              <a:rPr lang="en-US" sz="1200" b="0" i="0" kern="1200" dirty="0" err="1" smtClean="0">
                <a:solidFill>
                  <a:schemeClr val="tx1"/>
                </a:solidFill>
                <a:effectLst/>
                <a:latin typeface="+mn-lt"/>
                <a:ea typeface="+mn-ea"/>
                <a:cs typeface="+mn-cs"/>
              </a:rPr>
              <a:t>NodeId</a:t>
            </a:r>
            <a:r>
              <a:rPr lang="en-US" sz="1200" b="0" i="0" kern="1200" dirty="0" smtClean="0">
                <a:solidFill>
                  <a:schemeClr val="tx1"/>
                </a:solidFill>
                <a:effectLst/>
                <a:latin typeface="+mn-lt"/>
                <a:ea typeface="+mn-ea"/>
                <a:cs typeface="+mn-cs"/>
              </a:rPr>
              <a:t> uniquely identifies a node within a namespace, but it is possible that the same identifier is used in different namespaces for different nodes. Hence only the namespace plus the identifier forms a fully qualified identifier (see figure below). This means if a client requests a node, e.g. in a read service, it not only needs the identifier, but also the namespace the node belongs to.</a:t>
            </a:r>
          </a:p>
          <a:p>
            <a:r>
              <a:rPr lang="en-US" sz="1200" b="1" i="0" kern="1200" dirty="0" smtClean="0">
                <a:solidFill>
                  <a:schemeClr val="tx1"/>
                </a:solidFill>
                <a:effectLst/>
                <a:latin typeface="+mn-lt"/>
                <a:ea typeface="+mn-ea"/>
                <a:cs typeface="+mn-cs"/>
              </a:rPr>
              <a:t>Nodes with the same identifier in different namespaces</a:t>
            </a:r>
          </a:p>
          <a:p>
            <a:r>
              <a:rPr lang="en-US" sz="1200" b="0" i="0" kern="1200" dirty="0" smtClean="0">
                <a:solidFill>
                  <a:schemeClr val="tx1"/>
                </a:solidFill>
                <a:effectLst/>
                <a:latin typeface="+mn-lt"/>
                <a:ea typeface="+mn-ea"/>
                <a:cs typeface="+mn-cs"/>
              </a:rPr>
              <a:t>In OPC UA service calls the namespace index is used instead of the longer namespace URI in </a:t>
            </a:r>
            <a:r>
              <a:rPr lang="en-US" sz="1200" b="0" i="0" kern="1200" dirty="0" err="1" smtClean="0">
                <a:solidFill>
                  <a:schemeClr val="tx1"/>
                </a:solidFill>
                <a:effectLst/>
                <a:latin typeface="+mn-lt"/>
                <a:ea typeface="+mn-ea"/>
                <a:cs typeface="+mn-cs"/>
              </a:rPr>
              <a:t>NodeIds</a:t>
            </a:r>
            <a:r>
              <a:rPr lang="en-US" sz="1200" b="0" i="0" kern="1200" dirty="0" smtClean="0">
                <a:solidFill>
                  <a:schemeClr val="tx1"/>
                </a:solidFill>
                <a:effectLst/>
                <a:latin typeface="+mn-lt"/>
                <a:ea typeface="+mn-ea"/>
                <a:cs typeface="+mn-cs"/>
              </a:rPr>
              <a:t>. The Client needs to take care of the correct mapping from namespace URI to namespace index. Servers are not allowed to change the namespace index for a specific namespace URI or delete entries from the namespace table as long as an active session exist, so that clients can cache the namespace table for a specific session. But a Server may change namespace indexes and remove entries from the namespace table if no Client is connected or if the server is restarted. For this reason, a Client should not persist the namespace index without storing the namespace URI as well, because a namespace URI represented by index “2” during one session could be represented by index “5” during the next session. Thus, when having established a session with a Server, a Client should always read the Server’s namespace table and update namespace indexes before calling services in which </a:t>
            </a:r>
            <a:r>
              <a:rPr lang="en-US" sz="1200" b="0" i="0" kern="1200" dirty="0" err="1" smtClean="0">
                <a:solidFill>
                  <a:schemeClr val="tx1"/>
                </a:solidFill>
                <a:effectLst/>
                <a:latin typeface="+mn-lt"/>
                <a:ea typeface="+mn-ea"/>
                <a:cs typeface="+mn-cs"/>
              </a:rPr>
              <a:t>NodeIds</a:t>
            </a:r>
            <a:r>
              <a:rPr lang="en-US" sz="1200" b="0" i="0" kern="1200" dirty="0" smtClean="0">
                <a:solidFill>
                  <a:schemeClr val="tx1"/>
                </a:solidFill>
                <a:effectLst/>
                <a:latin typeface="+mn-lt"/>
                <a:ea typeface="+mn-ea"/>
                <a:cs typeface="+mn-cs"/>
              </a:rPr>
              <a:t> are involved.</a:t>
            </a:r>
          </a:p>
          <a:p>
            <a:r>
              <a:rPr lang="en-US" sz="1200" b="0" i="0" kern="1200" dirty="0" smtClean="0">
                <a:solidFill>
                  <a:schemeClr val="tx1"/>
                </a:solidFill>
                <a:effectLst/>
                <a:latin typeface="+mn-lt"/>
                <a:ea typeface="+mn-ea"/>
                <a:cs typeface="+mn-cs"/>
              </a:rPr>
              <a:t>The following figure shows a typical procedure a Client follows when reading </a:t>
            </a:r>
            <a:r>
              <a:rPr lang="en-US" sz="1200" b="0" i="0" kern="1200" dirty="0" err="1" smtClean="0">
                <a:solidFill>
                  <a:schemeClr val="tx1"/>
                </a:solidFill>
                <a:effectLst/>
                <a:latin typeface="+mn-lt"/>
                <a:ea typeface="+mn-ea"/>
                <a:cs typeface="+mn-cs"/>
              </a:rPr>
              <a:t>atrributes</a:t>
            </a:r>
            <a:r>
              <a:rPr lang="en-US" sz="1200" b="0" i="0" kern="1200" dirty="0" smtClean="0">
                <a:solidFill>
                  <a:schemeClr val="tx1"/>
                </a:solidFill>
                <a:effectLst/>
                <a:latin typeface="+mn-lt"/>
                <a:ea typeface="+mn-ea"/>
                <a:cs typeface="+mn-cs"/>
              </a:rPr>
              <a:t> of a node. In this example, the client wants to read the Node represented by the identifier “</a:t>
            </a:r>
            <a:r>
              <a:rPr lang="en-US" sz="1200" b="0" i="0" kern="1200" dirty="0" err="1" smtClean="0">
                <a:solidFill>
                  <a:schemeClr val="tx1"/>
                </a:solidFill>
                <a:effectLst/>
                <a:latin typeface="+mn-lt"/>
                <a:ea typeface="+mn-ea"/>
                <a:cs typeface="+mn-cs"/>
              </a:rPr>
              <a:t>MyTemperature</a:t>
            </a:r>
            <a:r>
              <a:rPr lang="en-US" sz="1200" b="0" i="0" kern="1200" dirty="0" smtClean="0">
                <a:solidFill>
                  <a:schemeClr val="tx1"/>
                </a:solidFill>
                <a:effectLst/>
                <a:latin typeface="+mn-lt"/>
                <a:ea typeface="+mn-ea"/>
                <a:cs typeface="+mn-cs"/>
              </a:rPr>
              <a:t>” which belongs to the namespace identified by the URI “urn:MyCompany:UaServer:Model2”. The client stores an own namespace table containing the URIs it is interested in to build up fully qualified </a:t>
            </a:r>
            <a:r>
              <a:rPr lang="en-US" sz="1200" b="0" i="0" kern="1200" dirty="0" err="1" smtClean="0">
                <a:solidFill>
                  <a:schemeClr val="tx1"/>
                </a:solidFill>
                <a:effectLst/>
                <a:latin typeface="+mn-lt"/>
                <a:ea typeface="+mn-ea"/>
                <a:cs typeface="+mn-cs"/>
              </a:rPr>
              <a:t>NodeIds</a:t>
            </a:r>
            <a:r>
              <a:rPr lang="en-US" sz="1200" b="0" i="0" kern="1200" dirty="0" smtClean="0">
                <a:solidFill>
                  <a:schemeClr val="tx1"/>
                </a:solidFill>
                <a:effectLst/>
                <a:latin typeface="+mn-lt"/>
                <a:ea typeface="+mn-ea"/>
                <a:cs typeface="+mn-cs"/>
              </a:rPr>
              <a:t>, but doesn’t yet know the corresponding namespace index in the Server namespace table. For being able to access the correct Node, the client has to read the Server namespace table first. The namespace URI “urn:MyCompany:UaServer:Model2” is represented by namespace index “3” on the Server. Now the client is able to update the namespace indexes in its own namespace table and the </a:t>
            </a:r>
            <a:r>
              <a:rPr lang="en-US" sz="1200" b="0" i="0" kern="1200" dirty="0" err="1" smtClean="0">
                <a:solidFill>
                  <a:schemeClr val="tx1"/>
                </a:solidFill>
                <a:effectLst/>
                <a:latin typeface="+mn-lt"/>
                <a:ea typeface="+mn-ea"/>
                <a:cs typeface="+mn-cs"/>
              </a:rPr>
              <a:t>NodeId</a:t>
            </a:r>
            <a:r>
              <a:rPr lang="en-US" sz="1200" b="0" i="0" kern="1200" dirty="0" smtClean="0">
                <a:solidFill>
                  <a:schemeClr val="tx1"/>
                </a:solidFill>
                <a:effectLst/>
                <a:latin typeface="+mn-lt"/>
                <a:ea typeface="+mn-ea"/>
                <a:cs typeface="+mn-cs"/>
              </a:rPr>
              <a:t> it wants to access (in our example this means replacing index “2” with index “3”) and has all information that is needed to access the correct node, in our example “ns=3;s=</a:t>
            </a:r>
            <a:r>
              <a:rPr lang="en-US" sz="1200" b="0" i="0" kern="1200" dirty="0" err="1" smtClean="0">
                <a:solidFill>
                  <a:schemeClr val="tx1"/>
                </a:solidFill>
                <a:effectLst/>
                <a:latin typeface="+mn-lt"/>
                <a:ea typeface="+mn-ea"/>
                <a:cs typeface="+mn-cs"/>
              </a:rPr>
              <a:t>MyTemperature</a:t>
            </a:r>
            <a:r>
              <a:rPr lang="en-US" sz="1200" b="0" i="0" kern="1200" dirty="0" smtClean="0">
                <a:solidFill>
                  <a:schemeClr val="tx1"/>
                </a:solidFill>
                <a:effectLst/>
                <a:latin typeface="+mn-lt"/>
                <a:ea typeface="+mn-ea"/>
                <a:cs typeface="+mn-cs"/>
              </a:rPr>
              <a:t>” in XML notation. As it is allowed that the namespace identified by the URI “urn:MyCompany:UaServer:Model1” also contains a Node having the identifier “</a:t>
            </a:r>
            <a:r>
              <a:rPr lang="en-US" sz="1200" b="0" i="0" kern="1200" dirty="0" err="1" smtClean="0">
                <a:solidFill>
                  <a:schemeClr val="tx1"/>
                </a:solidFill>
                <a:effectLst/>
                <a:latin typeface="+mn-lt"/>
                <a:ea typeface="+mn-ea"/>
                <a:cs typeface="+mn-cs"/>
              </a:rPr>
              <a:t>MyTemperature</a:t>
            </a:r>
            <a:r>
              <a:rPr lang="en-US" sz="1200" b="0" i="0" kern="1200" dirty="0" smtClean="0">
                <a:solidFill>
                  <a:schemeClr val="tx1"/>
                </a:solidFill>
                <a:effectLst/>
                <a:latin typeface="+mn-lt"/>
                <a:ea typeface="+mn-ea"/>
                <a:cs typeface="+mn-cs"/>
              </a:rPr>
              <a:t>”, the client may not even notice that it accessed the wrong node when reading “ns=2;s=</a:t>
            </a:r>
            <a:r>
              <a:rPr lang="en-US" sz="1200" b="0" i="0" kern="1200" dirty="0" err="1" smtClean="0">
                <a:solidFill>
                  <a:schemeClr val="tx1"/>
                </a:solidFill>
                <a:effectLst/>
                <a:latin typeface="+mn-lt"/>
                <a:ea typeface="+mn-ea"/>
                <a:cs typeface="+mn-cs"/>
              </a:rPr>
              <a:t>MyTemperature</a:t>
            </a:r>
            <a:r>
              <a:rPr lang="en-US" sz="1200" b="0" i="0" kern="1200" dirty="0" smtClean="0">
                <a:solidFill>
                  <a:schemeClr val="tx1"/>
                </a:solidFill>
                <a:effectLst/>
                <a:latin typeface="+mn-lt"/>
                <a:ea typeface="+mn-ea"/>
                <a:cs typeface="+mn-cs"/>
              </a:rPr>
              <a:t>”.</a:t>
            </a:r>
          </a:p>
          <a:p>
            <a:r>
              <a:rPr lang="en-US" sz="1200" b="1" i="0" kern="1200" dirty="0" smtClean="0">
                <a:solidFill>
                  <a:schemeClr val="tx1"/>
                </a:solidFill>
                <a:effectLst/>
                <a:latin typeface="+mn-lt"/>
                <a:ea typeface="+mn-ea"/>
                <a:cs typeface="+mn-cs"/>
              </a:rPr>
              <a:t>Reading and storing the namespace table</a:t>
            </a:r>
          </a:p>
          <a:p>
            <a:r>
              <a:rPr lang="en-US" sz="1200" b="0" i="0" kern="1200" dirty="0" smtClean="0">
                <a:solidFill>
                  <a:schemeClr val="tx1"/>
                </a:solidFill>
                <a:effectLst/>
                <a:latin typeface="+mn-lt"/>
                <a:ea typeface="+mn-ea"/>
                <a:cs typeface="+mn-cs"/>
              </a:rPr>
              <a:t>The next chapter describes the </a:t>
            </a:r>
            <a:r>
              <a:rPr lang="en-US" sz="1200" b="1" i="0" u="none" strike="noStrike" kern="1200" dirty="0" smtClean="0">
                <a:solidFill>
                  <a:schemeClr val="tx1"/>
                </a:solidFill>
                <a:effectLst/>
                <a:latin typeface="+mn-lt"/>
                <a:ea typeface="+mn-ea"/>
                <a:cs typeface="+mn-cs"/>
                <a:hlinkClick r:id="rId3"/>
              </a:rPr>
              <a:t>OPC UA Subscription Concept</a:t>
            </a:r>
            <a:r>
              <a:rPr lang="en-US" sz="1200" b="0" i="0" kern="1200" dirty="0" smtClean="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58</a:t>
            </a:fld>
            <a:endParaRPr lang="en-US"/>
          </a:p>
        </p:txBody>
      </p:sp>
    </p:spTree>
    <p:extLst>
      <p:ext uri="{BB962C8B-B14F-4D97-AF65-F5344CB8AC3E}">
        <p14:creationId xmlns:p14="http://schemas.microsoft.com/office/powerpoint/2010/main" val="13347838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59</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0</a:t>
            </a:fld>
            <a:endParaRPr lang="en-US" dirty="0">
              <a:solidFill>
                <a:srgbClr val="000000"/>
              </a:solidFill>
              <a:latin typeface="Arial" pitchFamily="34" charset="0"/>
            </a:endParaRPr>
          </a:p>
        </p:txBody>
      </p:sp>
    </p:spTree>
    <p:extLst>
      <p:ext uri="{BB962C8B-B14F-4D97-AF65-F5344CB8AC3E}">
        <p14:creationId xmlns:p14="http://schemas.microsoft.com/office/powerpoint/2010/main" val="14798966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61</a:t>
            </a:fld>
            <a:endParaRPr lang="en-US"/>
          </a:p>
        </p:txBody>
      </p:sp>
    </p:spTree>
    <p:extLst>
      <p:ext uri="{BB962C8B-B14F-4D97-AF65-F5344CB8AC3E}">
        <p14:creationId xmlns:p14="http://schemas.microsoft.com/office/powerpoint/2010/main" val="20603809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 through</a:t>
            </a:r>
            <a:r>
              <a:rPr lang="en-US" baseline="0" dirty="0" smtClean="0"/>
              <a:t> the agenda of today’s training with explanation for each item</a:t>
            </a:r>
          </a:p>
          <a:p>
            <a:endParaRPr lang="en-US" baseline="0" dirty="0" smtClean="0"/>
          </a:p>
          <a:p>
            <a:pPr marL="228600" indent="-228600">
              <a:buAutoNum type="arabicParenR"/>
            </a:pPr>
            <a:r>
              <a:rPr lang="en-US" baseline="0" dirty="0" smtClean="0"/>
              <a:t>MSPH Ecosystem -&gt; How does it look like &amp; what parts do exist in the MSPH ecosystem?</a:t>
            </a:r>
          </a:p>
          <a:p>
            <a:pPr marL="228600" indent="-228600">
              <a:buAutoNum type="arabicParenR"/>
            </a:pPr>
            <a:r>
              <a:rPr lang="en-US" baseline="0" dirty="0" smtClean="0"/>
              <a:t>MSPH Scalable Portfolio -&gt; What does MSPH currently offer (e.g. infrastructure, APIs, apps)?</a:t>
            </a:r>
          </a:p>
          <a:p>
            <a:pPr marL="228600" indent="-228600">
              <a:buAutoNum type="arabicParenR"/>
            </a:pPr>
            <a:r>
              <a:rPr lang="en-US" baseline="0" dirty="0" smtClean="0"/>
              <a:t>IT security -&gt; How do we make sure your data is safe and no one has unauthorized access to your data?</a:t>
            </a:r>
          </a:p>
          <a:p>
            <a:pPr marL="228600" indent="-228600">
              <a:buAutoNum type="arabicParenR"/>
            </a:pPr>
            <a:r>
              <a:rPr lang="en-US" baseline="0" dirty="0" smtClean="0"/>
              <a:t>Demonstration/Hands-On -&gt; Probably most interesting part as we onboard a device to MSPH and let actually a training participant connect the device with MSPH</a:t>
            </a:r>
          </a:p>
          <a:p>
            <a:pPr marL="228600" indent="-228600">
              <a:buAutoNum type="arabicParenR"/>
            </a:pPr>
            <a:r>
              <a:rPr lang="en-US" baseline="0" dirty="0" smtClean="0"/>
              <a:t>Use Cases - </a:t>
            </a:r>
            <a:r>
              <a:rPr lang="en-US" baseline="0" dirty="0" err="1" smtClean="0"/>
              <a:t>MindApps</a:t>
            </a:r>
            <a:r>
              <a:rPr lang="en-US" baseline="0" dirty="0" smtClean="0"/>
              <a:t> &amp; Connectivity -&gt; For which use cases can MindSphere be used or is being used already? What are the benefits for our customers?</a:t>
            </a:r>
          </a:p>
          <a:p>
            <a:pPr marL="228600" indent="-228600">
              <a:buAutoNum type="arabicParenR"/>
            </a:pPr>
            <a:r>
              <a:rPr lang="en-US" baseline="0" dirty="0" smtClean="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smtClean="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2</a:t>
            </a:fld>
            <a:endParaRPr lang="en-US" dirty="0">
              <a:solidFill>
                <a:srgbClr val="000000"/>
              </a:solidFill>
              <a:latin typeface="Arial" pitchFamily="34" charset="0"/>
            </a:endParaRPr>
          </a:p>
        </p:txBody>
      </p:sp>
    </p:spTree>
    <p:extLst>
      <p:ext uri="{BB962C8B-B14F-4D97-AF65-F5344CB8AC3E}">
        <p14:creationId xmlns:p14="http://schemas.microsoft.com/office/powerpoint/2010/main" val="39538159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izen </a:t>
            </a:r>
            <a:fld id="{AD141568-5488-4AC9-B82D-9F5CE1225E2A}" type="slidenum">
              <a:rPr lang="en-US" smtClean="0">
                <a:latin typeface="Arial" pitchFamily="34" charset="0"/>
              </a:rPr>
              <a:pPr/>
              <a:t>63</a:t>
            </a:fld>
            <a:endParaRPr lang="en-US" dirty="0">
              <a:latin typeface="Arial" pitchFamily="34" charset="0"/>
            </a:endParaRPr>
          </a:p>
        </p:txBody>
      </p:sp>
    </p:spTree>
    <p:extLst>
      <p:ext uri="{BB962C8B-B14F-4D97-AF65-F5344CB8AC3E}">
        <p14:creationId xmlns:p14="http://schemas.microsoft.com/office/powerpoint/2010/main" val="30556263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64</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65</a:t>
            </a:fld>
            <a:endParaRPr lang="en-US"/>
          </a:p>
        </p:txBody>
      </p:sp>
    </p:spTree>
    <p:extLst>
      <p:ext uri="{BB962C8B-B14F-4D97-AF65-F5344CB8AC3E}">
        <p14:creationId xmlns:p14="http://schemas.microsoft.com/office/powerpoint/2010/main" val="9928755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137085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7588" cy="3429000"/>
          </a:xfrm>
        </p:spPr>
      </p:sp>
      <p:sp>
        <p:nvSpPr>
          <p:cNvPr id="3" name="Notes Placeholder 2"/>
          <p:cNvSpPr>
            <a:spLocks noGrp="1"/>
          </p:cNvSpPr>
          <p:nvPr>
            <p:ph type="body" idx="1"/>
          </p:nvPr>
        </p:nvSpPr>
        <p:spPr/>
        <p:txBody>
          <a:bodyPr/>
          <a:lstStyle/>
          <a:p>
            <a:pPr defTabSz="914310">
              <a:defRPr/>
            </a:pPr>
            <a:r>
              <a:rPr lang="en-US" dirty="0" err="1" smtClean="0"/>
              <a:t>MindConnect</a:t>
            </a:r>
            <a:r>
              <a:rPr lang="en-US" dirty="0" smtClean="0"/>
              <a:t> - Secure plug and play connection  of Siemens and third-party products</a:t>
            </a:r>
          </a:p>
          <a:p>
            <a:pPr defTabSz="914310">
              <a:defRPr/>
            </a:pPr>
            <a:endParaRPr lang="en-US" dirty="0" smtClean="0"/>
          </a:p>
          <a:p>
            <a:pPr defTabSz="914310">
              <a:defRPr/>
            </a:pPr>
            <a:endParaRPr lang="en-US" dirty="0" smtClean="0"/>
          </a:p>
          <a:p>
            <a:pPr defTabSz="914310">
              <a:defRPr/>
            </a:pPr>
            <a:r>
              <a:rPr lang="en-US" dirty="0" smtClean="0"/>
              <a:t>MindSphere Open Platform as a Service (PaaS) for scalable, global </a:t>
            </a:r>
            <a:r>
              <a:rPr lang="en-US" dirty="0" err="1" smtClean="0"/>
              <a:t>IoT</a:t>
            </a:r>
            <a:r>
              <a:rPr lang="en-US" dirty="0" smtClean="0"/>
              <a:t> connectivity and application development</a:t>
            </a:r>
          </a:p>
          <a:p>
            <a:pPr defTabSz="914310">
              <a:defRPr/>
            </a:pPr>
            <a:endParaRPr lang="en-US" dirty="0" smtClean="0"/>
          </a:p>
          <a:p>
            <a:pPr defTabSz="914310">
              <a:defRPr/>
            </a:pPr>
            <a:endParaRPr lang="en-US" dirty="0" smtClean="0"/>
          </a:p>
          <a:p>
            <a:pPr defTabSz="914310">
              <a:defRPr/>
            </a:pPr>
            <a:r>
              <a:rPr lang="en-US" dirty="0" err="1" smtClean="0"/>
              <a:t>MindApps</a:t>
            </a:r>
            <a:r>
              <a:rPr lang="en-US" dirty="0" smtClean="0"/>
              <a:t> - Powerful industry applications  and digital services for asset transparency and analytical insights into products, plants, systems and machines –</a:t>
            </a:r>
            <a:r>
              <a:rPr lang="en-US" baseline="0" dirty="0" smtClean="0"/>
              <a:t> -------------Will </a:t>
            </a:r>
            <a:r>
              <a:rPr lang="en-US" baseline="0" dirty="0" err="1" smtClean="0"/>
              <a:t>MindApps</a:t>
            </a:r>
            <a:r>
              <a:rPr lang="en-US" baseline="0" dirty="0" smtClean="0"/>
              <a:t> be sold through the Industrial Mall?-----------</a:t>
            </a:r>
            <a:endParaRPr lang="en-US" dirty="0" smtClean="0"/>
          </a:p>
          <a:p>
            <a:endParaRPr lang="en-US" dirty="0"/>
          </a:p>
        </p:txBody>
      </p:sp>
      <p:sp>
        <p:nvSpPr>
          <p:cNvPr id="4" name="Slide Number Placeholder 3"/>
          <p:cNvSpPr>
            <a:spLocks noGrp="1"/>
          </p:cNvSpPr>
          <p:nvPr>
            <p:ph type="sldNum" sz="quarter" idx="10"/>
          </p:nvPr>
        </p:nvSpPr>
        <p:spPr/>
        <p:txBody>
          <a:bodyPr/>
          <a:lstStyle/>
          <a:p>
            <a:fld id="{16160EF0-71D7-ED4C-BC5B-37DE0548B181}" type="slidenum">
              <a:rPr lang="en-US" smtClean="0">
                <a:solidFill>
                  <a:srgbClr val="000000"/>
                </a:solidFill>
              </a:rPr>
              <a:pPr/>
              <a:t>6</a:t>
            </a:fld>
            <a:endParaRPr lang="en-US">
              <a:solidFill>
                <a:srgbClr val="000000"/>
              </a:solidFill>
            </a:endParaRPr>
          </a:p>
        </p:txBody>
      </p:sp>
    </p:spTree>
    <p:extLst>
      <p:ext uri="{BB962C8B-B14F-4D97-AF65-F5344CB8AC3E}">
        <p14:creationId xmlns:p14="http://schemas.microsoft.com/office/powerpoint/2010/main" val="234103956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67</a:t>
            </a:fld>
            <a:endParaRPr lang="en-US"/>
          </a:p>
        </p:txBody>
      </p:sp>
    </p:spTree>
    <p:extLst>
      <p:ext uri="{BB962C8B-B14F-4D97-AF65-F5344CB8AC3E}">
        <p14:creationId xmlns:p14="http://schemas.microsoft.com/office/powerpoint/2010/main" val="14911461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 through</a:t>
            </a:r>
            <a:r>
              <a:rPr lang="en-US" baseline="0" dirty="0" smtClean="0"/>
              <a:t> the agenda of today’s training with explanation for each item</a:t>
            </a:r>
          </a:p>
          <a:p>
            <a:endParaRPr lang="en-US" baseline="0" dirty="0" smtClean="0"/>
          </a:p>
          <a:p>
            <a:pPr marL="228600" indent="-228600">
              <a:buAutoNum type="arabicParenR"/>
            </a:pPr>
            <a:r>
              <a:rPr lang="en-US" baseline="0" dirty="0" smtClean="0"/>
              <a:t>MSPH Ecosystem -&gt; How does it look like &amp; what parts do exist in the MSPH ecosystem?</a:t>
            </a:r>
          </a:p>
          <a:p>
            <a:pPr marL="228600" indent="-228600">
              <a:buAutoNum type="arabicParenR"/>
            </a:pPr>
            <a:r>
              <a:rPr lang="en-US" baseline="0" dirty="0" smtClean="0"/>
              <a:t>MSPH Scalable Portfolio -&gt; What does MSPH currently offer (e.g. infrastructure, APIs, apps)?</a:t>
            </a:r>
          </a:p>
          <a:p>
            <a:pPr marL="228600" indent="-228600">
              <a:buAutoNum type="arabicParenR"/>
            </a:pPr>
            <a:r>
              <a:rPr lang="en-US" baseline="0" dirty="0" smtClean="0"/>
              <a:t>IT security -&gt; How do we make sure your data is safe and no one has unauthorized access to your data?</a:t>
            </a:r>
          </a:p>
          <a:p>
            <a:pPr marL="228600" indent="-228600">
              <a:buAutoNum type="arabicParenR"/>
            </a:pPr>
            <a:r>
              <a:rPr lang="en-US" baseline="0" dirty="0" smtClean="0"/>
              <a:t>Demonstration/Hands-On -&gt; Probably most interesting part as we onboard a device to MSPH and let actually a training participant connect the device with MSPH</a:t>
            </a:r>
          </a:p>
          <a:p>
            <a:pPr marL="228600" indent="-228600">
              <a:buAutoNum type="arabicParenR"/>
            </a:pPr>
            <a:r>
              <a:rPr lang="en-US" baseline="0" dirty="0" smtClean="0"/>
              <a:t>Use Cases - </a:t>
            </a:r>
            <a:r>
              <a:rPr lang="en-US" baseline="0" dirty="0" err="1" smtClean="0"/>
              <a:t>MindApps</a:t>
            </a:r>
            <a:r>
              <a:rPr lang="en-US" baseline="0" dirty="0" smtClean="0"/>
              <a:t> &amp; Connectivity -&gt; For which use cases can MindSphere be used or is being used already? What are the benefits for our customers?</a:t>
            </a:r>
          </a:p>
          <a:p>
            <a:pPr marL="228600" indent="-228600">
              <a:buAutoNum type="arabicParenR"/>
            </a:pPr>
            <a:r>
              <a:rPr lang="en-US" baseline="0" dirty="0" smtClean="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smtClean="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8</a:t>
            </a:fld>
            <a:endParaRPr lang="en-US" dirty="0">
              <a:solidFill>
                <a:srgbClr val="000000"/>
              </a:solidFill>
              <a:latin typeface="Arial" pitchFamily="34" charset="0"/>
            </a:endParaRPr>
          </a:p>
        </p:txBody>
      </p:sp>
    </p:spTree>
    <p:extLst>
      <p:ext uri="{BB962C8B-B14F-4D97-AF65-F5344CB8AC3E}">
        <p14:creationId xmlns:p14="http://schemas.microsoft.com/office/powerpoint/2010/main" val="100350856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69</a:t>
            </a:fld>
            <a:endParaRPr lang="en-US" dirty="0">
              <a:latin typeface="Arial" pitchFamily="34" charset="0"/>
            </a:endParaRPr>
          </a:p>
        </p:txBody>
      </p:sp>
    </p:spTree>
    <p:extLst>
      <p:ext uri="{BB962C8B-B14F-4D97-AF65-F5344CB8AC3E}">
        <p14:creationId xmlns:p14="http://schemas.microsoft.com/office/powerpoint/2010/main" val="293933928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75</a:t>
            </a:fld>
            <a:endParaRPr lang="en-US" dirty="0">
              <a:latin typeface="Arial" pitchFamily="34" charset="0"/>
            </a:endParaRPr>
          </a:p>
        </p:txBody>
      </p:sp>
    </p:spTree>
    <p:extLst>
      <p:ext uri="{BB962C8B-B14F-4D97-AF65-F5344CB8AC3E}">
        <p14:creationId xmlns:p14="http://schemas.microsoft.com/office/powerpoint/2010/main" val="266545839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76</a:t>
            </a:fld>
            <a:endParaRPr lang="en-US" dirty="0">
              <a:latin typeface="Arial" pitchFamily="34" charset="0"/>
            </a:endParaRPr>
          </a:p>
        </p:txBody>
      </p:sp>
    </p:spTree>
    <p:extLst>
      <p:ext uri="{BB962C8B-B14F-4D97-AF65-F5344CB8AC3E}">
        <p14:creationId xmlns:p14="http://schemas.microsoft.com/office/powerpoint/2010/main" val="992756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7</a:t>
            </a:fld>
            <a:endParaRPr lang="en-US"/>
          </a:p>
        </p:txBody>
      </p:sp>
    </p:spTree>
    <p:extLst>
      <p:ext uri="{BB962C8B-B14F-4D97-AF65-F5344CB8AC3E}">
        <p14:creationId xmlns:p14="http://schemas.microsoft.com/office/powerpoint/2010/main" val="60074570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78</a:t>
            </a:fld>
            <a:endParaRPr lang="en-US" dirty="0">
              <a:solidFill>
                <a:srgbClr val="000000"/>
              </a:solidFill>
              <a:latin typeface="Arial" pitchFamily="34" charset="0"/>
            </a:endParaRPr>
          </a:p>
        </p:txBody>
      </p:sp>
    </p:spTree>
    <p:extLst>
      <p:ext uri="{BB962C8B-B14F-4D97-AF65-F5344CB8AC3E}">
        <p14:creationId xmlns:p14="http://schemas.microsoft.com/office/powerpoint/2010/main" val="52066550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79</a:t>
            </a:fld>
            <a:endParaRPr lang="en-US"/>
          </a:p>
        </p:txBody>
      </p:sp>
    </p:spTree>
    <p:extLst>
      <p:ext uri="{BB962C8B-B14F-4D97-AF65-F5344CB8AC3E}">
        <p14:creationId xmlns:p14="http://schemas.microsoft.com/office/powerpoint/2010/main" val="206038094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0</a:t>
            </a:fld>
            <a:endParaRPr lang="en-US" dirty="0">
              <a:solidFill>
                <a:srgbClr val="000000"/>
              </a:solidFill>
              <a:latin typeface="Arial" pitchFamily="34" charset="0"/>
            </a:endParaRPr>
          </a:p>
        </p:txBody>
      </p:sp>
    </p:spTree>
    <p:extLst>
      <p:ext uri="{BB962C8B-B14F-4D97-AF65-F5344CB8AC3E}">
        <p14:creationId xmlns:p14="http://schemas.microsoft.com/office/powerpoint/2010/main" val="62214504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81</a:t>
            </a:fld>
            <a:endParaRPr lang="en-US" dirty="0">
              <a:latin typeface="Arial" pitchFamily="34" charset="0"/>
            </a:endParaRPr>
          </a:p>
        </p:txBody>
      </p:sp>
    </p:spTree>
    <p:extLst>
      <p:ext uri="{BB962C8B-B14F-4D97-AF65-F5344CB8AC3E}">
        <p14:creationId xmlns:p14="http://schemas.microsoft.com/office/powerpoint/2010/main" val="1059035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7588" cy="3429000"/>
          </a:xfrm>
        </p:spPr>
      </p:sp>
      <p:sp>
        <p:nvSpPr>
          <p:cNvPr id="3" name="Notes Placeholder 2"/>
          <p:cNvSpPr>
            <a:spLocks noGrp="1"/>
          </p:cNvSpPr>
          <p:nvPr>
            <p:ph type="body" idx="1"/>
          </p:nvPr>
        </p:nvSpPr>
        <p:spPr/>
        <p:txBody>
          <a:bodyPr/>
          <a:lstStyle/>
          <a:p>
            <a:pPr defTabSz="914310">
              <a:defRPr/>
            </a:pPr>
            <a:endParaRPr lang="en-US" dirty="0" smtClean="0"/>
          </a:p>
          <a:p>
            <a:pPr defTabSz="914310">
              <a:defRPr/>
            </a:pPr>
            <a:r>
              <a:rPr lang="en-US" dirty="0" smtClean="0"/>
              <a:t>First:</a:t>
            </a:r>
            <a:r>
              <a:rPr lang="en-US" baseline="0" dirty="0" smtClean="0"/>
              <a:t> How do I connect my assets?</a:t>
            </a:r>
          </a:p>
          <a:p>
            <a:pPr defTabSz="914310">
              <a:defRPr/>
            </a:pPr>
            <a:r>
              <a:rPr lang="en-US" dirty="0" smtClean="0"/>
              <a:t>Answer: </a:t>
            </a:r>
            <a:r>
              <a:rPr lang="en-US" dirty="0" err="1" smtClean="0"/>
              <a:t>MindConnect</a:t>
            </a:r>
            <a:r>
              <a:rPr lang="en-US" dirty="0" smtClean="0"/>
              <a:t> which offers you </a:t>
            </a:r>
            <a:r>
              <a:rPr lang="en-US" dirty="0" err="1" smtClean="0"/>
              <a:t>plug&amp;play</a:t>
            </a:r>
            <a:r>
              <a:rPr lang="en-US" dirty="0" smtClean="0"/>
              <a:t> solutions with open standards including OPC UA and S7</a:t>
            </a:r>
          </a:p>
          <a:p>
            <a:pPr defTabSz="914310">
              <a:defRPr/>
            </a:pPr>
            <a:r>
              <a:rPr lang="en-US" dirty="0" smtClean="0"/>
              <a:t>- Secure connection and data communication of Siemens and third-party products</a:t>
            </a:r>
          </a:p>
          <a:p>
            <a:pPr defTabSz="914310">
              <a:defRPr/>
            </a:pPr>
            <a:endParaRPr lang="en-US" dirty="0" smtClean="0"/>
          </a:p>
          <a:p>
            <a:pPr defTabSz="914310">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16160EF0-71D7-ED4C-BC5B-37DE0548B181}" type="slidenum">
              <a:rPr lang="en-US" smtClean="0">
                <a:solidFill>
                  <a:srgbClr val="000000"/>
                </a:solidFill>
              </a:rPr>
              <a:pPr/>
              <a:t>7</a:t>
            </a:fld>
            <a:endParaRPr lang="en-US">
              <a:solidFill>
                <a:srgbClr val="000000"/>
              </a:solidFill>
            </a:endParaRPr>
          </a:p>
        </p:txBody>
      </p:sp>
    </p:spTree>
    <p:extLst>
      <p:ext uri="{BB962C8B-B14F-4D97-AF65-F5344CB8AC3E}">
        <p14:creationId xmlns:p14="http://schemas.microsoft.com/office/powerpoint/2010/main" val="122610884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2</a:t>
            </a:fld>
            <a:endParaRPr lang="en-US" dirty="0">
              <a:solidFill>
                <a:srgbClr val="000000"/>
              </a:solidFill>
              <a:latin typeface="Arial" pitchFamily="34" charset="0"/>
            </a:endParaRPr>
          </a:p>
        </p:txBody>
      </p:sp>
    </p:spTree>
    <p:extLst>
      <p:ext uri="{BB962C8B-B14F-4D97-AF65-F5344CB8AC3E}">
        <p14:creationId xmlns:p14="http://schemas.microsoft.com/office/powerpoint/2010/main" val="14437036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8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70370642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D22CA08-121E-44F4-A8B4-1C154DB46366}" type="slidenum">
              <a:rPr lang="en-US" smtClean="0"/>
              <a:t>84</a:t>
            </a:fld>
            <a:endParaRPr lang="en-US"/>
          </a:p>
        </p:txBody>
      </p:sp>
    </p:spTree>
    <p:extLst>
      <p:ext uri="{BB962C8B-B14F-4D97-AF65-F5344CB8AC3E}">
        <p14:creationId xmlns:p14="http://schemas.microsoft.com/office/powerpoint/2010/main" val="3273348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8</a:t>
            </a:fld>
            <a:endParaRPr lang="en-US" dirty="0">
              <a:latin typeface="Arial" pitchFamily="34" charset="0"/>
            </a:endParaRPr>
          </a:p>
        </p:txBody>
      </p:sp>
    </p:spTree>
    <p:extLst>
      <p:ext uri="{BB962C8B-B14F-4D97-AF65-F5344CB8AC3E}">
        <p14:creationId xmlns:p14="http://schemas.microsoft.com/office/powerpoint/2010/main" val="3628131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9</a:t>
            </a:fld>
            <a:endParaRPr lang="en-US" dirty="0">
              <a:latin typeface="Arial" pitchFamily="34" charset="0"/>
            </a:endParaRPr>
          </a:p>
        </p:txBody>
      </p:sp>
    </p:spTree>
    <p:extLst>
      <p:ext uri="{BB962C8B-B14F-4D97-AF65-F5344CB8AC3E}">
        <p14:creationId xmlns:p14="http://schemas.microsoft.com/office/powerpoint/2010/main" val="17811120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45.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38.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22.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customXml" Target="../../customXml/item5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customXml" Target="../../customXml/item21.xml"/><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customXml" Target="../../customXml/item47.xml"/><Relationship Id="rId6" Type="http://schemas.openxmlformats.org/officeDocument/2006/relationships/slideMaster" Target="../slideMasters/slideMaster1.xml"/><Relationship Id="rId5" Type="http://schemas.openxmlformats.org/officeDocument/2006/relationships/tags" Target="../tags/tag65.xml"/><Relationship Id="rId4" Type="http://schemas.openxmlformats.org/officeDocument/2006/relationships/tags" Target="../tags/tag6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customXml" Target="../../customXml/item61.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customXml" Target="../../customXml/item9.xml"/><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35.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customXml" Target="../../customXml/item54.xml"/><Relationship Id="rId5" Type="http://schemas.openxmlformats.org/officeDocument/2006/relationships/slideMaster" Target="../slideMasters/slideMaster1.xml"/><Relationship Id="rId4" Type="http://schemas.openxmlformats.org/officeDocument/2006/relationships/tags" Target="../tags/tag7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customXml" Target="../../customXml/item3.xml"/><Relationship Id="rId6" Type="http://schemas.openxmlformats.org/officeDocument/2006/relationships/slideMaster" Target="../slideMasters/slideMaster1.xml"/><Relationship Id="rId5" Type="http://schemas.openxmlformats.org/officeDocument/2006/relationships/tags" Target="../tags/tag82.xml"/><Relationship Id="rId4" Type="http://schemas.openxmlformats.org/officeDocument/2006/relationships/tags" Target="../tags/tag8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customXml" Target="../../customXml/item31.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customXml" Target="../../customXml/item8.xml"/><Relationship Id="rId6" Type="http://schemas.openxmlformats.org/officeDocument/2006/relationships/slideMaster" Target="../slideMasters/slideMaster1.xml"/><Relationship Id="rId5" Type="http://schemas.openxmlformats.org/officeDocument/2006/relationships/tags" Target="../tags/tag91.xml"/><Relationship Id="rId4" Type="http://schemas.openxmlformats.org/officeDocument/2006/relationships/tags" Target="../tags/tag9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3.xml"/><Relationship Id="rId7" Type="http://schemas.openxmlformats.org/officeDocument/2006/relationships/tags" Target="../tags/tag97.xml"/><Relationship Id="rId2" Type="http://schemas.openxmlformats.org/officeDocument/2006/relationships/tags" Target="../tags/tag92.xml"/><Relationship Id="rId1" Type="http://schemas.openxmlformats.org/officeDocument/2006/relationships/customXml" Target="../../customXml/item50.x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customXml" Target="../../customXml/item29.xml"/><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customXml" Target="../../customXml/item3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0451"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6736" y="3462181"/>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sp>
        <p:nvSpPr>
          <p:cNvPr id="9" name="Textplatzhalter 57343"/>
          <p:cNvSpPr>
            <a:spLocks noGrp="1"/>
          </p:cNvSpPr>
          <p:nvPr>
            <p:ph type="body" sz="quarter" idx="12" hasCustomPrompt="1"/>
          </p:nvPr>
        </p:nvSpPr>
        <p:spPr>
          <a:xfrm>
            <a:off x="626736" y="5907601"/>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6737" y="5907601"/>
            <a:ext cx="2338782" cy="324000"/>
          </a:xfrm>
        </p:spPr>
        <p:txBody>
          <a:bodyPr lIns="216000" tIns="90000" rIns="0" bIns="46800"/>
          <a:lstStyle>
            <a:lvl1pPr algn="l">
              <a:lnSpc>
                <a:spcPct val="100000"/>
              </a:lnSpc>
              <a:defRPr sz="999" b="1"/>
            </a:lvl1pPr>
            <a:lvl2pPr marL="1587" indent="0">
              <a:buNone/>
              <a:defRPr/>
            </a:lvl2pPr>
          </a:lstStyle>
          <a:p>
            <a:pPr lvl="0"/>
            <a:r>
              <a:rPr lang="de-DE" smtClean="0"/>
              <a:t>Please insert Restrictedity note</a:t>
            </a:r>
            <a:endParaRPr lang="de-DE" dirty="0" smtClean="0"/>
          </a:p>
        </p:txBody>
      </p:sp>
      <p:grpSp>
        <p:nvGrpSpPr>
          <p:cNvPr id="2" name="Gruppieren 31"/>
          <p:cNvGrpSpPr/>
          <p:nvPr userDrawn="1"/>
        </p:nvGrpSpPr>
        <p:grpSpPr>
          <a:xfrm>
            <a:off x="-215888" y="-216000"/>
            <a:ext cx="12622226"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0189" y="323850"/>
            <a:ext cx="2157876"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39808499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537046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smtClean="0"/>
              <a:t>Titelmasterformat durch Klicken bearbeiten</a:t>
            </a:r>
            <a:endParaRPr lang="fr-FR" dirty="0"/>
          </a:p>
        </p:txBody>
      </p:sp>
      <p:sp>
        <p:nvSpPr>
          <p:cNvPr id="4" name="Bildplatzhalter 3"/>
          <p:cNvSpPr>
            <a:spLocks noGrp="1"/>
          </p:cNvSpPr>
          <p:nvPr>
            <p:ph type="pic" sz="quarter" idx="10"/>
          </p:nvPr>
        </p:nvSpPr>
        <p:spPr>
          <a:xfrm>
            <a:off x="0" y="1440000"/>
            <a:ext cx="12197647" cy="5418000"/>
          </a:xfrm>
          <a:noFill/>
        </p:spPr>
        <p:txBody>
          <a:bodyPr tIns="1800000"/>
          <a:lstStyle>
            <a:lvl1pPr algn="ctr">
              <a:defRPr/>
            </a:lvl1pPr>
          </a:lstStyle>
          <a:p>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3834886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sp>
        <p:nvSpPr>
          <p:cNvPr id="4" name="Bildplatzhalter 3"/>
          <p:cNvSpPr>
            <a:spLocks noGrp="1"/>
          </p:cNvSpPr>
          <p:nvPr>
            <p:ph type="pic" sz="quarter" idx="10"/>
          </p:nvPr>
        </p:nvSpPr>
        <p:spPr>
          <a:xfrm>
            <a:off x="0" y="0"/>
            <a:ext cx="12190451" cy="6858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1649221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3" name="Gruppieren 6"/>
          <p:cNvGrpSpPr/>
          <p:nvPr userDrawn="1"/>
        </p:nvGrpSpPr>
        <p:grpSpPr>
          <a:xfrm>
            <a:off x="0" y="0"/>
            <a:ext cx="1219200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spTree>
    <p:extLst>
      <p:ext uri="{BB962C8B-B14F-4D97-AF65-F5344CB8AC3E}">
        <p14:creationId xmlns:p14="http://schemas.microsoft.com/office/powerpoint/2010/main" val="84540405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spTree>
    <p:extLst>
      <p:ext uri="{BB962C8B-B14F-4D97-AF65-F5344CB8AC3E}">
        <p14:creationId xmlns:p14="http://schemas.microsoft.com/office/powerpoint/2010/main" val="153510737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large)" type="obj" preserve="1">
  <p:cSld name="1_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11081329" cy="4752000"/>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87177363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8204689" cy="4752000"/>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74469412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6764477"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4797012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4"/>
            </p:custDataLst>
          </p:nvPr>
        </p:nvSpPr>
        <p:spPr>
          <a:xfrm>
            <a:off x="6240388"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5"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441259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smtClean="0"/>
              <a:t>Titelmasterformat durch Klicken bearbeiten</a:t>
            </a:r>
            <a:endParaRPr lang="fr-FR" dirty="0"/>
          </a:p>
        </p:txBody>
      </p:sp>
      <p:sp>
        <p:nvSpPr>
          <p:cNvPr id="3" name="cdtContent Placeholder 2 Id3"/>
          <p:cNvSpPr>
            <a:spLocks noGrp="1"/>
          </p:cNvSpPr>
          <p:nvPr>
            <p:ph sz="half" idx="1"/>
            <p:custDataLst>
              <p:tags r:id="rId1"/>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0387" y="1440000"/>
            <a:ext cx="5469151" cy="2304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0387" y="3888000"/>
            <a:ext cx="5469151" cy="2304000"/>
          </a:xfrm>
        </p:spPr>
        <p:txBody>
          <a:bodyPr tIns="648000"/>
          <a:lstStyle>
            <a:lvl1pPr algn="ctr">
              <a:defRPr/>
            </a:lvl1pPr>
          </a:lstStyle>
          <a:p>
            <a:endParaRPr lang="fr-FR"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7072290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3462181"/>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sp>
        <p:nvSpPr>
          <p:cNvPr id="8" name="Textplatzhalter 57343"/>
          <p:cNvSpPr>
            <a:spLocks noGrp="1"/>
          </p:cNvSpPr>
          <p:nvPr>
            <p:ph type="body" sz="quarter" idx="12" hasCustomPrompt="1"/>
          </p:nvPr>
        </p:nvSpPr>
        <p:spPr>
          <a:xfrm>
            <a:off x="626736" y="5907601"/>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6737" y="5907601"/>
            <a:ext cx="2338782" cy="324000"/>
          </a:xfrm>
        </p:spPr>
        <p:txBody>
          <a:bodyPr lIns="216000" tIns="90000" rIns="0" bIns="46800"/>
          <a:lstStyle>
            <a:lvl1pPr algn="l">
              <a:lnSpc>
                <a:spcPct val="100000"/>
              </a:lnSpc>
              <a:defRPr sz="999" b="1"/>
            </a:lvl1pPr>
            <a:lvl2pPr marL="1587" indent="0">
              <a:buNone/>
              <a:defRPr/>
            </a:lvl2pPr>
          </a:lstStyle>
          <a:p>
            <a:pPr lvl="0"/>
            <a:r>
              <a:rPr lang="de-DE" smtClean="0"/>
              <a:t>Please insert Restrictedity note</a:t>
            </a:r>
            <a:endParaRPr lang="de-DE" dirty="0" smtClean="0"/>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Group 33"/>
          <p:cNvGrpSpPr>
            <a:grpSpLocks noChangeAspect="1"/>
          </p:cNvGrpSpPr>
          <p:nvPr userDrawn="1"/>
        </p:nvGrpSpPr>
        <p:grpSpPr bwMode="auto">
          <a:xfrm>
            <a:off x="9550189" y="323850"/>
            <a:ext cx="2157876"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1385138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Content Placeholder 2 Id3"/>
          <p:cNvSpPr>
            <a:spLocks noGrp="1"/>
          </p:cNvSpPr>
          <p:nvPr>
            <p:ph sz="half" idx="1"/>
            <p:custDataLst>
              <p:tags r:id="rId1"/>
            </p:custDataLst>
          </p:nvPr>
        </p:nvSpPr>
        <p:spPr>
          <a:xfrm>
            <a:off x="626736" y="1440000"/>
            <a:ext cx="5900927"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0387" y="1746000"/>
            <a:ext cx="5469151" cy="1998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0387" y="3888000"/>
            <a:ext cx="5469151" cy="1998000"/>
          </a:xfrm>
        </p:spPr>
        <p:txBody>
          <a:bodyPr tIns="648000"/>
          <a:lstStyle>
            <a:lvl1pPr algn="ctr">
              <a:defRPr/>
            </a:lvl1pPr>
          </a:lstStyle>
          <a:p>
            <a:endParaRPr lang="fr-FR"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070760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8204689"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6736" y="3888000"/>
            <a:ext cx="8204689"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2893502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3598576"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368113" y="1440000"/>
            <a:ext cx="3598126"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8111525" y="1440000"/>
            <a:ext cx="3598126"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6982841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6737"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4"/>
            </p:custDataLst>
          </p:nvPr>
        </p:nvSpPr>
        <p:spPr>
          <a:xfrm>
            <a:off x="6240388"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5"/>
            </p:custDataLst>
          </p:nvPr>
        </p:nvSpPr>
        <p:spPr>
          <a:xfrm>
            <a:off x="626737"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6"/>
            </p:custDataLst>
          </p:nvPr>
        </p:nvSpPr>
        <p:spPr>
          <a:xfrm>
            <a:off x="6240388"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7" name="Group 33"/>
          <p:cNvGrpSpPr>
            <a:grpSpLocks noChangeAspect="1"/>
          </p:cNvGrpSpPr>
          <p:nvPr userDrawn="1"/>
        </p:nvGrpSpPr>
        <p:grpSpPr bwMode="auto">
          <a:xfrm>
            <a:off x="9550189" y="323850"/>
            <a:ext cx="2157876"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1219784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20875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8204689"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3 Id5"/>
          <p:cNvSpPr>
            <a:spLocks noGrp="1"/>
          </p:cNvSpPr>
          <p:nvPr>
            <p:ph type="body" sz="quarter" idx="13" hasCustomPrompt="1"/>
            <p:custDataLst>
              <p:tags r:id="rId4"/>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054670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6764477"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3" hasCustomPrompt="1"/>
            <p:custDataLst>
              <p:tags r:id="rId4"/>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8761231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7" y="1440000"/>
            <a:ext cx="4029901"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1524" y="1440000"/>
            <a:ext cx="4029901"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346022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2590651"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3360651" y="1440000"/>
            <a:ext cx="273535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40389" y="1440000"/>
            <a:ext cx="2591038"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dtTextplatzhalter 13 Id7"/>
          <p:cNvSpPr>
            <a:spLocks noGrp="1"/>
          </p:cNvSpPr>
          <p:nvPr>
            <p:ph type="body" sz="quarter" idx="15" hasCustomPrompt="1"/>
            <p:custDataLst>
              <p:tags r:id="rId6"/>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8014378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6" y="1440000"/>
            <a:ext cx="8204689"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6736" y="3888000"/>
            <a:ext cx="8204689"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6111139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0451"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6736" y="3891286"/>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1"/>
          <p:cNvGrpSpPr/>
          <p:nvPr userDrawn="1"/>
        </p:nvGrpSpPr>
        <p:grpSpPr>
          <a:xfrm>
            <a:off x="-215888" y="-216000"/>
            <a:ext cx="12622226"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0189" y="323850"/>
            <a:ext cx="2157876"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9498920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6737" y="1440000"/>
            <a:ext cx="4029901"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1523" y="1440000"/>
            <a:ext cx="4029901"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6737" y="3888000"/>
            <a:ext cx="4029901"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cdtContent Placeholder 14 Id15"/>
          <p:cNvSpPr>
            <a:spLocks noGrp="1"/>
          </p:cNvSpPr>
          <p:nvPr>
            <p:ph sz="quarter" idx="15"/>
            <p:custDataLst>
              <p:tags r:id="rId6"/>
            </p:custDataLst>
          </p:nvPr>
        </p:nvSpPr>
        <p:spPr>
          <a:xfrm>
            <a:off x="4801524" y="3888000"/>
            <a:ext cx="4029901"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dtTextplatzhalter 13 Id10"/>
          <p:cNvSpPr>
            <a:spLocks noGrp="1"/>
          </p:cNvSpPr>
          <p:nvPr>
            <p:ph type="body" sz="quarter" idx="16" hasCustomPrompt="1"/>
            <p:custDataLst>
              <p:tags r:id="rId7"/>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3126230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6571" y="1440000"/>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40000"/>
            <a:ext cx="4512050" cy="4752000"/>
          </a:xfrm>
        </p:spPr>
        <p:txBody>
          <a:bodyPr tIns="1800000"/>
          <a:lstStyle>
            <a:lvl1pPr algn="ctr">
              <a:defRPr/>
            </a:lvl1pPr>
          </a:lstStyle>
          <a:p>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40842336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324" name="think-cell Slide" r:id="rId4" imgW="216" imgH="216" progId="">
                  <p:embed/>
                </p:oleObj>
              </mc:Choice>
              <mc:Fallback>
                <p:oleObj name="think-cell Slide" r:id="rId4" imgW="216" imgH="21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smtClean="0"/>
              <a:t>Action title</a:t>
            </a:r>
            <a:endParaRPr lang="en-US" dirty="0"/>
          </a:p>
        </p:txBody>
      </p:sp>
      <p:sp>
        <p:nvSpPr>
          <p:cNvPr id="6" name="Text Placeholder 7"/>
          <p:cNvSpPr>
            <a:spLocks noGrp="1"/>
          </p:cNvSpPr>
          <p:nvPr>
            <p:ph type="body" sz="quarter" idx="10" hasCustomPrompt="1"/>
          </p:nvPr>
        </p:nvSpPr>
        <p:spPr>
          <a:xfrm>
            <a:off x="626738" y="1412548"/>
            <a:ext cx="11082915" cy="215394"/>
          </a:xfrm>
        </p:spPr>
        <p:txBody>
          <a:bodyPr/>
          <a:lstStyle>
            <a:lvl1pPr marL="0" indent="0">
              <a:defRPr/>
            </a:lvl1pPr>
            <a:lvl2pPr marL="155481" indent="-155481">
              <a:defRPr/>
            </a:lvl2pPr>
            <a:lvl3pPr marL="310962" indent="-155481">
              <a:defRPr/>
            </a:lvl3pPr>
            <a:lvl4pPr marL="466446" indent="-155481">
              <a:defRPr/>
            </a:lvl4pPr>
            <a:lvl5pPr marL="621927" indent="-155481">
              <a:defRPr/>
            </a:lvl5pPr>
          </a:lstStyle>
          <a:p>
            <a:pPr lvl="0"/>
            <a:r>
              <a:rPr lang="en-US" dirty="0" smtClean="0"/>
              <a:t>Subtitle</a:t>
            </a:r>
            <a:endParaRPr lang="en-US" dirty="0"/>
          </a:p>
        </p:txBody>
      </p:sp>
    </p:spTree>
    <p:extLst>
      <p:ext uri="{BB962C8B-B14F-4D97-AF65-F5344CB8AC3E}">
        <p14:creationId xmlns:p14="http://schemas.microsoft.com/office/powerpoint/2010/main" val="172417116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038607" y="6356351"/>
            <a:ext cx="4114800" cy="365125"/>
          </a:xfrm>
          <a:prstGeom prst="rect">
            <a:avLst/>
          </a:prstGeom>
        </p:spPr>
        <p:txBody>
          <a:bodyPr lIns="91404" tIns="45700" rIns="91404" bIns="45700"/>
          <a:lstStyle/>
          <a:p>
            <a:pPr fontAlgn="base">
              <a:spcBef>
                <a:spcPct val="50000"/>
              </a:spcBef>
              <a:spcAft>
                <a:spcPct val="0"/>
              </a:spcAft>
            </a:pPr>
            <a:endParaRPr lang="en-US">
              <a:solidFill>
                <a:srgbClr val="28282C">
                  <a:tint val="75000"/>
                </a:srgbClr>
              </a:solidFill>
              <a:ea typeface="ＭＳ Ｐゴシック" charset="-128"/>
            </a:endParaRPr>
          </a:p>
        </p:txBody>
      </p:sp>
      <p:sp>
        <p:nvSpPr>
          <p:cNvPr id="4" name="Slide Number Placeholder 3"/>
          <p:cNvSpPr>
            <a:spLocks noGrp="1"/>
          </p:cNvSpPr>
          <p:nvPr>
            <p:ph type="sldNum" sz="quarter" idx="12"/>
          </p:nvPr>
        </p:nvSpPr>
        <p:spPr>
          <a:xfrm>
            <a:off x="8610607" y="6356351"/>
            <a:ext cx="2743200" cy="365125"/>
          </a:xfrm>
          <a:prstGeom prst="rect">
            <a:avLst/>
          </a:prstGeom>
        </p:spPr>
        <p:txBody>
          <a:bodyPr lIns="91404" tIns="45700" rIns="91404" bIns="45700"/>
          <a:lstStyle/>
          <a:p>
            <a:pPr fontAlgn="base">
              <a:spcBef>
                <a:spcPct val="50000"/>
              </a:spcBef>
              <a:spcAft>
                <a:spcPct val="0"/>
              </a:spcAft>
            </a:pPr>
            <a:fld id="{C3F7C3F1-8798-664E-B230-45539AB09B38}" type="slidenum">
              <a:rPr lang="en-US">
                <a:solidFill>
                  <a:srgbClr val="28282C">
                    <a:tint val="75000"/>
                  </a:srgbClr>
                </a:solidFill>
                <a:ea typeface="ＭＳ Ｐゴシック" charset="-128"/>
              </a:rPr>
              <a:pPr fontAlgn="base">
                <a:spcBef>
                  <a:spcPct val="50000"/>
                </a:spcBef>
                <a:spcAft>
                  <a:spcPct val="0"/>
                </a:spcAft>
              </a:pPr>
              <a:t>‹#›</a:t>
            </a:fld>
            <a:endParaRPr lang="en-US">
              <a:solidFill>
                <a:srgbClr val="28282C">
                  <a:tint val="75000"/>
                </a:srgbClr>
              </a:solidFill>
              <a:ea typeface="ＭＳ Ｐゴシック" charset="-128"/>
            </a:endParaRPr>
          </a:p>
        </p:txBody>
      </p:sp>
    </p:spTree>
    <p:extLst>
      <p:ext uri="{BB962C8B-B14F-4D97-AF65-F5344CB8AC3E}">
        <p14:creationId xmlns:p14="http://schemas.microsoft.com/office/powerpoint/2010/main" val="29450108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grpSp>
        <p:nvGrpSpPr>
          <p:cNvPr id="5"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96837548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3891600"/>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843722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6736" y="3891600"/>
            <a:ext cx="6476627"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355684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6736" y="3891600"/>
            <a:ext cx="6476627"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278940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smtClean="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6571" y="1439999"/>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39999"/>
            <a:ext cx="4512050" cy="4752000"/>
          </a:xfrm>
        </p:spPr>
        <p:txBody>
          <a:bodyPr tIns="1800000"/>
          <a:lstStyle>
            <a:lvl1pPr algn="ctr">
              <a:defRPr/>
            </a:lvl1pPr>
          </a:lstStyle>
          <a:p>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7733175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lvl1pPr>
              <a:defRPr/>
            </a:lvl1pPr>
          </a:lstStyle>
          <a:p>
            <a:r>
              <a:rPr lang="de-DE" dirty="0" smtClean="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6737" y="1440000"/>
            <a:ext cx="388589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4"/>
            </p:custDataLst>
          </p:nvPr>
        </p:nvSpPr>
        <p:spPr bwMode="auto">
          <a:xfrm>
            <a:off x="4656571" y="1440000"/>
            <a:ext cx="7535430"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724795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5603749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6.xml"/><Relationship Id="rId47" Type="http://schemas.openxmlformats.org/officeDocument/2006/relationships/tags" Target="../tags/tag11.xml"/><Relationship Id="rId50" Type="http://schemas.openxmlformats.org/officeDocument/2006/relationships/tags" Target="../tags/tag14.xml"/><Relationship Id="rId55" Type="http://schemas.openxmlformats.org/officeDocument/2006/relationships/tags" Target="../tags/tag19.xml"/><Relationship Id="rId63" Type="http://schemas.openxmlformats.org/officeDocument/2006/relationships/tags" Target="../tags/tag27.xml"/><Relationship Id="rId68"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40" Type="http://schemas.openxmlformats.org/officeDocument/2006/relationships/tags" Target="../tags/tag4.xml"/><Relationship Id="rId45" Type="http://schemas.openxmlformats.org/officeDocument/2006/relationships/tags" Target="../tags/tag9.xml"/><Relationship Id="rId53" Type="http://schemas.openxmlformats.org/officeDocument/2006/relationships/tags" Target="../tags/tag17.xml"/><Relationship Id="rId58" Type="http://schemas.openxmlformats.org/officeDocument/2006/relationships/tags" Target="../tags/tag22.xml"/><Relationship Id="rId66" Type="http://schemas.openxmlformats.org/officeDocument/2006/relationships/tags" Target="../tags/tag3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49" Type="http://schemas.openxmlformats.org/officeDocument/2006/relationships/tags" Target="../tags/tag13.xml"/><Relationship Id="rId57" Type="http://schemas.openxmlformats.org/officeDocument/2006/relationships/tags" Target="../tags/tag21.xml"/><Relationship Id="rId61" Type="http://schemas.openxmlformats.org/officeDocument/2006/relationships/tags" Target="../tags/tag2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8.xml"/><Relationship Id="rId52" Type="http://schemas.openxmlformats.org/officeDocument/2006/relationships/tags" Target="../tags/tag16.xml"/><Relationship Id="rId60" Type="http://schemas.openxmlformats.org/officeDocument/2006/relationships/tags" Target="../tags/tag24.xml"/><Relationship Id="rId65" Type="http://schemas.openxmlformats.org/officeDocument/2006/relationships/tags" Target="../tags/tag2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43" Type="http://schemas.openxmlformats.org/officeDocument/2006/relationships/tags" Target="../tags/tag7.xml"/><Relationship Id="rId48" Type="http://schemas.openxmlformats.org/officeDocument/2006/relationships/tags" Target="../tags/tag12.xml"/><Relationship Id="rId56" Type="http://schemas.openxmlformats.org/officeDocument/2006/relationships/tags" Target="../tags/tag20.xml"/><Relationship Id="rId64" Type="http://schemas.openxmlformats.org/officeDocument/2006/relationships/tags" Target="../tags/tag28.xml"/><Relationship Id="rId8" Type="http://schemas.openxmlformats.org/officeDocument/2006/relationships/slideLayout" Target="../slideLayouts/slideLayout8.xml"/><Relationship Id="rId51" Type="http://schemas.openxmlformats.org/officeDocument/2006/relationships/tags" Target="../tags/tag1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46" Type="http://schemas.openxmlformats.org/officeDocument/2006/relationships/tags" Target="../tags/tag10.xml"/><Relationship Id="rId59" Type="http://schemas.openxmlformats.org/officeDocument/2006/relationships/tags" Target="../tags/tag23.xml"/><Relationship Id="rId67"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5.xml"/><Relationship Id="rId54" Type="http://schemas.openxmlformats.org/officeDocument/2006/relationships/tags" Target="../tags/tag18.xml"/><Relationship Id="rId62"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37"/>
            </p:custDataLst>
          </p:nvPr>
        </p:nvGraphicFramePr>
        <p:xfrm>
          <a:off x="1587" y="1588"/>
          <a:ext cx="1586" cy="1587"/>
        </p:xfrm>
        <a:graphic>
          <a:graphicData uri="http://schemas.openxmlformats.org/presentationml/2006/ole">
            <mc:AlternateContent xmlns:mc="http://schemas.openxmlformats.org/markup-compatibility/2006">
              <mc:Choice xmlns:v="urn:schemas-microsoft-com:vml" Requires="v">
                <p:oleObj spid="_x0000_s1300" name="think-cell Slide" r:id="rId67" imgW="360" imgH="360" progId="">
                  <p:embed/>
                </p:oleObj>
              </mc:Choice>
              <mc:Fallback>
                <p:oleObj name="think-cell Slide" r:id="rId67" imgW="360" imgH="360" progId="">
                  <p:embed/>
                  <p:pic>
                    <p:nvPicPr>
                      <p:cNvPr id="0" name=""/>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7"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8"/>
            </p:custDataLst>
          </p:nvPr>
        </p:nvSpPr>
        <p:spPr bwMode="auto">
          <a:xfrm>
            <a:off x="0" y="-1"/>
            <a:ext cx="1219200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39"/>
            </p:custDataLst>
          </p:nvPr>
        </p:nvSpPr>
        <p:spPr bwMode="auto">
          <a:xfrm>
            <a:off x="626736" y="1441451"/>
            <a:ext cx="8204689"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3072" name="cdtMasterTags_CL1 Id3072"/>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userDrawn="1">
            <p:custDataLst>
              <p:tags r:id="rId63"/>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pPr fontAlgn="base">
              <a:spcBef>
                <a:spcPct val="50000"/>
              </a:spcBef>
              <a:spcAft>
                <a:spcPct val="0"/>
              </a:spcAft>
            </a:pPr>
            <a:r>
              <a:rPr lang="de-DE" sz="999" b="1" dirty="0" err="1" smtClean="0">
                <a:solidFill>
                  <a:srgbClr val="879BAA"/>
                </a:solidFill>
                <a:ea typeface="ＭＳ Ｐゴシック" charset="-128"/>
              </a:rPr>
              <a:t>Restricted</a:t>
            </a:r>
            <a:r>
              <a:rPr lang="de-DE" sz="999" b="1" dirty="0" smtClean="0">
                <a:solidFill>
                  <a:srgbClr val="879BAA"/>
                </a:solidFill>
                <a:ea typeface="ＭＳ Ｐゴシック" charset="-128"/>
              </a:rPr>
              <a:t> © Siemens</a:t>
            </a:r>
            <a:endParaRPr lang="de-DE" sz="999" b="1" dirty="0">
              <a:solidFill>
                <a:srgbClr val="879BAA"/>
              </a:solidFill>
              <a:ea typeface="ＭＳ Ｐゴシック" charset="-128"/>
            </a:endParaRPr>
          </a:p>
        </p:txBody>
      </p:sp>
      <p:sp>
        <p:nvSpPr>
          <p:cNvPr id="64" name="cdtTextBox 12 Id17"/>
          <p:cNvSpPr txBox="1"/>
          <p:nvPr userDrawn="1">
            <p:custDataLst>
              <p:tags r:id="rId64"/>
            </p:custDataLst>
          </p:nvPr>
        </p:nvSpPr>
        <p:spPr>
          <a:xfrm>
            <a:off x="0" y="6597650"/>
            <a:ext cx="3930183" cy="260350"/>
          </a:xfrm>
          <a:prstGeom prst="rect">
            <a:avLst/>
          </a:prstGeom>
          <a:noFill/>
        </p:spPr>
        <p:txBody>
          <a:bodyPr wrap="square" lIns="1907007" tIns="0" rIns="0" bIns="115140" rtlCol="0">
            <a:noAutofit/>
          </a:bodyPr>
          <a:lstStyle/>
          <a:p>
            <a:pPr fontAlgn="base">
              <a:lnSpc>
                <a:spcPct val="110000"/>
              </a:lnSpc>
              <a:spcAft>
                <a:spcPct val="0"/>
              </a:spcAft>
            </a:pPr>
            <a:endParaRPr lang="de-DE" sz="999" dirty="0">
              <a:solidFill>
                <a:srgbClr val="000000"/>
              </a:solidFill>
              <a:ea typeface="ＭＳ Ｐゴシック" charset="-128"/>
            </a:endParaRPr>
          </a:p>
        </p:txBody>
      </p:sp>
      <p:sp>
        <p:nvSpPr>
          <p:cNvPr id="65" name="cdtTextBox 11 Id18"/>
          <p:cNvSpPr txBox="1"/>
          <p:nvPr userDrawn="1">
            <p:custDataLst>
              <p:tags r:id="rId65"/>
            </p:custDataLst>
          </p:nvPr>
        </p:nvSpPr>
        <p:spPr>
          <a:xfrm>
            <a:off x="0" y="6597650"/>
            <a:ext cx="3642993" cy="296350"/>
          </a:xfrm>
          <a:prstGeom prst="rect">
            <a:avLst/>
          </a:prstGeom>
          <a:noFill/>
        </p:spPr>
        <p:txBody>
          <a:bodyPr wrap="square" lIns="626074" tIns="0" rIns="0" bIns="115140" rtlCol="0" anchor="t" anchorCtr="0">
            <a:noAutofit/>
          </a:bodyPr>
          <a:lstStyle/>
          <a:p>
            <a:pPr fontAlgn="base">
              <a:lnSpc>
                <a:spcPct val="110000"/>
              </a:lnSpc>
              <a:spcAft>
                <a:spcPct val="0"/>
              </a:spcAft>
            </a:pPr>
            <a:r>
              <a:rPr lang="de-DE" sz="999" dirty="0">
                <a:solidFill>
                  <a:srgbClr val="000000"/>
                </a:solidFill>
                <a:ea typeface="ＭＳ Ｐゴシック" charset="-128"/>
              </a:rPr>
              <a:t>Page </a:t>
            </a:r>
            <a:fld id="{91E7552C-A157-4A4F-8E99-698C0325FC94}" type="slidenum">
              <a:rPr lang="de-DE" sz="999" smtClean="0">
                <a:solidFill>
                  <a:srgbClr val="000000"/>
                </a:solidFill>
                <a:ea typeface="ＭＳ Ｐゴシック" charset="-128"/>
              </a:rPr>
              <a:pPr fontAlgn="base">
                <a:lnSpc>
                  <a:spcPct val="110000"/>
                </a:lnSpc>
                <a:spcAft>
                  <a:spcPct val="0"/>
                </a:spcAft>
              </a:pPr>
              <a:t>‹#›</a:t>
            </a:fld>
            <a:r>
              <a:rPr lang="de-DE" sz="999" dirty="0" smtClean="0">
                <a:solidFill>
                  <a:srgbClr val="000000"/>
                </a:solidFill>
                <a:ea typeface="ＭＳ Ｐゴシック" charset="-128"/>
              </a:rPr>
              <a:t>		 MindSphere</a:t>
            </a:r>
            <a:r>
              <a:rPr lang="de-DE" sz="999" baseline="0" dirty="0" smtClean="0">
                <a:solidFill>
                  <a:srgbClr val="000000"/>
                </a:solidFill>
                <a:ea typeface="ＭＳ Ｐゴシック" charset="-128"/>
              </a:rPr>
              <a:t> 3.0</a:t>
            </a:r>
            <a:endParaRPr lang="de-DE" sz="999" dirty="0">
              <a:solidFill>
                <a:srgbClr val="000000"/>
              </a:solidFill>
              <a:ea typeface="ＭＳ Ｐゴシック" charset="-128"/>
            </a:endParaRPr>
          </a:p>
        </p:txBody>
      </p:sp>
      <p:sp>
        <p:nvSpPr>
          <p:cNvPr id="66" name="cdtTextBox 13 Id19"/>
          <p:cNvSpPr txBox="1"/>
          <p:nvPr userDrawn="1">
            <p:custDataLst>
              <p:tags r:id="rId66"/>
            </p:custDataLst>
          </p:nvPr>
        </p:nvSpPr>
        <p:spPr>
          <a:xfrm>
            <a:off x="3785793" y="6597650"/>
            <a:ext cx="8406206" cy="260350"/>
          </a:xfrm>
          <a:prstGeom prst="rect">
            <a:avLst/>
          </a:prstGeom>
          <a:noFill/>
        </p:spPr>
        <p:txBody>
          <a:bodyPr wrap="square" lIns="0" tIns="0" rIns="482149" bIns="115140" rtlCol="0">
            <a:noAutofit/>
          </a:bodyPr>
          <a:lstStyle/>
          <a:p>
            <a:pPr algn="r" fontAlgn="base">
              <a:lnSpc>
                <a:spcPct val="110000"/>
              </a:lnSpc>
              <a:spcAft>
                <a:spcPct val="0"/>
              </a:spcAft>
              <a:defRPr/>
            </a:pPr>
            <a:r>
              <a:rPr lang="de-DE" sz="999" dirty="0" smtClean="0">
                <a:solidFill>
                  <a:srgbClr val="000000"/>
                </a:solidFill>
                <a:ea typeface="ＭＳ Ｐゴシック" charset="-128"/>
              </a:rPr>
              <a:t>MindSphere</a:t>
            </a:r>
            <a:r>
              <a:rPr lang="de-DE" sz="999" baseline="0" dirty="0" smtClean="0">
                <a:solidFill>
                  <a:srgbClr val="000000"/>
                </a:solidFill>
                <a:ea typeface="ＭＳ Ｐゴシック" charset="-128"/>
              </a:rPr>
              <a:t> Academy</a:t>
            </a:r>
            <a:endParaRPr lang="de-DE" sz="999" dirty="0">
              <a:solidFill>
                <a:srgbClr val="000000"/>
              </a:solidFill>
              <a:ea typeface="ＭＳ Ｐゴシック" charset="-128"/>
            </a:endParaRPr>
          </a:p>
        </p:txBody>
      </p:sp>
      <p:grpSp>
        <p:nvGrpSpPr>
          <p:cNvPr id="2" name="Gruppieren 66"/>
          <p:cNvGrpSpPr/>
          <p:nvPr userDrawn="1"/>
        </p:nvGrpSpPr>
        <p:grpSpPr>
          <a:xfrm>
            <a:off x="-215888" y="-216000"/>
            <a:ext cx="12622226"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9928023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93"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4" r:id="rId34"/>
  </p:sldLayoutIdLst>
  <p:timing>
    <p:tnLst>
      <p:par>
        <p:cTn id="1" dur="indefinite" restart="never" nodeType="tmRoot"/>
      </p:par>
    </p:tnLst>
  </p:timing>
  <p:hf hdr="0"/>
  <p:txStyles>
    <p:titleStyle>
      <a:lvl1pPr algn="l" rtl="0" fontAlgn="base">
        <a:spcBef>
          <a:spcPct val="0"/>
        </a:spcBef>
        <a:spcAft>
          <a:spcPct val="0"/>
        </a:spcAft>
        <a:defRPr sz="2199" b="1">
          <a:solidFill>
            <a:srgbClr val="00646E"/>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0.xml"/><Relationship Id="rId7" Type="http://schemas.openxmlformats.org/officeDocument/2006/relationships/image" Target="../media/image18.png"/><Relationship Id="rId2" Type="http://schemas.openxmlformats.org/officeDocument/2006/relationships/slideLayout" Target="../slideLayouts/slideLayout9.xml"/><Relationship Id="rId1" Type="http://schemas.openxmlformats.org/officeDocument/2006/relationships/tags" Target="../tags/tag103.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7.emf"/><Relationship Id="rId2" Type="http://schemas.openxmlformats.org/officeDocument/2006/relationships/slideLayout" Target="../slideLayouts/slideLayout9.xml"/><Relationship Id="rId1" Type="http://schemas.openxmlformats.org/officeDocument/2006/relationships/tags" Target="../tags/tag104.xml"/><Relationship Id="rId6" Type="http://schemas.openxmlformats.org/officeDocument/2006/relationships/image" Target="../media/image20.emf"/><Relationship Id="rId5" Type="http://schemas.openxmlformats.org/officeDocument/2006/relationships/image" Target="../media/image16.emf"/><Relationship Id="rId4" Type="http://schemas.openxmlformats.org/officeDocument/2006/relationships/image" Target="../media/image15.emf"/></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07.xml"/><Relationship Id="rId7" Type="http://schemas.openxmlformats.org/officeDocument/2006/relationships/image" Target="../media/image21.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notesSlide" Target="../notesSlides/notesSlide12.xml"/><Relationship Id="rId11" Type="http://schemas.openxmlformats.org/officeDocument/2006/relationships/image" Target="../media/image24.png"/><Relationship Id="rId5" Type="http://schemas.openxmlformats.org/officeDocument/2006/relationships/slideLayout" Target="../slideLayouts/slideLayout9.xml"/><Relationship Id="rId10" Type="http://schemas.microsoft.com/office/2007/relationships/hdphoto" Target="../media/hdphoto1.wdp"/><Relationship Id="rId4" Type="http://schemas.openxmlformats.org/officeDocument/2006/relationships/tags" Target="../tags/tag108.xml"/><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11.xml"/><Relationship Id="rId7" Type="http://schemas.openxmlformats.org/officeDocument/2006/relationships/image" Target="../media/image21.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notesSlide" Target="../notesSlides/notesSlide13.xml"/><Relationship Id="rId11" Type="http://schemas.openxmlformats.org/officeDocument/2006/relationships/image" Target="../media/image25.tiff"/><Relationship Id="rId5" Type="http://schemas.openxmlformats.org/officeDocument/2006/relationships/slideLayout" Target="../slideLayouts/slideLayout9.xml"/><Relationship Id="rId10" Type="http://schemas.microsoft.com/office/2007/relationships/hdphoto" Target="../media/hdphoto1.wdp"/><Relationship Id="rId4" Type="http://schemas.openxmlformats.org/officeDocument/2006/relationships/tags" Target="../tags/tag112.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image" Target="../media/image26.jpeg"/><Relationship Id="rId18" Type="http://schemas.openxmlformats.org/officeDocument/2006/relationships/image" Target="../media/image31.png"/><Relationship Id="rId3" Type="http://schemas.openxmlformats.org/officeDocument/2006/relationships/tags" Target="../tags/tag115.xml"/><Relationship Id="rId21" Type="http://schemas.openxmlformats.org/officeDocument/2006/relationships/image" Target="../media/image34.png"/><Relationship Id="rId7" Type="http://schemas.openxmlformats.org/officeDocument/2006/relationships/tags" Target="../tags/tag119.xml"/><Relationship Id="rId12" Type="http://schemas.openxmlformats.org/officeDocument/2006/relationships/image" Target="../media/image16.emf"/><Relationship Id="rId17" Type="http://schemas.openxmlformats.org/officeDocument/2006/relationships/image" Target="../media/image30.png"/><Relationship Id="rId2" Type="http://schemas.openxmlformats.org/officeDocument/2006/relationships/tags" Target="../tags/tag114.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image" Target="../media/image15.emf"/><Relationship Id="rId5" Type="http://schemas.openxmlformats.org/officeDocument/2006/relationships/tags" Target="../tags/tag117.xml"/><Relationship Id="rId15" Type="http://schemas.openxmlformats.org/officeDocument/2006/relationships/image" Target="../media/image28.png"/><Relationship Id="rId10" Type="http://schemas.openxmlformats.org/officeDocument/2006/relationships/notesSlide" Target="../notesSlides/notesSlide14.xml"/><Relationship Id="rId19" Type="http://schemas.openxmlformats.org/officeDocument/2006/relationships/image" Target="../media/image32.png"/><Relationship Id="rId4" Type="http://schemas.openxmlformats.org/officeDocument/2006/relationships/tags" Target="../tags/tag116.xml"/><Relationship Id="rId9" Type="http://schemas.openxmlformats.org/officeDocument/2006/relationships/slideLayout" Target="../slideLayouts/slideLayout9.xml"/><Relationship Id="rId14" Type="http://schemas.openxmlformats.org/officeDocument/2006/relationships/image" Target="../media/image27.png"/><Relationship Id="rId22" Type="http://schemas.microsoft.com/office/2007/relationships/hdphoto" Target="../media/hdphoto2.wdp"/></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23.xml"/><Relationship Id="rId7" Type="http://schemas.openxmlformats.org/officeDocument/2006/relationships/image" Target="../media/image21.emf"/><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35.png"/><Relationship Id="rId5" Type="http://schemas.openxmlformats.org/officeDocument/2006/relationships/notesSlide" Target="../notesSlides/notesSlide15.xml"/><Relationship Id="rId10" Type="http://schemas.microsoft.com/office/2007/relationships/hdphoto" Target="../media/hdphoto1.wdp"/><Relationship Id="rId4" Type="http://schemas.openxmlformats.org/officeDocument/2006/relationships/slideLayout" Target="../slideLayouts/slideLayout9.xml"/><Relationship Id="rId9"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126.xml"/><Relationship Id="rId7" Type="http://schemas.openxmlformats.org/officeDocument/2006/relationships/image" Target="../media/image28.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32.png"/><Relationship Id="rId5" Type="http://schemas.openxmlformats.org/officeDocument/2006/relationships/notesSlide" Target="../notesSlides/notesSlide16.xml"/><Relationship Id="rId4"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29.xml"/><Relationship Id="rId7" Type="http://schemas.openxmlformats.org/officeDocument/2006/relationships/image" Target="../media/image21.emf"/><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36.png"/><Relationship Id="rId5" Type="http://schemas.openxmlformats.org/officeDocument/2006/relationships/notesSlide" Target="../notesSlides/notesSlide17.xml"/><Relationship Id="rId10" Type="http://schemas.microsoft.com/office/2007/relationships/hdphoto" Target="../media/hdphoto1.wdp"/><Relationship Id="rId4" Type="http://schemas.openxmlformats.org/officeDocument/2006/relationships/slideLayout" Target="../slideLayouts/slideLayout9.xml"/><Relationship Id="rId9" Type="http://schemas.openxmlformats.org/officeDocument/2006/relationships/image" Target="../media/image23.png"/></Relationships>
</file>

<file path=ppt/slides/_rels/slide1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31.xml"/><Relationship Id="rId7" Type="http://schemas.openxmlformats.org/officeDocument/2006/relationships/image" Target="../media/image12.emf"/><Relationship Id="rId2" Type="http://schemas.openxmlformats.org/officeDocument/2006/relationships/tags" Target="../tags/tag13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8.xml"/><Relationship Id="rId4"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33.xml"/><Relationship Id="rId7" Type="http://schemas.openxmlformats.org/officeDocument/2006/relationships/image" Target="../media/image12.emf"/><Relationship Id="rId2" Type="http://schemas.openxmlformats.org/officeDocument/2006/relationships/tags" Target="../tags/tag13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9.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notesSlide" Target="../notesSlides/notesSlide20.xml"/><Relationship Id="rId7" Type="http://schemas.openxmlformats.org/officeDocument/2006/relationships/image" Target="../media/image42.png"/><Relationship Id="rId2" Type="http://schemas.openxmlformats.org/officeDocument/2006/relationships/slideLayout" Target="../slideLayouts/slideLayout9.xml"/><Relationship Id="rId1" Type="http://schemas.openxmlformats.org/officeDocument/2006/relationships/tags" Target="../tags/tag134.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jpeg"/><Relationship Id="rId9" Type="http://schemas.openxmlformats.org/officeDocument/2006/relationships/image" Target="../media/image44.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6.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33.xml"/><Relationship Id="rId4" Type="http://schemas.openxmlformats.org/officeDocument/2006/relationships/image" Target="../media/image6.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100.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9.xml"/><Relationship Id="rId5" Type="http://schemas.openxmlformats.org/officeDocument/2006/relationships/image" Target="../media/image53.png"/><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15.xml"/><Relationship Id="rId7" Type="http://schemas.openxmlformats.org/officeDocument/2006/relationships/image" Target="../media/image55.png"/><Relationship Id="rId2" Type="http://schemas.openxmlformats.org/officeDocument/2006/relationships/tags" Target="../tags/tag136.xml"/><Relationship Id="rId1" Type="http://schemas.openxmlformats.org/officeDocument/2006/relationships/tags" Target="../tags/tag135.xml"/><Relationship Id="rId6" Type="http://schemas.microsoft.com/office/2007/relationships/hdphoto" Target="../media/hdphoto3.wdp"/><Relationship Id="rId5" Type="http://schemas.openxmlformats.org/officeDocument/2006/relationships/image" Target="../media/image54.png"/><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1.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15.xml"/><Relationship Id="rId7" Type="http://schemas.openxmlformats.org/officeDocument/2006/relationships/image" Target="../media/image55.png"/><Relationship Id="rId2" Type="http://schemas.openxmlformats.org/officeDocument/2006/relationships/tags" Target="../tags/tag138.xml"/><Relationship Id="rId1" Type="http://schemas.openxmlformats.org/officeDocument/2006/relationships/tags" Target="../tags/tag137.xml"/><Relationship Id="rId6" Type="http://schemas.microsoft.com/office/2007/relationships/hdphoto" Target="../media/hdphoto3.wdp"/><Relationship Id="rId5" Type="http://schemas.openxmlformats.org/officeDocument/2006/relationships/image" Target="../media/image54.png"/><Relationship Id="rId4"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8.xml"/><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gif"/><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9.xml"/><Relationship Id="rId4" Type="http://schemas.openxmlformats.org/officeDocument/2006/relationships/image" Target="../media/image63.png"/></Relationships>
</file>

<file path=ppt/slides/_rels/slide4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9.xml"/><Relationship Id="rId5" Type="http://schemas.openxmlformats.org/officeDocument/2006/relationships/image" Target="../media/image64.png"/><Relationship Id="rId4" Type="http://schemas.microsoft.com/office/2007/relationships/hdphoto" Target="../media/hdphoto3.wdp"/></Relationships>
</file>

<file path=ppt/slides/_rels/slide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1.xml"/><Relationship Id="rId1" Type="http://schemas.openxmlformats.org/officeDocument/2006/relationships/slideLayout" Target="../slideLayouts/slideLayout9.xml"/><Relationship Id="rId5" Type="http://schemas.openxmlformats.org/officeDocument/2006/relationships/image" Target="../media/image64.png"/><Relationship Id="rId4" Type="http://schemas.microsoft.com/office/2007/relationships/hdphoto" Target="../media/hdphoto3.wd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5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47.xml"/><Relationship Id="rId1" Type="http://schemas.openxmlformats.org/officeDocument/2006/relationships/slideLayout" Target="../slideLayouts/slideLayout9.xml"/><Relationship Id="rId4" Type="http://schemas.openxmlformats.org/officeDocument/2006/relationships/image" Target="../media/image68.png"/></Relationships>
</file>

<file path=ppt/slides/_rels/slide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8.xml"/><Relationship Id="rId1" Type="http://schemas.openxmlformats.org/officeDocument/2006/relationships/slideLayout" Target="../slideLayouts/slideLayout9.xml"/><Relationship Id="rId4" Type="http://schemas.openxmlformats.org/officeDocument/2006/relationships/image" Target="../media/image70.png"/></Relationships>
</file>

<file path=ppt/slides/_rels/slide55.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png"/><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50.xml"/><Relationship Id="rId1" Type="http://schemas.openxmlformats.org/officeDocument/2006/relationships/slideLayout" Target="../slideLayouts/slideLayout9.xml"/><Relationship Id="rId4" Type="http://schemas.openxmlformats.org/officeDocument/2006/relationships/image" Target="../media/image74.jpeg"/></Relationships>
</file>

<file path=ppt/slides/_rels/slide5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2.xml"/><Relationship Id="rId1" Type="http://schemas.openxmlformats.org/officeDocument/2006/relationships/slideLayout" Target="../slideLayouts/slideLayout9.xml"/><Relationship Id="rId5" Type="http://schemas.openxmlformats.org/officeDocument/2006/relationships/image" Target="../media/image64.png"/><Relationship Id="rId4" Type="http://schemas.microsoft.com/office/2007/relationships/hdphoto" Target="../media/hdphoto3.wdp"/></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4.xml"/></Relationships>
</file>

<file path=ppt/slides/_rels/slide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4.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4.xml"/></Relationships>
</file>

<file path=ppt/slides/_rels/slide6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41.xml"/><Relationship Id="rId7" Type="http://schemas.openxmlformats.org/officeDocument/2006/relationships/image" Target="../media/image21.emf"/><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35.png"/><Relationship Id="rId11" Type="http://schemas.openxmlformats.org/officeDocument/2006/relationships/comments" Target="../comments/comment1.xml"/><Relationship Id="rId5" Type="http://schemas.openxmlformats.org/officeDocument/2006/relationships/notesSlide" Target="../notesSlides/notesSlide56.xml"/><Relationship Id="rId10" Type="http://schemas.microsoft.com/office/2007/relationships/hdphoto" Target="../media/hdphoto1.wdp"/><Relationship Id="rId4" Type="http://schemas.openxmlformats.org/officeDocument/2006/relationships/slideLayout" Target="../slideLayouts/slideLayout9.xml"/><Relationship Id="rId9" Type="http://schemas.openxmlformats.org/officeDocument/2006/relationships/image" Target="../media/image23.png"/></Relationships>
</file>

<file path=ppt/slides/_rels/slide6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8.xml"/><Relationship Id="rId1" Type="http://schemas.openxmlformats.org/officeDocument/2006/relationships/slideLayout" Target="../slideLayouts/slideLayout9.xml"/><Relationship Id="rId5" Type="http://schemas.openxmlformats.org/officeDocument/2006/relationships/image" Target="../media/image64.png"/><Relationship Id="rId4" Type="http://schemas.microsoft.com/office/2007/relationships/hdphoto" Target="../media/hdphoto3.wdp"/></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4.xml"/></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0.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4.xml"/></Relationships>
</file>

<file path=ppt/slides/_rels/slide69.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slideLayout" Target="../slideLayouts/slideLayout9.xml"/><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tags" Target="../tags/tag152.xml"/><Relationship Id="rId2" Type="http://schemas.openxmlformats.org/officeDocument/2006/relationships/tags" Target="../tags/tag142.xml"/><Relationship Id="rId16" Type="http://schemas.openxmlformats.org/officeDocument/2006/relationships/image" Target="../media/image77.emf"/><Relationship Id="rId1" Type="http://schemas.openxmlformats.org/officeDocument/2006/relationships/vmlDrawing" Target="../drawings/vmlDrawing7.vml"/><Relationship Id="rId6" Type="http://schemas.openxmlformats.org/officeDocument/2006/relationships/tags" Target="../tags/tag146.xml"/><Relationship Id="rId11" Type="http://schemas.openxmlformats.org/officeDocument/2006/relationships/tags" Target="../tags/tag151.xml"/><Relationship Id="rId5" Type="http://schemas.openxmlformats.org/officeDocument/2006/relationships/tags" Target="../tags/tag145.xml"/><Relationship Id="rId15" Type="http://schemas.openxmlformats.org/officeDocument/2006/relationships/oleObject" Target="../embeddings/oleObject7.bin"/><Relationship Id="rId10" Type="http://schemas.openxmlformats.org/officeDocument/2006/relationships/tags" Target="../tags/tag150.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notesSlide" Target="../notesSlides/notesSlide6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0.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tags" Target="../tags/tag178.xml"/><Relationship Id="rId39" Type="http://schemas.openxmlformats.org/officeDocument/2006/relationships/image" Target="../media/image83.png"/><Relationship Id="rId3" Type="http://schemas.openxmlformats.org/officeDocument/2006/relationships/tags" Target="../tags/tag155.xml"/><Relationship Id="rId21" Type="http://schemas.openxmlformats.org/officeDocument/2006/relationships/tags" Target="../tags/tag173.xml"/><Relationship Id="rId34" Type="http://schemas.openxmlformats.org/officeDocument/2006/relationships/image" Target="../media/image78.png"/><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slideLayout" Target="../slideLayouts/slideLayout33.xml"/><Relationship Id="rId38" Type="http://schemas.openxmlformats.org/officeDocument/2006/relationships/image" Target="../media/image82.png"/><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tags" Target="../tags/tag181.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tags" Target="../tags/tag176.xml"/><Relationship Id="rId32" Type="http://schemas.openxmlformats.org/officeDocument/2006/relationships/tags" Target="../tags/tag184.xml"/><Relationship Id="rId37" Type="http://schemas.openxmlformats.org/officeDocument/2006/relationships/image" Target="../media/image81.png"/><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tags" Target="../tags/tag180.xml"/><Relationship Id="rId36" Type="http://schemas.openxmlformats.org/officeDocument/2006/relationships/image" Target="../media/image80.png"/><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tags" Target="../tags/tag183.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tags" Target="../tags/tag182.xml"/><Relationship Id="rId35" Type="http://schemas.openxmlformats.org/officeDocument/2006/relationships/image" Target="../media/image79.png"/></Relationships>
</file>

<file path=ppt/slides/_rels/slide71.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tags" Target="../tags/tag197.xml"/><Relationship Id="rId18" Type="http://schemas.openxmlformats.org/officeDocument/2006/relationships/tags" Target="../tags/tag202.xml"/><Relationship Id="rId26" Type="http://schemas.openxmlformats.org/officeDocument/2006/relationships/tags" Target="../tags/tag210.xml"/><Relationship Id="rId3" Type="http://schemas.openxmlformats.org/officeDocument/2006/relationships/tags" Target="../tags/tag187.xml"/><Relationship Id="rId21" Type="http://schemas.openxmlformats.org/officeDocument/2006/relationships/tags" Target="../tags/tag205.xml"/><Relationship Id="rId34" Type="http://schemas.openxmlformats.org/officeDocument/2006/relationships/image" Target="../media/image84.png"/><Relationship Id="rId7" Type="http://schemas.openxmlformats.org/officeDocument/2006/relationships/tags" Target="../tags/tag191.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tags" Target="../tags/tag209.xml"/><Relationship Id="rId33" Type="http://schemas.openxmlformats.org/officeDocument/2006/relationships/slideLayout" Target="../slideLayouts/slideLayout33.xml"/><Relationship Id="rId2" Type="http://schemas.openxmlformats.org/officeDocument/2006/relationships/tags" Target="../tags/tag186.xml"/><Relationship Id="rId16" Type="http://schemas.openxmlformats.org/officeDocument/2006/relationships/tags" Target="../tags/tag200.xml"/><Relationship Id="rId20" Type="http://schemas.openxmlformats.org/officeDocument/2006/relationships/tags" Target="../tags/tag204.xml"/><Relationship Id="rId29" Type="http://schemas.openxmlformats.org/officeDocument/2006/relationships/tags" Target="../tags/tag213.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tags" Target="../tags/tag195.xml"/><Relationship Id="rId24" Type="http://schemas.openxmlformats.org/officeDocument/2006/relationships/tags" Target="../tags/tag208.xml"/><Relationship Id="rId32" Type="http://schemas.openxmlformats.org/officeDocument/2006/relationships/tags" Target="../tags/tag216.xml"/><Relationship Id="rId5" Type="http://schemas.openxmlformats.org/officeDocument/2006/relationships/tags" Target="../tags/tag189.xml"/><Relationship Id="rId15" Type="http://schemas.openxmlformats.org/officeDocument/2006/relationships/tags" Target="../tags/tag199.xml"/><Relationship Id="rId23" Type="http://schemas.openxmlformats.org/officeDocument/2006/relationships/tags" Target="../tags/tag207.xml"/><Relationship Id="rId28" Type="http://schemas.openxmlformats.org/officeDocument/2006/relationships/tags" Target="../tags/tag212.xml"/><Relationship Id="rId36" Type="http://schemas.openxmlformats.org/officeDocument/2006/relationships/image" Target="../media/image86.png"/><Relationship Id="rId10" Type="http://schemas.openxmlformats.org/officeDocument/2006/relationships/tags" Target="../tags/tag194.xml"/><Relationship Id="rId19" Type="http://schemas.openxmlformats.org/officeDocument/2006/relationships/tags" Target="../tags/tag203.xml"/><Relationship Id="rId31" Type="http://schemas.openxmlformats.org/officeDocument/2006/relationships/tags" Target="../tags/tag215.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tags" Target="../tags/tag198.xml"/><Relationship Id="rId22" Type="http://schemas.openxmlformats.org/officeDocument/2006/relationships/tags" Target="../tags/tag206.xml"/><Relationship Id="rId27" Type="http://schemas.openxmlformats.org/officeDocument/2006/relationships/tags" Target="../tags/tag211.xml"/><Relationship Id="rId30" Type="http://schemas.openxmlformats.org/officeDocument/2006/relationships/tags" Target="../tags/tag214.xml"/><Relationship Id="rId35" Type="http://schemas.openxmlformats.org/officeDocument/2006/relationships/image" Target="../media/image85.png"/></Relationships>
</file>

<file path=ppt/slides/_rels/slide72.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 Type="http://schemas.openxmlformats.org/officeDocument/2006/relationships/tags" Target="../tags/tag219.xml"/><Relationship Id="rId21" Type="http://schemas.openxmlformats.org/officeDocument/2006/relationships/tags" Target="../tags/tag237.xml"/><Relationship Id="rId7" Type="http://schemas.openxmlformats.org/officeDocument/2006/relationships/tags" Target="../tags/tag223.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slideLayout" Target="../slideLayouts/slideLayout33.xml"/><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tags" Target="../tags/tag236.xml"/><Relationship Id="rId29" Type="http://schemas.openxmlformats.org/officeDocument/2006/relationships/tags" Target="../tags/tag245.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tags" Target="../tags/tag247.xm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s>
</file>

<file path=ppt/slides/_rels/slide73.xml.rels><?xml version="1.0" encoding="UTF-8" standalone="yes"?>
<Relationships xmlns="http://schemas.openxmlformats.org/package/2006/relationships"><Relationship Id="rId8" Type="http://schemas.openxmlformats.org/officeDocument/2006/relationships/tags" Target="../tags/tag256.xml"/><Relationship Id="rId13" Type="http://schemas.openxmlformats.org/officeDocument/2006/relationships/tags" Target="../tags/tag261.xml"/><Relationship Id="rId18" Type="http://schemas.openxmlformats.org/officeDocument/2006/relationships/tags" Target="../tags/tag266.xml"/><Relationship Id="rId26" Type="http://schemas.openxmlformats.org/officeDocument/2006/relationships/tags" Target="../tags/tag274.xml"/><Relationship Id="rId3" Type="http://schemas.openxmlformats.org/officeDocument/2006/relationships/tags" Target="../tags/tag251.xml"/><Relationship Id="rId21" Type="http://schemas.openxmlformats.org/officeDocument/2006/relationships/tags" Target="../tags/tag269.xml"/><Relationship Id="rId34" Type="http://schemas.openxmlformats.org/officeDocument/2006/relationships/image" Target="../media/image87.png"/><Relationship Id="rId7" Type="http://schemas.openxmlformats.org/officeDocument/2006/relationships/tags" Target="../tags/tag255.xml"/><Relationship Id="rId12" Type="http://schemas.openxmlformats.org/officeDocument/2006/relationships/tags" Target="../tags/tag260.xml"/><Relationship Id="rId17" Type="http://schemas.openxmlformats.org/officeDocument/2006/relationships/tags" Target="../tags/tag265.xml"/><Relationship Id="rId25" Type="http://schemas.openxmlformats.org/officeDocument/2006/relationships/tags" Target="../tags/tag273.xml"/><Relationship Id="rId33" Type="http://schemas.openxmlformats.org/officeDocument/2006/relationships/slideLayout" Target="../slideLayouts/slideLayout33.xml"/><Relationship Id="rId2" Type="http://schemas.openxmlformats.org/officeDocument/2006/relationships/tags" Target="../tags/tag250.xml"/><Relationship Id="rId16" Type="http://schemas.openxmlformats.org/officeDocument/2006/relationships/tags" Target="../tags/tag264.xml"/><Relationship Id="rId20" Type="http://schemas.openxmlformats.org/officeDocument/2006/relationships/tags" Target="../tags/tag268.xml"/><Relationship Id="rId29" Type="http://schemas.openxmlformats.org/officeDocument/2006/relationships/tags" Target="../tags/tag277.xml"/><Relationship Id="rId1" Type="http://schemas.openxmlformats.org/officeDocument/2006/relationships/tags" Target="../tags/tag249.xml"/><Relationship Id="rId6" Type="http://schemas.openxmlformats.org/officeDocument/2006/relationships/tags" Target="../tags/tag254.xml"/><Relationship Id="rId11" Type="http://schemas.openxmlformats.org/officeDocument/2006/relationships/tags" Target="../tags/tag259.xml"/><Relationship Id="rId24" Type="http://schemas.openxmlformats.org/officeDocument/2006/relationships/tags" Target="../tags/tag272.xml"/><Relationship Id="rId32" Type="http://schemas.openxmlformats.org/officeDocument/2006/relationships/tags" Target="../tags/tag280.xml"/><Relationship Id="rId5" Type="http://schemas.openxmlformats.org/officeDocument/2006/relationships/tags" Target="../tags/tag253.xml"/><Relationship Id="rId15" Type="http://schemas.openxmlformats.org/officeDocument/2006/relationships/tags" Target="../tags/tag263.xml"/><Relationship Id="rId23" Type="http://schemas.openxmlformats.org/officeDocument/2006/relationships/tags" Target="../tags/tag271.xml"/><Relationship Id="rId28" Type="http://schemas.openxmlformats.org/officeDocument/2006/relationships/tags" Target="../tags/tag276.xml"/><Relationship Id="rId10" Type="http://schemas.openxmlformats.org/officeDocument/2006/relationships/tags" Target="../tags/tag258.xml"/><Relationship Id="rId19" Type="http://schemas.openxmlformats.org/officeDocument/2006/relationships/tags" Target="../tags/tag267.xml"/><Relationship Id="rId31" Type="http://schemas.openxmlformats.org/officeDocument/2006/relationships/tags" Target="../tags/tag279.xml"/><Relationship Id="rId4" Type="http://schemas.openxmlformats.org/officeDocument/2006/relationships/tags" Target="../tags/tag252.xml"/><Relationship Id="rId9" Type="http://schemas.openxmlformats.org/officeDocument/2006/relationships/tags" Target="../tags/tag257.xml"/><Relationship Id="rId14" Type="http://schemas.openxmlformats.org/officeDocument/2006/relationships/tags" Target="../tags/tag262.xml"/><Relationship Id="rId22" Type="http://schemas.openxmlformats.org/officeDocument/2006/relationships/tags" Target="../tags/tag270.xml"/><Relationship Id="rId27" Type="http://schemas.openxmlformats.org/officeDocument/2006/relationships/tags" Target="../tags/tag275.xml"/><Relationship Id="rId30" Type="http://schemas.openxmlformats.org/officeDocument/2006/relationships/tags" Target="../tags/tag278.xml"/></Relationships>
</file>

<file path=ppt/slides/_rels/slide74.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tags" Target="../tags/tag293.xml"/><Relationship Id="rId18" Type="http://schemas.openxmlformats.org/officeDocument/2006/relationships/tags" Target="../tags/tag298.xml"/><Relationship Id="rId26" Type="http://schemas.openxmlformats.org/officeDocument/2006/relationships/tags" Target="../tags/tag306.xml"/><Relationship Id="rId3" Type="http://schemas.openxmlformats.org/officeDocument/2006/relationships/tags" Target="../tags/tag283.xml"/><Relationship Id="rId21" Type="http://schemas.openxmlformats.org/officeDocument/2006/relationships/tags" Target="../tags/tag301.xml"/><Relationship Id="rId34" Type="http://schemas.openxmlformats.org/officeDocument/2006/relationships/hyperlink" Target="https://www.cumulocity.com/dev-center/" TargetMode="External"/><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slideLayout" Target="../slideLayouts/slideLayout33.xml"/><Relationship Id="rId2" Type="http://schemas.openxmlformats.org/officeDocument/2006/relationships/tags" Target="../tags/tag282.xml"/><Relationship Id="rId16" Type="http://schemas.openxmlformats.org/officeDocument/2006/relationships/tags" Target="../tags/tag296.xml"/><Relationship Id="rId20" Type="http://schemas.openxmlformats.org/officeDocument/2006/relationships/tags" Target="../tags/tag300.xml"/><Relationship Id="rId29" Type="http://schemas.openxmlformats.org/officeDocument/2006/relationships/tags" Target="../tags/tag309.xml"/><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tags" Target="../tags/tag291.xml"/><Relationship Id="rId24" Type="http://schemas.openxmlformats.org/officeDocument/2006/relationships/tags" Target="../tags/tag304.xml"/><Relationship Id="rId32" Type="http://schemas.openxmlformats.org/officeDocument/2006/relationships/tags" Target="../tags/tag312.xml"/><Relationship Id="rId5" Type="http://schemas.openxmlformats.org/officeDocument/2006/relationships/tags" Target="../tags/tag285.xml"/><Relationship Id="rId15" Type="http://schemas.openxmlformats.org/officeDocument/2006/relationships/tags" Target="../tags/tag295.xml"/><Relationship Id="rId23" Type="http://schemas.openxmlformats.org/officeDocument/2006/relationships/tags" Target="../tags/tag303.xml"/><Relationship Id="rId28" Type="http://schemas.openxmlformats.org/officeDocument/2006/relationships/tags" Target="../tags/tag308.xml"/><Relationship Id="rId10" Type="http://schemas.openxmlformats.org/officeDocument/2006/relationships/tags" Target="../tags/tag290.xml"/><Relationship Id="rId19" Type="http://schemas.openxmlformats.org/officeDocument/2006/relationships/tags" Target="../tags/tag299.xml"/><Relationship Id="rId31" Type="http://schemas.openxmlformats.org/officeDocument/2006/relationships/tags" Target="../tags/tag311.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tags" Target="../tags/tag294.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tags" Target="../tags/tag310.xml"/></Relationships>
</file>

<file path=ppt/slides/_rels/slide7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314.xml"/><Relationship Id="rId7" Type="http://schemas.openxmlformats.org/officeDocument/2006/relationships/image" Target="../media/image12.emf"/><Relationship Id="rId2" Type="http://schemas.openxmlformats.org/officeDocument/2006/relationships/tags" Target="../tags/tag3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3.xml"/><Relationship Id="rId4"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316.xml"/><Relationship Id="rId7" Type="http://schemas.openxmlformats.org/officeDocument/2006/relationships/image" Target="../media/image12.emf"/><Relationship Id="rId2" Type="http://schemas.openxmlformats.org/officeDocument/2006/relationships/tags" Target="../tags/tag3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64.xml"/><Relationship Id="rId4"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hyperlink" Target="https://tepusr.eu1.mindsphere.io/" TargetMode="External"/><Relationship Id="rId2" Type="http://schemas.openxmlformats.org/officeDocument/2006/relationships/notesSlide" Target="../notesSlides/notesSlide65.xml"/><Relationship Id="rId1" Type="http://schemas.openxmlformats.org/officeDocument/2006/relationships/slideLayout" Target="../slideLayouts/slideLayout15.xml"/><Relationship Id="rId5" Type="http://schemas.openxmlformats.org/officeDocument/2006/relationships/hyperlink" Target="https://demoprm.mciotextension.eu-central.mindsphere.io/apps/cockpit/index.html#/" TargetMode="External"/><Relationship Id="rId4" Type="http://schemas.openxmlformats.org/officeDocument/2006/relationships/hyperlink" Target="https://demoprm.mcintegration.eu-central-preview.mindsphere.io/integration/login#/login" TargetMode="Externa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7.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2.emf"/><Relationship Id="rId2" Type="http://schemas.openxmlformats.org/officeDocument/2006/relationships/tags" Target="../tags/tag10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3.png"/><Relationship Id="rId4" Type="http://schemas.openxmlformats.org/officeDocument/2006/relationships/notesSlide" Target="../notesSlides/notesSlide8.xml"/></Relationships>
</file>

<file path=ppt/slides/_rels/slide8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8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9.xml"/><Relationship Id="rId1" Type="http://schemas.openxmlformats.org/officeDocument/2006/relationships/slideLayout" Target="../slideLayouts/slideLayout9.xml"/><Relationship Id="rId6" Type="http://schemas.openxmlformats.org/officeDocument/2006/relationships/hyperlink" Target="https://support.industry.siemens.com/" TargetMode="External"/><Relationship Id="rId5" Type="http://schemas.openxmlformats.org/officeDocument/2006/relationships/image" Target="../media/image91.png"/><Relationship Id="rId4" Type="http://schemas.openxmlformats.org/officeDocument/2006/relationships/image" Target="../media/image90.png"/></Relationships>
</file>

<file path=ppt/slides/_rels/slide82.xml.rels><?xml version="1.0" encoding="UTF-8" standalone="yes"?>
<Relationships xmlns="http://schemas.openxmlformats.org/package/2006/relationships"><Relationship Id="rId8" Type="http://schemas.openxmlformats.org/officeDocument/2006/relationships/hyperlink" Target="mailto:training@mindsphere.io" TargetMode="External"/><Relationship Id="rId3" Type="http://schemas.openxmlformats.org/officeDocument/2006/relationships/hyperlink" Target="http://www.mindsphere.io/" TargetMode="External"/><Relationship Id="rId7" Type="http://schemas.openxmlformats.org/officeDocument/2006/relationships/hyperlink" Target="http://www.siemens.com/automation/support-request" TargetMode="External"/><Relationship Id="rId2" Type="http://schemas.openxmlformats.org/officeDocument/2006/relationships/notesSlide" Target="../notesSlides/notesSlide70.xml"/><Relationship Id="rId1" Type="http://schemas.openxmlformats.org/officeDocument/2006/relationships/slideLayout" Target="../slideLayouts/slideLayout17.xml"/><Relationship Id="rId6" Type="http://schemas.openxmlformats.org/officeDocument/2006/relationships/hyperlink" Target="http://www.siemens.com/automation/service&amp;support" TargetMode="External"/><Relationship Id="rId5" Type="http://schemas.openxmlformats.org/officeDocument/2006/relationships/hyperlink" Target="mailto:contact@mindsphere.io" TargetMode="External"/><Relationship Id="rId4" Type="http://schemas.openxmlformats.org/officeDocument/2006/relationships/hyperlink" Target="https://community.plm.automation.siemens.com/t5/MindSphere/ct-p/MindSphere"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1.xml"/><Relationship Id="rId1" Type="http://schemas.openxmlformats.org/officeDocument/2006/relationships/slideLayout" Target="../slideLayouts/slideLayout17.xml"/></Relationships>
</file>

<file path=ppt/slides/_rels/slide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2.xml"/><Relationship Id="rId1" Type="http://schemas.openxmlformats.org/officeDocument/2006/relationships/slideLayout" Target="../slideLayouts/slideLayout33.xml"/><Relationship Id="rId5" Type="http://schemas.openxmlformats.org/officeDocument/2006/relationships/image" Target="../media/image6.emf"/><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4.png"/><Relationship Id="rId2" Type="http://schemas.openxmlformats.org/officeDocument/2006/relationships/tags" Target="../tags/tag102.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sp>
        <p:nvSpPr>
          <p:cNvPr id="7" name="Titel 6"/>
          <p:cNvSpPr txBox="1">
            <a:spLocks/>
          </p:cNvSpPr>
          <p:nvPr/>
        </p:nvSpPr>
        <p:spPr bwMode="gray">
          <a:xfrm>
            <a:off x="627063" y="5224075"/>
            <a:ext cx="9297988" cy="616491"/>
          </a:xfrm>
          <a:prstGeom prst="rect">
            <a:avLst/>
          </a:prstGeom>
          <a:noFill/>
          <a:ln w="9525">
            <a:noFill/>
            <a:miter lim="800000"/>
            <a:headEnd/>
            <a:tailEnd/>
          </a:ln>
          <a:effectLst/>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1999" kern="0" dirty="0" smtClean="0">
                <a:solidFill>
                  <a:srgbClr val="00646E"/>
                </a:solidFill>
              </a:rPr>
              <a:t>MindSphere 3.0</a:t>
            </a:r>
            <a:endParaRPr lang="en-US" sz="1999" kern="0" dirty="0">
              <a:solidFill>
                <a:schemeClr val="tx1"/>
              </a:solidFill>
            </a:endParaRPr>
          </a:p>
        </p:txBody>
      </p:sp>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6" name="Titel 6"/>
          <p:cNvSpPr txBox="1">
            <a:spLocks/>
          </p:cNvSpPr>
          <p:nvPr/>
        </p:nvSpPr>
        <p:spPr bwMode="gray">
          <a:xfrm>
            <a:off x="627063" y="3684767"/>
            <a:ext cx="10625632" cy="1539308"/>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err="1" smtClean="0"/>
              <a:t>MindConnect</a:t>
            </a:r>
            <a:r>
              <a:rPr lang="en-US" sz="3998" kern="0" dirty="0" smtClean="0"/>
              <a:t> </a:t>
            </a:r>
          </a:p>
          <a:p>
            <a:r>
              <a:rPr lang="en-US" sz="3998" kern="0" dirty="0" smtClean="0"/>
              <a:t>Device Training </a:t>
            </a:r>
          </a:p>
        </p:txBody>
      </p:sp>
    </p:spTree>
    <p:extLst>
      <p:ext uri="{BB962C8B-B14F-4D97-AF65-F5344CB8AC3E}">
        <p14:creationId xmlns:p14="http://schemas.microsoft.com/office/powerpoint/2010/main" val="8945778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bwMode="auto">
          <a:xfrm>
            <a:off x="8542998" y="2140457"/>
            <a:ext cx="3238291" cy="1331307"/>
          </a:xfrm>
          <a:prstGeom prst="rect">
            <a:avLst/>
          </a:prstGeom>
          <a:noFill/>
          <a:ln w="19050" cap="flat" cmpd="sng" algn="ctr">
            <a:solidFill>
              <a:srgbClr val="009999"/>
            </a:solidFill>
            <a:prstDash val="solid"/>
            <a:miter lim="800000"/>
            <a:headEnd type="none" w="med" len="med"/>
            <a:tailEnd type="none" w="med" len="med"/>
          </a:ln>
          <a:effectLst/>
          <a:extLst>
            <a:ext uri="{909E8E84-426E-40DD-AFC4-6F175D3DCCD1}">
              <a14:hiddenFill xmlns:a14="http://schemas.microsoft.com/office/drawing/2010/main">
                <a:solidFill>
                  <a:srgbClr val="EBEB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130050" name="cdtRectangle 2 Id130050"/>
          <p:cNvSpPr>
            <a:spLocks noGrp="1" noChangeArrowheads="1"/>
          </p:cNvSpPr>
          <p:nvPr>
            <p:ph type="title"/>
          </p:nvPr>
        </p:nvSpPr>
        <p:spPr>
          <a:noFill/>
          <a:ln w="9525">
            <a:noFill/>
            <a:miter lim="800000"/>
            <a:headEnd/>
            <a:tailEnd/>
          </a:ln>
        </p:spPr>
        <p:txBody>
          <a:bodyPr vert="horz" wrap="square" lIns="626074" tIns="431775" rIns="2122894" bIns="233878" numCol="1" anchor="t" anchorCtr="0" compatLnSpc="1">
            <a:prstTxWarp prst="textNoShape">
              <a:avLst/>
            </a:prstTxWarp>
          </a:bodyPr>
          <a:lstStyle/>
          <a:p>
            <a:r>
              <a:rPr lang="en-US" dirty="0" smtClean="0"/>
              <a:t>Connectivity</a:t>
            </a:r>
            <a:br>
              <a:rPr lang="en-US" dirty="0" smtClean="0"/>
            </a:br>
            <a:r>
              <a:rPr lang="en-US" dirty="0" smtClean="0"/>
              <a:t>MindSphere </a:t>
            </a:r>
            <a:r>
              <a:rPr lang="en-US" dirty="0" err="1" smtClean="0"/>
              <a:t>MindConnect</a:t>
            </a:r>
            <a:r>
              <a:rPr lang="en-US" dirty="0" smtClean="0"/>
              <a:t> (3.0)</a:t>
            </a:r>
            <a:r>
              <a:rPr lang="en-US" dirty="0"/>
              <a:t/>
            </a:r>
            <a:br>
              <a:rPr lang="en-US" dirty="0"/>
            </a:br>
            <a:endParaRPr lang="en-US" dirty="0"/>
          </a:p>
        </p:txBody>
      </p:sp>
      <p:sp>
        <p:nvSpPr>
          <p:cNvPr id="20" name="Ellipse 19"/>
          <p:cNvSpPr/>
          <p:nvPr/>
        </p:nvSpPr>
        <p:spPr bwMode="auto">
          <a:xfrm>
            <a:off x="5195989" y="3135491"/>
            <a:ext cx="1835044" cy="1835044"/>
          </a:xfrm>
          <a:prstGeom prst="ellipse">
            <a:avLst/>
          </a:prstGeom>
          <a:solidFill>
            <a:srgbClr val="F5F5F0"/>
          </a:solidFill>
          <a:ln w="120650">
            <a:solidFill>
              <a:srgbClr val="555F69"/>
            </a:solidFill>
            <a:miter lim="800000"/>
            <a:headEnd/>
            <a:tailEnd/>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r>
              <a:rPr lang="en-US" sz="1599" b="1" dirty="0">
                <a:solidFill>
                  <a:srgbClr val="009999"/>
                </a:solidFill>
              </a:rPr>
              <a:t>MindConnect</a:t>
            </a:r>
          </a:p>
        </p:txBody>
      </p:sp>
      <p:cxnSp>
        <p:nvCxnSpPr>
          <p:cNvPr id="9" name="Gerade Verbindung 8"/>
          <p:cNvCxnSpPr/>
          <p:nvPr/>
        </p:nvCxnSpPr>
        <p:spPr bwMode="auto">
          <a:xfrm flipH="1">
            <a:off x="12429581" y="5965953"/>
            <a:ext cx="0" cy="67051"/>
          </a:xfrm>
          <a:prstGeom prst="line">
            <a:avLst/>
          </a:prstGeom>
          <a:solidFill>
            <a:srgbClr val="000000"/>
          </a:solidFill>
          <a:ln w="9525" cap="flat" cmpd="sng" algn="ctr">
            <a:solidFill>
              <a:srgbClr val="879BAA"/>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 name="Textfeld 13"/>
          <p:cNvSpPr txBox="1"/>
          <p:nvPr/>
        </p:nvSpPr>
        <p:spPr>
          <a:xfrm>
            <a:off x="8739555" y="2839817"/>
            <a:ext cx="1196821" cy="304540"/>
          </a:xfrm>
          <a:prstGeom prst="rect">
            <a:avLst/>
          </a:prstGeom>
          <a:noFill/>
        </p:spPr>
        <p:txBody>
          <a:bodyPr wrap="none" lIns="0" tIns="0" rIns="0" bIns="0" rtlCol="0">
            <a:spAutoFit/>
          </a:bodyPr>
          <a:lstStyle/>
          <a:p>
            <a:pPr>
              <a:lnSpc>
                <a:spcPct val="110000"/>
              </a:lnSpc>
            </a:pPr>
            <a:r>
              <a:rPr lang="en-US" sz="999" b="1" dirty="0">
                <a:solidFill>
                  <a:srgbClr val="3C464B"/>
                </a:solidFill>
              </a:rPr>
              <a:t>MindConnect</a:t>
            </a:r>
            <a:r>
              <a:rPr lang="en-US" sz="1799" b="1" dirty="0">
                <a:solidFill>
                  <a:srgbClr val="3C464B"/>
                </a:solidFill>
              </a:rPr>
              <a:t> </a:t>
            </a:r>
            <a:r>
              <a:rPr lang="en-US" sz="999" b="1" dirty="0">
                <a:solidFill>
                  <a:srgbClr val="3C464B"/>
                </a:solidFill>
              </a:rPr>
              <a:t>Nano</a:t>
            </a:r>
            <a:endParaRPr lang="en-US" sz="1799" b="1" dirty="0">
              <a:solidFill>
                <a:srgbClr val="3C464B"/>
              </a:solidFill>
            </a:endParaRPr>
          </a:p>
        </p:txBody>
      </p:sp>
      <p:sp>
        <p:nvSpPr>
          <p:cNvPr id="15" name="Textfeld 14"/>
          <p:cNvSpPr txBox="1"/>
          <p:nvPr/>
        </p:nvSpPr>
        <p:spPr>
          <a:xfrm>
            <a:off x="10162334" y="2839816"/>
            <a:ext cx="1574932" cy="473729"/>
          </a:xfrm>
          <a:prstGeom prst="rect">
            <a:avLst/>
          </a:prstGeom>
          <a:noFill/>
        </p:spPr>
        <p:txBody>
          <a:bodyPr wrap="none" lIns="0" tIns="0" rIns="0" bIns="0" rtlCol="0">
            <a:spAutoFit/>
          </a:bodyPr>
          <a:lstStyle/>
          <a:p>
            <a:pPr algn="ctr">
              <a:lnSpc>
                <a:spcPct val="110000"/>
              </a:lnSpc>
            </a:pPr>
            <a:r>
              <a:rPr lang="en-US" sz="999" b="1" dirty="0">
                <a:solidFill>
                  <a:srgbClr val="3C464B"/>
                </a:solidFill>
              </a:rPr>
              <a:t>MindConnect</a:t>
            </a:r>
            <a:r>
              <a:rPr lang="en-US" sz="1799" b="1" dirty="0">
                <a:solidFill>
                  <a:srgbClr val="3C464B"/>
                </a:solidFill>
              </a:rPr>
              <a:t> </a:t>
            </a:r>
            <a:r>
              <a:rPr lang="en-US" sz="999" b="1" dirty="0">
                <a:solidFill>
                  <a:srgbClr val="3C464B"/>
                </a:solidFill>
              </a:rPr>
              <a:t>IoT2040</a:t>
            </a:r>
            <a:br>
              <a:rPr lang="en-US" sz="999" b="1" dirty="0">
                <a:solidFill>
                  <a:srgbClr val="3C464B"/>
                </a:solidFill>
              </a:rPr>
            </a:br>
            <a:r>
              <a:rPr lang="en-US" sz="999" b="1" dirty="0">
                <a:solidFill>
                  <a:srgbClr val="3C464B"/>
                </a:solidFill>
              </a:rPr>
              <a:t>&gt;&gt; comes past o2/2018 &lt;&lt;</a:t>
            </a:r>
          </a:p>
        </p:txBody>
      </p:sp>
      <p:pic>
        <p:nvPicPr>
          <p:cNvPr id="17" name="Bild 11"/>
          <p:cNvPicPr>
            <a:picLocks noChangeAspect="1"/>
          </p:cNvPicPr>
          <p:nvPr/>
        </p:nvPicPr>
        <p:blipFill>
          <a:blip r:embed="rId4"/>
          <a:stretch>
            <a:fillRect/>
          </a:stretch>
        </p:blipFill>
        <p:spPr>
          <a:xfrm>
            <a:off x="8955657" y="2280415"/>
            <a:ext cx="823983" cy="602140"/>
          </a:xfrm>
          <a:prstGeom prst="rect">
            <a:avLst/>
          </a:prstGeom>
        </p:spPr>
      </p:pic>
      <p:pic>
        <p:nvPicPr>
          <p:cNvPr id="18" name="Bild 13"/>
          <p:cNvPicPr>
            <a:picLocks noChangeAspect="1"/>
          </p:cNvPicPr>
          <p:nvPr/>
        </p:nvPicPr>
        <p:blipFill>
          <a:blip r:embed="rId5">
            <a:duotone>
              <a:schemeClr val="accent2">
                <a:shade val="45000"/>
                <a:satMod val="135000"/>
              </a:schemeClr>
              <a:prstClr val="white"/>
            </a:duotone>
          </a:blip>
          <a:stretch>
            <a:fillRect/>
          </a:stretch>
        </p:blipFill>
        <p:spPr>
          <a:xfrm>
            <a:off x="10522187" y="2296725"/>
            <a:ext cx="802473" cy="569522"/>
          </a:xfrm>
          <a:prstGeom prst="rect">
            <a:avLst/>
          </a:prstGeom>
        </p:spPr>
      </p:pic>
      <p:sp>
        <p:nvSpPr>
          <p:cNvPr id="25" name="Textfeld 24"/>
          <p:cNvSpPr txBox="1"/>
          <p:nvPr/>
        </p:nvSpPr>
        <p:spPr>
          <a:xfrm>
            <a:off x="590751" y="5023343"/>
            <a:ext cx="1047818" cy="203027"/>
          </a:xfrm>
          <a:prstGeom prst="rect">
            <a:avLst/>
          </a:prstGeom>
          <a:noFill/>
        </p:spPr>
        <p:txBody>
          <a:bodyPr wrap="none" lIns="0" tIns="0" rIns="0" bIns="0" rtlCol="0">
            <a:spAutoFit/>
          </a:bodyPr>
          <a:lstStyle/>
          <a:p>
            <a:pPr>
              <a:lnSpc>
                <a:spcPct val="110000"/>
              </a:lnSpc>
            </a:pPr>
            <a:r>
              <a:rPr lang="en-US" sz="999" b="1" dirty="0">
                <a:solidFill>
                  <a:srgbClr val="3C464B"/>
                </a:solidFill>
              </a:rPr>
              <a:t>MindConnect</a:t>
            </a:r>
            <a:r>
              <a:rPr lang="en-US" sz="1199" b="1" dirty="0">
                <a:solidFill>
                  <a:srgbClr val="3C464B"/>
                </a:solidFill>
              </a:rPr>
              <a:t> </a:t>
            </a:r>
            <a:r>
              <a:rPr lang="en-US" sz="999" b="1" dirty="0">
                <a:solidFill>
                  <a:srgbClr val="3C464B"/>
                </a:solidFill>
              </a:rPr>
              <a:t>Lib</a:t>
            </a:r>
            <a:endParaRPr lang="en-US" sz="1199" b="1" dirty="0">
              <a:solidFill>
                <a:srgbClr val="3C464B"/>
              </a:solidFill>
            </a:endParaRPr>
          </a:p>
        </p:txBody>
      </p:sp>
      <p:sp>
        <p:nvSpPr>
          <p:cNvPr id="26" name="Textfeld 25"/>
          <p:cNvSpPr txBox="1"/>
          <p:nvPr/>
        </p:nvSpPr>
        <p:spPr>
          <a:xfrm>
            <a:off x="1978902" y="5007519"/>
            <a:ext cx="1131131" cy="169189"/>
          </a:xfrm>
          <a:prstGeom prst="rect">
            <a:avLst/>
          </a:prstGeom>
          <a:noFill/>
        </p:spPr>
        <p:txBody>
          <a:bodyPr wrap="none" lIns="0" tIns="0" rIns="0" bIns="0" rtlCol="0">
            <a:spAutoFit/>
          </a:bodyPr>
          <a:lstStyle/>
          <a:p>
            <a:pPr algn="ctr">
              <a:lnSpc>
                <a:spcPct val="110000"/>
              </a:lnSpc>
            </a:pPr>
            <a:r>
              <a:rPr lang="en-US" sz="999" b="1" dirty="0">
                <a:solidFill>
                  <a:srgbClr val="3C464B"/>
                </a:solidFill>
              </a:rPr>
              <a:t>MindConnect APIs</a:t>
            </a:r>
          </a:p>
        </p:txBody>
      </p:sp>
      <p:pic>
        <p:nvPicPr>
          <p:cNvPr id="27" name="Bild 83"/>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8472" y="4203054"/>
            <a:ext cx="812377" cy="812377"/>
          </a:xfrm>
          <a:prstGeom prst="rect">
            <a:avLst/>
          </a:prstGeom>
        </p:spPr>
      </p:pic>
      <p:pic>
        <p:nvPicPr>
          <p:cNvPr id="28" name="Bild 83"/>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138277" y="4175877"/>
            <a:ext cx="812377" cy="812377"/>
          </a:xfrm>
          <a:prstGeom prst="rect">
            <a:avLst/>
          </a:prstGeom>
        </p:spPr>
      </p:pic>
      <p:sp>
        <p:nvSpPr>
          <p:cNvPr id="38" name="Rechteck 37"/>
          <p:cNvSpPr/>
          <p:nvPr/>
        </p:nvSpPr>
        <p:spPr bwMode="auto">
          <a:xfrm>
            <a:off x="356675" y="4210123"/>
            <a:ext cx="3076417" cy="1331307"/>
          </a:xfrm>
          <a:prstGeom prst="rect">
            <a:avLst/>
          </a:prstGeom>
          <a:noFill/>
          <a:ln w="19050" cap="flat" cmpd="sng" algn="ctr">
            <a:solidFill>
              <a:srgbClr val="009999"/>
            </a:solidFill>
            <a:prstDash val="solid"/>
            <a:miter lim="800000"/>
            <a:headEnd type="none" w="med" len="med"/>
            <a:tailEnd type="none" w="med" len="med"/>
          </a:ln>
          <a:effectLst/>
          <a:extLst>
            <a:ext uri="{909E8E84-426E-40DD-AFC4-6F175D3DCCD1}">
              <a14:hiddenFill xmlns:a14="http://schemas.microsoft.com/office/drawing/2010/main">
                <a:solidFill>
                  <a:srgbClr val="EBEB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42" name="Textfeld 41"/>
          <p:cNvSpPr txBox="1">
            <a:spLocks noChangeAspect="1"/>
          </p:cNvSpPr>
          <p:nvPr/>
        </p:nvSpPr>
        <p:spPr>
          <a:xfrm>
            <a:off x="10713599" y="6379873"/>
            <a:ext cx="956495" cy="153808"/>
          </a:xfrm>
          <a:prstGeom prst="rect">
            <a:avLst/>
          </a:prstGeom>
          <a:noFill/>
          <a:ln>
            <a:noFill/>
          </a:ln>
          <a:effectLst/>
        </p:spPr>
        <p:txBody>
          <a:bodyPr vert="horz" wrap="none" lIns="0" tIns="0" rIns="0" bIns="0" numCol="1" spcCol="71913" rtlCol="0" anchor="b" anchorCtr="0">
            <a:spAutoFit/>
          </a:bodyPr>
          <a:lstStyle/>
          <a:p>
            <a:pPr>
              <a:spcBef>
                <a:spcPct val="0"/>
              </a:spcBef>
            </a:pPr>
            <a:r>
              <a:rPr lang="en-US" sz="999" dirty="0">
                <a:solidFill>
                  <a:srgbClr val="000000"/>
                </a:solidFill>
                <a:latin typeface="Arial"/>
                <a:sym typeface="Wingdings"/>
              </a:rPr>
              <a:t>Already released</a:t>
            </a:r>
            <a:endParaRPr lang="en-US" sz="999" dirty="0">
              <a:solidFill>
                <a:srgbClr val="000000"/>
              </a:solidFill>
              <a:latin typeface="Arial"/>
            </a:endParaRPr>
          </a:p>
        </p:txBody>
      </p:sp>
      <p:sp>
        <p:nvSpPr>
          <p:cNvPr id="44" name="Rechteck 43"/>
          <p:cNvSpPr/>
          <p:nvPr/>
        </p:nvSpPr>
        <p:spPr>
          <a:xfrm>
            <a:off x="10414351" y="6297176"/>
            <a:ext cx="547262" cy="307617"/>
          </a:xfrm>
          <a:prstGeom prst="rect">
            <a:avLst/>
          </a:prstGeom>
        </p:spPr>
        <p:txBody>
          <a:bodyPr wrap="square">
            <a:spAutoFit/>
          </a:bodyPr>
          <a:lstStyle/>
          <a:p>
            <a:r>
              <a:rPr lang="en-US" sz="1399" b="1" dirty="0">
                <a:solidFill>
                  <a:srgbClr val="00646E"/>
                </a:solidFill>
                <a:latin typeface="Wingdings"/>
                <a:ea typeface="Times New Roman"/>
                <a:cs typeface="Times New Roman"/>
              </a:rPr>
              <a:t>ü</a:t>
            </a:r>
            <a:endParaRPr lang="en-US" sz="1399" b="1" dirty="0">
              <a:solidFill>
                <a:srgbClr val="00646E"/>
              </a:solidFill>
            </a:endParaRPr>
          </a:p>
        </p:txBody>
      </p:sp>
      <p:sp>
        <p:nvSpPr>
          <p:cNvPr id="43" name="Rechteck 42"/>
          <p:cNvSpPr/>
          <p:nvPr/>
        </p:nvSpPr>
        <p:spPr>
          <a:xfrm>
            <a:off x="392661" y="1341797"/>
            <a:ext cx="4749656" cy="1816576"/>
          </a:xfrm>
          <a:prstGeom prst="rect">
            <a:avLst/>
          </a:prstGeom>
          <a:solidFill>
            <a:srgbClr val="F5F5F0"/>
          </a:solidFill>
        </p:spPr>
        <p:txBody>
          <a:bodyPr wrap="square" lIns="107944" tIns="107944" rIns="107944" bIns="107944">
            <a:spAutoFit/>
          </a:bodyPr>
          <a:lstStyle/>
          <a:p>
            <a:r>
              <a:rPr lang="en-US" sz="1299" dirty="0">
                <a:solidFill>
                  <a:schemeClr val="dk1"/>
                </a:solidFill>
              </a:rPr>
              <a:t>With </a:t>
            </a:r>
            <a:r>
              <a:rPr lang="en-US" sz="1299" b="1" dirty="0">
                <a:solidFill>
                  <a:srgbClr val="009999"/>
                </a:solidFill>
              </a:rPr>
              <a:t>MindConnect </a:t>
            </a:r>
            <a:r>
              <a:rPr lang="en-US" sz="1299" dirty="0">
                <a:solidFill>
                  <a:schemeClr val="dk1"/>
                </a:solidFill>
              </a:rPr>
              <a:t>provides </a:t>
            </a:r>
            <a:r>
              <a:rPr lang="en-US" sz="1299" b="1" dirty="0">
                <a:solidFill>
                  <a:srgbClr val="009999"/>
                </a:solidFill>
              </a:rPr>
              <a:t>multiple</a:t>
            </a:r>
            <a:r>
              <a:rPr lang="en-US" sz="1299" dirty="0">
                <a:solidFill>
                  <a:schemeClr val="dk1"/>
                </a:solidFill>
              </a:rPr>
              <a:t>, varied and </a:t>
            </a:r>
            <a:r>
              <a:rPr lang="en-US" sz="1299" b="1" dirty="0">
                <a:solidFill>
                  <a:srgbClr val="009999"/>
                </a:solidFill>
              </a:rPr>
              <a:t>easy-to-implement</a:t>
            </a:r>
            <a:r>
              <a:rPr lang="en-US" sz="1299" dirty="0">
                <a:solidFill>
                  <a:schemeClr val="dk1"/>
                </a:solidFill>
              </a:rPr>
              <a:t> </a:t>
            </a:r>
            <a:r>
              <a:rPr lang="en-US" sz="1299" b="1" dirty="0">
                <a:solidFill>
                  <a:srgbClr val="009999"/>
                </a:solidFill>
              </a:rPr>
              <a:t>connectivity</a:t>
            </a:r>
            <a:r>
              <a:rPr lang="en-US" sz="1299" dirty="0">
                <a:solidFill>
                  <a:schemeClr val="dk1"/>
                </a:solidFill>
              </a:rPr>
              <a:t> solutions (connectors, agents, libraries, …) to be able to </a:t>
            </a:r>
            <a:r>
              <a:rPr lang="en-US" sz="1299" b="1" dirty="0">
                <a:solidFill>
                  <a:srgbClr val="009999"/>
                </a:solidFill>
              </a:rPr>
              <a:t>onboard</a:t>
            </a:r>
            <a:r>
              <a:rPr lang="en-US" sz="1299" dirty="0">
                <a:solidFill>
                  <a:schemeClr val="dk1"/>
                </a:solidFill>
              </a:rPr>
              <a:t> a </a:t>
            </a:r>
            <a:r>
              <a:rPr lang="en-US" sz="1299" b="1" dirty="0">
                <a:solidFill>
                  <a:srgbClr val="009999"/>
                </a:solidFill>
              </a:rPr>
              <a:t>wide</a:t>
            </a:r>
            <a:r>
              <a:rPr lang="en-US" sz="1299" dirty="0">
                <a:solidFill>
                  <a:schemeClr val="dk1"/>
                </a:solidFill>
              </a:rPr>
              <a:t> </a:t>
            </a:r>
            <a:r>
              <a:rPr lang="en-US" sz="1299" b="1" dirty="0">
                <a:solidFill>
                  <a:srgbClr val="009999"/>
                </a:solidFill>
              </a:rPr>
              <a:t>range</a:t>
            </a:r>
            <a:r>
              <a:rPr lang="en-US" sz="1299" dirty="0">
                <a:solidFill>
                  <a:schemeClr val="dk1"/>
                </a:solidFill>
              </a:rPr>
              <a:t> of </a:t>
            </a:r>
            <a:r>
              <a:rPr lang="en-US" sz="1299" b="1" dirty="0">
                <a:solidFill>
                  <a:srgbClr val="009999"/>
                </a:solidFill>
              </a:rPr>
              <a:t>assets</a:t>
            </a:r>
            <a:r>
              <a:rPr lang="en-US" sz="1299" dirty="0">
                <a:solidFill>
                  <a:schemeClr val="dk1"/>
                </a:solidFill>
              </a:rPr>
              <a:t> (Siemens and 3</a:t>
            </a:r>
            <a:r>
              <a:rPr lang="en-US" sz="1299" baseline="30000" dirty="0">
                <a:solidFill>
                  <a:schemeClr val="dk1"/>
                </a:solidFill>
              </a:rPr>
              <a:t>rd</a:t>
            </a:r>
            <a:r>
              <a:rPr lang="en-US" sz="1299" dirty="0">
                <a:solidFill>
                  <a:schemeClr val="dk1"/>
                </a:solidFill>
              </a:rPr>
              <a:t>-party) in both brown- and greenfield environments as well as Siemens or 3</a:t>
            </a:r>
            <a:r>
              <a:rPr lang="en-US" sz="1299" baseline="30000" dirty="0">
                <a:solidFill>
                  <a:schemeClr val="dk1"/>
                </a:solidFill>
              </a:rPr>
              <a:t>rd</a:t>
            </a:r>
            <a:r>
              <a:rPr lang="en-US" sz="1299" dirty="0">
                <a:solidFill>
                  <a:schemeClr val="dk1"/>
                </a:solidFill>
              </a:rPr>
              <a:t>-party systems.</a:t>
            </a:r>
            <a:endParaRPr lang="en-US" sz="1399" dirty="0">
              <a:solidFill>
                <a:schemeClr val="dk1"/>
              </a:solidFill>
            </a:endParaRPr>
          </a:p>
          <a:p>
            <a:r>
              <a:rPr lang="en-US" sz="1299" dirty="0">
                <a:solidFill>
                  <a:schemeClr val="dk1"/>
                </a:solidFill>
              </a:rPr>
              <a:t>For assets which can not be onboarded from scratch, the MindSphere also enables </a:t>
            </a:r>
            <a:r>
              <a:rPr lang="en-US" sz="1299" b="1" dirty="0">
                <a:solidFill>
                  <a:srgbClr val="009999"/>
                </a:solidFill>
              </a:rPr>
              <a:t>self</a:t>
            </a:r>
            <a:r>
              <a:rPr lang="en-US" sz="1299" dirty="0">
                <a:solidFill>
                  <a:schemeClr val="dk1"/>
                </a:solidFill>
              </a:rPr>
              <a:t> </a:t>
            </a:r>
            <a:r>
              <a:rPr lang="en-US" sz="1299" b="1" dirty="0">
                <a:solidFill>
                  <a:srgbClr val="009999"/>
                </a:solidFill>
              </a:rPr>
              <a:t>programming</a:t>
            </a:r>
            <a:r>
              <a:rPr lang="en-US" sz="1299" dirty="0">
                <a:solidFill>
                  <a:schemeClr val="dk1"/>
                </a:solidFill>
              </a:rPr>
              <a:t> of connectivity modules by using the </a:t>
            </a:r>
            <a:r>
              <a:rPr lang="en-US" sz="1299" b="1" dirty="0">
                <a:solidFill>
                  <a:srgbClr val="009999"/>
                </a:solidFill>
              </a:rPr>
              <a:t>APIs</a:t>
            </a:r>
            <a:r>
              <a:rPr lang="en-US" sz="1299" dirty="0">
                <a:solidFill>
                  <a:schemeClr val="dk1"/>
                </a:solidFill>
              </a:rPr>
              <a:t>.</a:t>
            </a:r>
          </a:p>
        </p:txBody>
      </p:sp>
      <p:sp>
        <p:nvSpPr>
          <p:cNvPr id="46" name="Freihandform 45"/>
          <p:cNvSpPr/>
          <p:nvPr/>
        </p:nvSpPr>
        <p:spPr bwMode="auto">
          <a:xfrm flipV="1">
            <a:off x="6651137" y="2139332"/>
            <a:ext cx="5130152" cy="1104383"/>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9999"/>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dirty="0"/>
          </a:p>
        </p:txBody>
      </p:sp>
      <p:sp>
        <p:nvSpPr>
          <p:cNvPr id="47" name="Freihandform 46"/>
          <p:cNvSpPr/>
          <p:nvPr/>
        </p:nvSpPr>
        <p:spPr bwMode="auto">
          <a:xfrm flipH="1">
            <a:off x="3433091" y="4649913"/>
            <a:ext cx="1907219" cy="891517"/>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9999"/>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dirty="0"/>
          </a:p>
        </p:txBody>
      </p:sp>
      <p:sp>
        <p:nvSpPr>
          <p:cNvPr id="48" name="TextBox 91"/>
          <p:cNvSpPr txBox="1"/>
          <p:nvPr/>
        </p:nvSpPr>
        <p:spPr>
          <a:xfrm flipH="1">
            <a:off x="122447" y="5598796"/>
            <a:ext cx="3743656" cy="313187"/>
          </a:xfrm>
          <a:prstGeom prst="rect">
            <a:avLst/>
          </a:prstGeom>
          <a:noFill/>
        </p:spPr>
        <p:txBody>
          <a:bodyPr wrap="square" lIns="0" tIns="35981" rIns="143925" bIns="0" rtlCol="0" anchor="b">
            <a:spAutoFit/>
          </a:bodyPr>
          <a:lstStyle/>
          <a:p>
            <a:pPr algn="ctr"/>
            <a:r>
              <a:rPr lang="en-US" sz="1799" b="1" dirty="0">
                <a:solidFill>
                  <a:srgbClr val="009999"/>
                </a:solidFill>
                <a:cs typeface="Arial" panose="020B0604020202020204" pitchFamily="34" charset="0"/>
              </a:rPr>
              <a:t>MindSphere Lib and APIs</a:t>
            </a:r>
          </a:p>
        </p:txBody>
      </p:sp>
      <p:sp>
        <p:nvSpPr>
          <p:cNvPr id="49" name="TextBox 91"/>
          <p:cNvSpPr txBox="1"/>
          <p:nvPr/>
        </p:nvSpPr>
        <p:spPr>
          <a:xfrm flipH="1">
            <a:off x="8131575" y="1812279"/>
            <a:ext cx="3650254" cy="313187"/>
          </a:xfrm>
          <a:prstGeom prst="rect">
            <a:avLst/>
          </a:prstGeom>
          <a:noFill/>
        </p:spPr>
        <p:txBody>
          <a:bodyPr wrap="square" lIns="0" tIns="0" rIns="143925" bIns="35981" rtlCol="0" anchor="b">
            <a:spAutoFit/>
          </a:bodyPr>
          <a:lstStyle/>
          <a:p>
            <a:pPr algn="r"/>
            <a:r>
              <a:rPr lang="en-US" sz="1799" b="1" dirty="0">
                <a:solidFill>
                  <a:srgbClr val="009999"/>
                </a:solidFill>
                <a:cs typeface="Arial" panose="020B0604020202020204" pitchFamily="34" charset="0"/>
              </a:rPr>
              <a:t>MindSphere IoT Connectors</a:t>
            </a:r>
          </a:p>
        </p:txBody>
      </p:sp>
      <p:sp>
        <p:nvSpPr>
          <p:cNvPr id="29" name="Freihandform 28"/>
          <p:cNvSpPr/>
          <p:nvPr/>
        </p:nvSpPr>
        <p:spPr bwMode="auto">
          <a:xfrm>
            <a:off x="6887676" y="4628781"/>
            <a:ext cx="4821976" cy="1301118"/>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9999"/>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dirty="0"/>
          </a:p>
        </p:txBody>
      </p:sp>
      <p:sp>
        <p:nvSpPr>
          <p:cNvPr id="30" name="Rechteck 29"/>
          <p:cNvSpPr/>
          <p:nvPr/>
        </p:nvSpPr>
        <p:spPr bwMode="auto">
          <a:xfrm>
            <a:off x="8471409" y="4605567"/>
            <a:ext cx="3238291" cy="1331307"/>
          </a:xfrm>
          <a:prstGeom prst="rect">
            <a:avLst/>
          </a:prstGeom>
          <a:noFill/>
          <a:ln w="19050" cap="flat" cmpd="sng" algn="ctr">
            <a:solidFill>
              <a:srgbClr val="009999"/>
            </a:solidFill>
            <a:prstDash val="solid"/>
            <a:miter lim="800000"/>
            <a:headEnd type="none" w="med" len="med"/>
            <a:tailEnd type="none" w="med" len="med"/>
          </a:ln>
          <a:effectLst/>
          <a:extLst>
            <a:ext uri="{909E8E84-426E-40DD-AFC4-6F175D3DCCD1}">
              <a14:hiddenFill xmlns:a14="http://schemas.microsoft.com/office/drawing/2010/main">
                <a:solidFill>
                  <a:srgbClr val="EBEB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pic>
        <p:nvPicPr>
          <p:cNvPr id="24883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38836" y="4688485"/>
            <a:ext cx="1894488" cy="4855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883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38836" y="5264249"/>
            <a:ext cx="1884608" cy="6242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TextBox 91"/>
          <p:cNvSpPr txBox="1"/>
          <p:nvPr/>
        </p:nvSpPr>
        <p:spPr>
          <a:xfrm flipH="1">
            <a:off x="8435424" y="4272157"/>
            <a:ext cx="3650254" cy="313187"/>
          </a:xfrm>
          <a:prstGeom prst="rect">
            <a:avLst/>
          </a:prstGeom>
          <a:noFill/>
        </p:spPr>
        <p:txBody>
          <a:bodyPr wrap="square" lIns="0" tIns="0" rIns="143925" bIns="35981" rtlCol="0" anchor="b">
            <a:spAutoFit/>
          </a:bodyPr>
          <a:lstStyle/>
          <a:p>
            <a:r>
              <a:rPr lang="de-DE" sz="1799" b="1" dirty="0">
                <a:solidFill>
                  <a:srgbClr val="009999"/>
                </a:solidFill>
                <a:cs typeface="Arial" panose="020B0604020202020204" pitchFamily="34" charset="0"/>
              </a:rPr>
              <a:t>3rd Party Connectivity</a:t>
            </a:r>
            <a:endParaRPr lang="en-US" sz="1799" b="1" dirty="0">
              <a:solidFill>
                <a:srgbClr val="009999"/>
              </a:solidFill>
              <a:cs typeface="Arial" panose="020B0604020202020204" pitchFamily="34" charset="0"/>
            </a:endParaRPr>
          </a:p>
        </p:txBody>
      </p:sp>
      <p:sp>
        <p:nvSpPr>
          <p:cNvPr id="3" name="Rechteck 2"/>
          <p:cNvSpPr/>
          <p:nvPr/>
        </p:nvSpPr>
        <p:spPr bwMode="auto">
          <a:xfrm>
            <a:off x="8039204" y="1558312"/>
            <a:ext cx="3958378" cy="2266526"/>
          </a:xfrm>
          <a:prstGeom prst="rect">
            <a:avLst/>
          </a:prstGeom>
          <a:solidFill>
            <a:srgbClr val="DFE6ED">
              <a:alpha val="30000"/>
            </a:srgbClr>
          </a:solidFill>
          <a:ln>
            <a:noFill/>
          </a:ln>
          <a:effectLst/>
          <a:extLst/>
        </p:spPr>
        <p:txBody>
          <a:bodyPr rtlCol="0" anchor="ctr"/>
          <a:lstStyle/>
          <a:p>
            <a:pPr algn="ctr"/>
            <a:endParaRPr lang="en-US" sz="1199" b="1" dirty="0" err="1"/>
          </a:p>
        </p:txBody>
      </p:sp>
    </p:spTree>
    <p:custDataLst>
      <p:tags r:id="rId1"/>
    </p:custDataLst>
    <p:extLst>
      <p:ext uri="{BB962C8B-B14F-4D97-AF65-F5344CB8AC3E}">
        <p14:creationId xmlns:p14="http://schemas.microsoft.com/office/powerpoint/2010/main" val="3164707032"/>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cdtRectangle 2 Id130050"/>
          <p:cNvSpPr>
            <a:spLocks noGrp="1" noChangeArrowheads="1"/>
          </p:cNvSpPr>
          <p:nvPr>
            <p:ph type="title"/>
          </p:nvPr>
        </p:nvSpPr>
        <p:spPr/>
        <p:txBody>
          <a:bodyPr/>
          <a:lstStyle/>
          <a:p>
            <a:pPr lvl="0">
              <a:defRPr/>
            </a:pPr>
            <a:r>
              <a:rPr lang="en-US" dirty="0" smtClean="0"/>
              <a:t>Connecting Assets to MindSphere (2.0)</a:t>
            </a:r>
            <a:br>
              <a:rPr lang="en-US" dirty="0" smtClean="0"/>
            </a:br>
            <a:endParaRPr lang="en-US" dirty="0"/>
          </a:p>
        </p:txBody>
      </p:sp>
      <p:sp>
        <p:nvSpPr>
          <p:cNvPr id="20" name="Ellipse 19"/>
          <p:cNvSpPr/>
          <p:nvPr/>
        </p:nvSpPr>
        <p:spPr bwMode="auto">
          <a:xfrm>
            <a:off x="6311737" y="2858921"/>
            <a:ext cx="1907007" cy="1908000"/>
          </a:xfrm>
          <a:prstGeom prst="ellipse">
            <a:avLst/>
          </a:prstGeom>
          <a:solidFill>
            <a:srgbClr val="28282C">
              <a:alpha val="85000"/>
            </a:srgbClr>
          </a:solidFill>
          <a:ln w="120650" cap="flat" cmpd="sng" algn="ctr">
            <a:noFill/>
            <a:prstDash val="solid"/>
            <a:miter lim="800000"/>
            <a:headEnd type="none" w="med" len="med"/>
            <a:tailEnd type="none" w="med" len="med"/>
          </a:ln>
          <a:effectLst/>
          <a:extLst/>
        </p:spPr>
        <p:txBody>
          <a:bodyPr wrap="square" lIns="0" tIns="54000" rIns="0" bIns="54000" numCol="1" spcCol="72000" rtlCol="0" anchor="ctr">
            <a:noAutofit/>
          </a:bodyPr>
          <a:lstStyle/>
          <a:p>
            <a:pPr algn="ctr" fontAlgn="base">
              <a:lnSpc>
                <a:spcPct val="110000"/>
              </a:lnSpc>
              <a:spcBef>
                <a:spcPct val="0"/>
              </a:spcBef>
              <a:spcAft>
                <a:spcPct val="0"/>
              </a:spcAft>
              <a:buFont typeface="Wingdings" charset="0"/>
              <a:buNone/>
            </a:pPr>
            <a:r>
              <a:rPr lang="en-US" sz="1600" b="1" dirty="0">
                <a:solidFill>
                  <a:srgbClr val="FFFFFF"/>
                </a:solidFill>
                <a:ea typeface="ＭＳ Ｐゴシック" charset="-128"/>
                <a:cs typeface="Arial" panose="020B0604020202020204" pitchFamily="34" charset="0"/>
              </a:rPr>
              <a:t>MindConnect</a:t>
            </a:r>
          </a:p>
        </p:txBody>
      </p:sp>
      <p:cxnSp>
        <p:nvCxnSpPr>
          <p:cNvPr id="9" name="Gerade Verbindung 8"/>
          <p:cNvCxnSpPr/>
          <p:nvPr/>
        </p:nvCxnSpPr>
        <p:spPr bwMode="auto">
          <a:xfrm flipH="1">
            <a:off x="12573346" y="5751250"/>
            <a:ext cx="0" cy="67086"/>
          </a:xfrm>
          <a:prstGeom prst="line">
            <a:avLst/>
          </a:prstGeom>
          <a:solidFill>
            <a:srgbClr val="000000"/>
          </a:solidFill>
          <a:ln w="9525" cap="flat" cmpd="sng" algn="ctr">
            <a:solidFill>
              <a:srgbClr val="879BAA"/>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3" name="Gruppieren 2"/>
          <p:cNvGrpSpPr/>
          <p:nvPr/>
        </p:nvGrpSpPr>
        <p:grpSpPr>
          <a:xfrm>
            <a:off x="8643431" y="1987039"/>
            <a:ext cx="835007" cy="936355"/>
            <a:chOff x="7539525" y="2279817"/>
            <a:chExt cx="835442" cy="936355"/>
          </a:xfrm>
        </p:grpSpPr>
        <p:sp>
          <p:nvSpPr>
            <p:cNvPr id="14" name="Textfeld 13"/>
            <p:cNvSpPr txBox="1"/>
            <p:nvPr/>
          </p:nvSpPr>
          <p:spPr>
            <a:xfrm>
              <a:off x="7562244" y="2877618"/>
              <a:ext cx="812723" cy="338554"/>
            </a:xfrm>
            <a:prstGeom prst="rect">
              <a:avLst/>
            </a:prstGeom>
            <a:noFill/>
          </p:spPr>
          <p:txBody>
            <a:bodyPr wrap="none" lIns="0" tIns="0" rIns="0" bIns="0" rtlCol="0">
              <a:spAutoFit/>
            </a:bodyPr>
            <a:lstStyle/>
            <a:p>
              <a:pPr fontAlgn="base">
                <a:lnSpc>
                  <a:spcPct val="110000"/>
                </a:lnSpc>
                <a:spcAft>
                  <a:spcPct val="0"/>
                </a:spcAft>
              </a:pPr>
              <a:r>
                <a:rPr lang="en-US" sz="1000" b="1" dirty="0" smtClean="0">
                  <a:solidFill>
                    <a:srgbClr val="3C464B"/>
                  </a:solidFill>
                  <a:ea typeface="ＭＳ Ｐゴシック" charset="-128"/>
                </a:rPr>
                <a:t>MindConnect</a:t>
              </a:r>
            </a:p>
            <a:p>
              <a:pPr algn="ctr" fontAlgn="base">
                <a:lnSpc>
                  <a:spcPct val="110000"/>
                </a:lnSpc>
                <a:spcAft>
                  <a:spcPct val="0"/>
                </a:spcAft>
              </a:pPr>
              <a:r>
                <a:rPr lang="en-US" sz="1000" b="1" dirty="0" smtClean="0">
                  <a:solidFill>
                    <a:srgbClr val="3C464B"/>
                  </a:solidFill>
                  <a:ea typeface="ＭＳ Ｐゴシック" charset="-128"/>
                </a:rPr>
                <a:t>Nano</a:t>
              </a:r>
              <a:endParaRPr lang="en-US" b="1" dirty="0" smtClean="0">
                <a:solidFill>
                  <a:srgbClr val="3C464B"/>
                </a:solidFill>
                <a:ea typeface="ＭＳ Ｐゴシック" charset="-128"/>
              </a:endParaRPr>
            </a:p>
          </p:txBody>
        </p:sp>
        <p:pic>
          <p:nvPicPr>
            <p:cNvPr id="17" name="Bild 11"/>
            <p:cNvPicPr>
              <a:picLocks noChangeAspect="1"/>
            </p:cNvPicPr>
            <p:nvPr/>
          </p:nvPicPr>
          <p:blipFill>
            <a:blip r:embed="rId4"/>
            <a:stretch>
              <a:fillRect/>
            </a:stretch>
          </p:blipFill>
          <p:spPr>
            <a:xfrm>
              <a:off x="7539525" y="2279817"/>
              <a:ext cx="824412" cy="602454"/>
            </a:xfrm>
            <a:prstGeom prst="rect">
              <a:avLst/>
            </a:prstGeom>
          </p:spPr>
        </p:pic>
      </p:grpSp>
      <p:grpSp>
        <p:nvGrpSpPr>
          <p:cNvPr id="5" name="Gruppieren 4"/>
          <p:cNvGrpSpPr/>
          <p:nvPr/>
        </p:nvGrpSpPr>
        <p:grpSpPr>
          <a:xfrm>
            <a:off x="9812911" y="1995202"/>
            <a:ext cx="812300" cy="920029"/>
            <a:chOff x="8958661" y="2296143"/>
            <a:chExt cx="812723" cy="920029"/>
          </a:xfrm>
        </p:grpSpPr>
        <p:sp>
          <p:nvSpPr>
            <p:cNvPr id="15" name="Textfeld 14"/>
            <p:cNvSpPr txBox="1"/>
            <p:nvPr/>
          </p:nvSpPr>
          <p:spPr>
            <a:xfrm>
              <a:off x="8958661" y="2877618"/>
              <a:ext cx="812723" cy="338554"/>
            </a:xfrm>
            <a:prstGeom prst="rect">
              <a:avLst/>
            </a:prstGeom>
            <a:noFill/>
          </p:spPr>
          <p:txBody>
            <a:bodyPr wrap="none" lIns="0" tIns="0" rIns="0" bIns="0" rtlCol="0">
              <a:spAutoFit/>
            </a:bodyPr>
            <a:lstStyle/>
            <a:p>
              <a:pPr fontAlgn="base">
                <a:lnSpc>
                  <a:spcPct val="110000"/>
                </a:lnSpc>
                <a:spcAft>
                  <a:spcPct val="0"/>
                </a:spcAft>
              </a:pPr>
              <a:r>
                <a:rPr lang="en-US" sz="1000" b="1" dirty="0" smtClean="0">
                  <a:solidFill>
                    <a:srgbClr val="3C464B"/>
                  </a:solidFill>
                  <a:ea typeface="ＭＳ Ｐゴシック" charset="-128"/>
                </a:rPr>
                <a:t>MindConnect</a:t>
              </a:r>
              <a:endParaRPr lang="en-US" b="1" dirty="0">
                <a:solidFill>
                  <a:srgbClr val="3C464B"/>
                </a:solidFill>
                <a:ea typeface="ＭＳ Ｐゴシック" charset="-128"/>
              </a:endParaRPr>
            </a:p>
            <a:p>
              <a:pPr algn="ctr" fontAlgn="base">
                <a:lnSpc>
                  <a:spcPct val="110000"/>
                </a:lnSpc>
                <a:spcAft>
                  <a:spcPct val="0"/>
                </a:spcAft>
              </a:pPr>
              <a:r>
                <a:rPr lang="en-US" sz="1000" b="1" dirty="0" smtClean="0">
                  <a:solidFill>
                    <a:srgbClr val="3C464B"/>
                  </a:solidFill>
                  <a:ea typeface="ＭＳ Ｐゴシック" charset="-128"/>
                </a:rPr>
                <a:t>IoT2040</a:t>
              </a:r>
            </a:p>
          </p:txBody>
        </p:sp>
        <p:pic>
          <p:nvPicPr>
            <p:cNvPr id="18" name="Bild 13"/>
            <p:cNvPicPr>
              <a:picLocks noChangeAspect="1"/>
            </p:cNvPicPr>
            <p:nvPr/>
          </p:nvPicPr>
          <p:blipFill>
            <a:blip r:embed="rId5"/>
            <a:stretch>
              <a:fillRect/>
            </a:stretch>
          </p:blipFill>
          <p:spPr>
            <a:xfrm>
              <a:off x="8962549" y="2296143"/>
              <a:ext cx="802891" cy="569819"/>
            </a:xfrm>
            <a:prstGeom prst="rect">
              <a:avLst/>
            </a:prstGeom>
          </p:spPr>
        </p:pic>
      </p:grpSp>
      <p:grpSp>
        <p:nvGrpSpPr>
          <p:cNvPr id="8" name="Gruppieren 7"/>
          <p:cNvGrpSpPr/>
          <p:nvPr/>
        </p:nvGrpSpPr>
        <p:grpSpPr>
          <a:xfrm>
            <a:off x="9981349" y="4698437"/>
            <a:ext cx="858226" cy="843363"/>
            <a:chOff x="10636908" y="2203532"/>
            <a:chExt cx="858673" cy="843363"/>
          </a:xfrm>
        </p:grpSpPr>
        <p:sp>
          <p:nvSpPr>
            <p:cNvPr id="19" name="TextBox 27"/>
            <p:cNvSpPr txBox="1"/>
            <p:nvPr/>
          </p:nvSpPr>
          <p:spPr>
            <a:xfrm>
              <a:off x="10636908" y="2863704"/>
              <a:ext cx="858673" cy="183191"/>
            </a:xfrm>
            <a:prstGeom prst="rect">
              <a:avLst/>
            </a:prstGeom>
            <a:noFill/>
          </p:spPr>
          <p:txBody>
            <a:bodyPr wrap="square" lIns="0" tIns="0" rIns="0" bIns="0" rtlCol="0">
              <a:noAutofit/>
            </a:bodyPr>
            <a:lstStyle/>
            <a:p>
              <a:pPr algn="ctr" fontAlgn="base">
                <a:lnSpc>
                  <a:spcPct val="110000"/>
                </a:lnSpc>
                <a:spcAft>
                  <a:spcPct val="0"/>
                </a:spcAft>
              </a:pPr>
              <a:r>
                <a:rPr lang="en-US" sz="1000" b="1" dirty="0" smtClean="0">
                  <a:solidFill>
                    <a:srgbClr val="3C464B"/>
                  </a:solidFill>
                  <a:ea typeface="ＭＳ Ｐゴシック" charset="-128"/>
                </a:rPr>
                <a:t>MindConnect</a:t>
              </a:r>
              <a:endParaRPr lang="en-US" sz="1000" b="1" dirty="0">
                <a:solidFill>
                  <a:srgbClr val="3C464B"/>
                </a:solidFill>
                <a:ea typeface="ＭＳ Ｐゴシック" charset="-128"/>
              </a:endParaRPr>
            </a:p>
            <a:p>
              <a:pPr algn="ctr" fontAlgn="base">
                <a:lnSpc>
                  <a:spcPct val="110000"/>
                </a:lnSpc>
                <a:spcAft>
                  <a:spcPct val="0"/>
                </a:spcAft>
              </a:pPr>
              <a:r>
                <a:rPr lang="en-US" sz="1000" b="1" dirty="0" smtClean="0">
                  <a:solidFill>
                    <a:srgbClr val="3C464B"/>
                  </a:solidFill>
                  <a:ea typeface="ＭＳ Ｐゴシック" charset="-128"/>
                </a:rPr>
                <a:t>FB 1500</a:t>
              </a:r>
              <a:endParaRPr lang="en-US" sz="1000" b="1" dirty="0">
                <a:solidFill>
                  <a:srgbClr val="3C464B"/>
                </a:solidFill>
                <a:ea typeface="ＭＳ Ｐゴシック" charset="-128"/>
              </a:endParaRPr>
            </a:p>
          </p:txBody>
        </p:sp>
        <p:pic>
          <p:nvPicPr>
            <p:cNvPr id="21" name="Bild 50"/>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724244" y="2203532"/>
              <a:ext cx="684000" cy="684000"/>
            </a:xfrm>
            <a:prstGeom prst="rect">
              <a:avLst/>
            </a:prstGeom>
          </p:spPr>
        </p:pic>
      </p:grpSp>
      <p:sp>
        <p:nvSpPr>
          <p:cNvPr id="25" name="Textfeld 24"/>
          <p:cNvSpPr txBox="1"/>
          <p:nvPr/>
        </p:nvSpPr>
        <p:spPr>
          <a:xfrm>
            <a:off x="8548415" y="5380979"/>
            <a:ext cx="1062791" cy="203133"/>
          </a:xfrm>
          <a:prstGeom prst="rect">
            <a:avLst/>
          </a:prstGeom>
          <a:noFill/>
        </p:spPr>
        <p:txBody>
          <a:bodyPr wrap="none" lIns="0" tIns="0" rIns="0" bIns="0" rtlCol="0">
            <a:spAutoFit/>
          </a:bodyPr>
          <a:lstStyle/>
          <a:p>
            <a:pPr fontAlgn="base">
              <a:lnSpc>
                <a:spcPct val="110000"/>
              </a:lnSpc>
              <a:spcAft>
                <a:spcPct val="0"/>
              </a:spcAft>
            </a:pPr>
            <a:r>
              <a:rPr lang="en-US" sz="1000" b="1" dirty="0" smtClean="0">
                <a:solidFill>
                  <a:srgbClr val="3C464B"/>
                </a:solidFill>
                <a:ea typeface="ＭＳ Ｐゴシック" charset="-128"/>
              </a:rPr>
              <a:t>MindConnect</a:t>
            </a:r>
            <a:r>
              <a:rPr lang="en-US" sz="1200" b="1" dirty="0" smtClean="0">
                <a:solidFill>
                  <a:srgbClr val="3C464B"/>
                </a:solidFill>
                <a:ea typeface="ＭＳ Ｐゴシック" charset="-128"/>
              </a:rPr>
              <a:t> </a:t>
            </a:r>
            <a:r>
              <a:rPr lang="en-US" sz="1000" b="1" dirty="0" smtClean="0">
                <a:solidFill>
                  <a:srgbClr val="3C464B"/>
                </a:solidFill>
                <a:ea typeface="ＭＳ Ｐゴシック" charset="-128"/>
              </a:rPr>
              <a:t>LIB</a:t>
            </a:r>
            <a:endParaRPr lang="en-US" sz="1200" b="1" dirty="0" smtClean="0">
              <a:solidFill>
                <a:srgbClr val="3C464B"/>
              </a:solidFill>
              <a:ea typeface="ＭＳ Ｐゴシック" charset="-128"/>
            </a:endParaRPr>
          </a:p>
        </p:txBody>
      </p:sp>
      <p:pic>
        <p:nvPicPr>
          <p:cNvPr id="27" name="Bild 83"/>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666138" y="4560247"/>
            <a:ext cx="812377" cy="812800"/>
          </a:xfrm>
          <a:prstGeom prst="rect">
            <a:avLst/>
          </a:prstGeom>
        </p:spPr>
      </p:pic>
      <p:sp>
        <p:nvSpPr>
          <p:cNvPr id="43" name="Rechteck 42"/>
          <p:cNvSpPr/>
          <p:nvPr/>
        </p:nvSpPr>
        <p:spPr>
          <a:xfrm>
            <a:off x="374345" y="1353087"/>
            <a:ext cx="5343487" cy="4992237"/>
          </a:xfrm>
          <a:prstGeom prst="rect">
            <a:avLst/>
          </a:prstGeom>
          <a:noFill/>
          <a:extLst>
            <a:ext uri="{909E8E84-426E-40DD-AFC4-6F175D3DCCD1}">
              <a14:hiddenFill xmlns:a14="http://schemas.microsoft.com/office/drawing/2010/main">
                <a:solidFill>
                  <a:srgbClr val="F5F5F0"/>
                </a:solidFill>
              </a14:hiddenFill>
            </a:ext>
          </a:extLst>
        </p:spPr>
        <p:txBody>
          <a:bodyPr wrap="square" lIns="108000" tIns="108000" rIns="108000" bIns="108000">
            <a:spAutoFit/>
          </a:bodyPr>
          <a:lstStyle/>
          <a:p>
            <a:pPr fontAlgn="base">
              <a:lnSpc>
                <a:spcPct val="110000"/>
              </a:lnSpc>
              <a:spcBef>
                <a:spcPts val="600"/>
              </a:spcBef>
              <a:spcAft>
                <a:spcPts val="600"/>
              </a:spcAft>
              <a:buClr>
                <a:srgbClr val="3BC0C4"/>
              </a:buClr>
            </a:pPr>
            <a:r>
              <a:rPr lang="en-US" sz="1600" dirty="0" smtClean="0">
                <a:solidFill>
                  <a:srgbClr val="000000"/>
                </a:solidFill>
                <a:ea typeface="ＭＳ Ｐゴシック" charset="-128"/>
              </a:rPr>
              <a:t>With MindConnect MindSphere provides </a:t>
            </a:r>
            <a:r>
              <a:rPr lang="en-US" sz="1600" dirty="0">
                <a:solidFill>
                  <a:srgbClr val="000000"/>
                </a:solidFill>
                <a:ea typeface="ＭＳ Ｐゴシック" charset="-128"/>
              </a:rPr>
              <a:t>multiple,</a:t>
            </a:r>
            <a:r>
              <a:rPr lang="en-US" sz="1600" dirty="0" smtClean="0">
                <a:solidFill>
                  <a:srgbClr val="000000"/>
                </a:solidFill>
                <a:ea typeface="ＭＳ Ｐゴシック" charset="-128"/>
              </a:rPr>
              <a:t> </a:t>
            </a:r>
            <a:r>
              <a:rPr lang="en-US" sz="1600" b="1" dirty="0" smtClean="0">
                <a:solidFill>
                  <a:srgbClr val="00646E"/>
                </a:solidFill>
                <a:ea typeface="ＭＳ Ｐゴシック" charset="-128"/>
              </a:rPr>
              <a:t>varied</a:t>
            </a:r>
            <a:r>
              <a:rPr lang="en-US" sz="1600" dirty="0" smtClean="0">
                <a:solidFill>
                  <a:srgbClr val="000000"/>
                </a:solidFill>
                <a:ea typeface="ＭＳ Ｐゴシック" charset="-128"/>
              </a:rPr>
              <a:t> and </a:t>
            </a:r>
            <a:r>
              <a:rPr lang="en-US" sz="1600" b="1" dirty="0">
                <a:solidFill>
                  <a:srgbClr val="00646E"/>
                </a:solidFill>
                <a:ea typeface="ＭＳ Ｐゴシック" charset="-128"/>
              </a:rPr>
              <a:t>easy-to-implement connectivity </a:t>
            </a:r>
            <a:r>
              <a:rPr lang="en-US" sz="1600" dirty="0" smtClean="0">
                <a:solidFill>
                  <a:srgbClr val="000000"/>
                </a:solidFill>
                <a:ea typeface="ＭＳ Ｐゴシック" charset="-128"/>
              </a:rPr>
              <a:t>solutions to </a:t>
            </a:r>
            <a:r>
              <a:rPr lang="en-US" sz="1600" b="1" dirty="0">
                <a:solidFill>
                  <a:srgbClr val="00646E"/>
                </a:solidFill>
                <a:ea typeface="ＭＳ Ｐゴシック" charset="-128"/>
              </a:rPr>
              <a:t>onboard</a:t>
            </a:r>
            <a:r>
              <a:rPr lang="en-US" sz="1600" dirty="0" smtClean="0">
                <a:solidFill>
                  <a:srgbClr val="000000"/>
                </a:solidFill>
                <a:ea typeface="ＭＳ Ｐゴシック" charset="-128"/>
              </a:rPr>
              <a:t> a </a:t>
            </a:r>
            <a:r>
              <a:rPr lang="en-US" sz="1600" b="1" dirty="0">
                <a:solidFill>
                  <a:srgbClr val="00646E"/>
                </a:solidFill>
                <a:ea typeface="ＭＳ Ｐゴシック" charset="-128"/>
              </a:rPr>
              <a:t>wide</a:t>
            </a:r>
            <a:r>
              <a:rPr lang="en-US" sz="1600" dirty="0" smtClean="0">
                <a:solidFill>
                  <a:srgbClr val="000000"/>
                </a:solidFill>
                <a:ea typeface="ＭＳ Ｐゴシック" charset="-128"/>
              </a:rPr>
              <a:t> </a:t>
            </a:r>
            <a:r>
              <a:rPr lang="en-US" sz="1600" b="1" dirty="0">
                <a:solidFill>
                  <a:srgbClr val="00646E"/>
                </a:solidFill>
                <a:ea typeface="ＭＳ Ｐゴシック" charset="-128"/>
              </a:rPr>
              <a:t>range</a:t>
            </a:r>
            <a:r>
              <a:rPr lang="en-US" sz="1600" dirty="0" smtClean="0">
                <a:solidFill>
                  <a:srgbClr val="000000"/>
                </a:solidFill>
                <a:ea typeface="ＭＳ Ｐゴシック" charset="-128"/>
              </a:rPr>
              <a:t> of </a:t>
            </a:r>
            <a:r>
              <a:rPr lang="en-US" sz="1600" b="1" dirty="0">
                <a:solidFill>
                  <a:srgbClr val="00646E"/>
                </a:solidFill>
                <a:ea typeface="ＭＳ Ｐゴシック" charset="-128"/>
              </a:rPr>
              <a:t>assets</a:t>
            </a:r>
            <a:r>
              <a:rPr lang="en-US" sz="1600" dirty="0" smtClean="0">
                <a:solidFill>
                  <a:srgbClr val="000000"/>
                </a:solidFill>
                <a:ea typeface="ＭＳ Ｐゴシック" charset="-128"/>
              </a:rPr>
              <a:t> (</a:t>
            </a:r>
            <a:r>
              <a:rPr lang="en-US" sz="1600" b="1" dirty="0">
                <a:solidFill>
                  <a:srgbClr val="00646E"/>
                </a:solidFill>
                <a:ea typeface="ＭＳ Ｐゴシック" charset="-128"/>
              </a:rPr>
              <a:t>Siemens</a:t>
            </a:r>
            <a:r>
              <a:rPr lang="en-US" sz="1600" dirty="0" smtClean="0">
                <a:solidFill>
                  <a:srgbClr val="000000"/>
                </a:solidFill>
                <a:ea typeface="ＭＳ Ｐゴシック" charset="-128"/>
              </a:rPr>
              <a:t> and </a:t>
            </a:r>
            <a:r>
              <a:rPr lang="en-US" sz="1600" b="1" dirty="0">
                <a:solidFill>
                  <a:srgbClr val="00646E"/>
                </a:solidFill>
                <a:ea typeface="ＭＳ Ｐゴシック" charset="-128"/>
              </a:rPr>
              <a:t>3rd-party</a:t>
            </a:r>
            <a:r>
              <a:rPr lang="en-US" sz="1600" dirty="0" smtClean="0">
                <a:solidFill>
                  <a:srgbClr val="000000"/>
                </a:solidFill>
                <a:ea typeface="ＭＳ Ｐゴシック" charset="-128"/>
              </a:rPr>
              <a:t>) in </a:t>
            </a:r>
            <a:r>
              <a:rPr lang="en-US" sz="1600" dirty="0">
                <a:solidFill>
                  <a:srgbClr val="000000"/>
                </a:solidFill>
                <a:ea typeface="ＭＳ Ｐゴシック" charset="-128"/>
              </a:rPr>
              <a:t>both</a:t>
            </a:r>
            <a:r>
              <a:rPr lang="en-US" sz="1600" dirty="0" smtClean="0">
                <a:solidFill>
                  <a:srgbClr val="000000"/>
                </a:solidFill>
                <a:ea typeface="ＭＳ Ｐゴシック" charset="-128"/>
              </a:rPr>
              <a:t> </a:t>
            </a:r>
            <a:r>
              <a:rPr lang="en-US" sz="1600" b="1" dirty="0">
                <a:solidFill>
                  <a:srgbClr val="00646E"/>
                </a:solidFill>
                <a:ea typeface="ＭＳ Ｐゴシック" charset="-128"/>
              </a:rPr>
              <a:t>brown- and greenfield</a:t>
            </a:r>
            <a:r>
              <a:rPr lang="en-US" sz="1600" dirty="0" smtClean="0">
                <a:solidFill>
                  <a:srgbClr val="000000"/>
                </a:solidFill>
                <a:ea typeface="ＭＳ Ｐゴシック" charset="-128"/>
              </a:rPr>
              <a:t>:</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600" dirty="0" smtClean="0">
                <a:solidFill>
                  <a:srgbClr val="000000"/>
                </a:solidFill>
                <a:ea typeface="ＭＳ Ｐゴシック" charset="-128"/>
              </a:rPr>
              <a:t>Focusing on brownfield installations, dedicated </a:t>
            </a:r>
            <a:r>
              <a:rPr lang="en-US" sz="1600" dirty="0" err="1">
                <a:solidFill>
                  <a:srgbClr val="000000"/>
                </a:solidFill>
                <a:ea typeface="ＭＳ Ｐゴシック" charset="-128"/>
              </a:rPr>
              <a:t>IoT</a:t>
            </a:r>
            <a:r>
              <a:rPr lang="en-US" sz="1600" dirty="0">
                <a:solidFill>
                  <a:srgbClr val="000000"/>
                </a:solidFill>
                <a:ea typeface="ＭＳ Ｐゴシック" charset="-128"/>
              </a:rPr>
              <a:t> Connectors </a:t>
            </a:r>
            <a:r>
              <a:rPr lang="en-US" sz="1600" dirty="0" smtClean="0">
                <a:solidFill>
                  <a:srgbClr val="000000"/>
                </a:solidFill>
                <a:ea typeface="ＭＳ Ｐゴシック" charset="-128"/>
              </a:rPr>
              <a:t>like </a:t>
            </a:r>
            <a:r>
              <a:rPr lang="en-US" sz="1600" b="1" dirty="0">
                <a:solidFill>
                  <a:srgbClr val="00646E"/>
                </a:solidFill>
                <a:ea typeface="ＭＳ Ｐゴシック" charset="-128"/>
              </a:rPr>
              <a:t>MindConnect Nano </a:t>
            </a:r>
            <a:r>
              <a:rPr lang="en-US" sz="1600" dirty="0">
                <a:solidFill>
                  <a:srgbClr val="000000"/>
                </a:solidFill>
                <a:ea typeface="ＭＳ Ｐゴシック" charset="-128"/>
              </a:rPr>
              <a:t>and </a:t>
            </a:r>
            <a:r>
              <a:rPr lang="en-US" sz="1600" b="1" dirty="0">
                <a:solidFill>
                  <a:srgbClr val="00646E"/>
                </a:solidFill>
                <a:ea typeface="ＭＳ Ｐゴシック" charset="-128"/>
              </a:rPr>
              <a:t>MindConnect IoT2040</a:t>
            </a:r>
            <a:r>
              <a:rPr lang="en-US" sz="1600" dirty="0" smtClean="0">
                <a:solidFill>
                  <a:srgbClr val="000000"/>
                </a:solidFill>
                <a:ea typeface="ＭＳ Ｐゴシック" charset="-128"/>
              </a:rPr>
              <a:t>, which provide </a:t>
            </a:r>
            <a:r>
              <a:rPr lang="en-US" sz="1600" b="1" dirty="0">
                <a:solidFill>
                  <a:srgbClr val="00646E"/>
                </a:solidFill>
                <a:ea typeface="ＭＳ Ｐゴシック" charset="-128"/>
              </a:rPr>
              <a:t>plug and play </a:t>
            </a:r>
            <a:r>
              <a:rPr lang="en-US" sz="1600" dirty="0">
                <a:solidFill>
                  <a:srgbClr val="000000"/>
                </a:solidFill>
                <a:ea typeface="ＭＳ Ｐゴシック" charset="-128"/>
              </a:rPr>
              <a:t>connection of Siemens and 3rd party </a:t>
            </a:r>
            <a:r>
              <a:rPr lang="en-US" sz="1600" dirty="0" smtClean="0">
                <a:solidFill>
                  <a:srgbClr val="000000"/>
                </a:solidFill>
                <a:ea typeface="ＭＳ Ｐゴシック" charset="-128"/>
              </a:rPr>
              <a:t>products thanks to communication via </a:t>
            </a:r>
            <a:r>
              <a:rPr lang="en-US" sz="1600" b="1" dirty="0">
                <a:solidFill>
                  <a:srgbClr val="00646E"/>
                </a:solidFill>
                <a:ea typeface="ＭＳ Ｐゴシック" charset="-128"/>
              </a:rPr>
              <a:t>open</a:t>
            </a:r>
            <a:r>
              <a:rPr lang="en-US" sz="1600" dirty="0" smtClean="0">
                <a:solidFill>
                  <a:srgbClr val="00646E"/>
                </a:solidFill>
                <a:ea typeface="ＭＳ Ｐゴシック" charset="-128"/>
              </a:rPr>
              <a:t> </a:t>
            </a:r>
            <a:r>
              <a:rPr lang="en-US" sz="1600" b="1" dirty="0">
                <a:solidFill>
                  <a:srgbClr val="00646E"/>
                </a:solidFill>
                <a:ea typeface="ＭＳ Ｐゴシック" charset="-128"/>
              </a:rPr>
              <a:t>standards</a:t>
            </a:r>
            <a:r>
              <a:rPr lang="en-US" sz="1600" dirty="0" smtClean="0">
                <a:solidFill>
                  <a:srgbClr val="00646E"/>
                </a:solidFill>
                <a:ea typeface="ＭＳ Ｐゴシック" charset="-128"/>
              </a:rPr>
              <a:t> </a:t>
            </a:r>
            <a:r>
              <a:rPr lang="en-US" sz="1600" dirty="0" smtClean="0">
                <a:solidFill>
                  <a:srgbClr val="000000"/>
                </a:solidFill>
                <a:ea typeface="ＭＳ Ｐゴシック" charset="-128"/>
              </a:rPr>
              <a:t>like OPC UA</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600" dirty="0" smtClean="0">
                <a:solidFill>
                  <a:srgbClr val="000000"/>
                </a:solidFill>
                <a:ea typeface="ＭＳ Ｐゴシック" charset="-128"/>
              </a:rPr>
              <a:t>MindConnect </a:t>
            </a:r>
            <a:r>
              <a:rPr lang="en-US" sz="1600" b="1" dirty="0" smtClean="0">
                <a:solidFill>
                  <a:srgbClr val="00646E"/>
                </a:solidFill>
                <a:ea typeface="ＭＳ Ｐゴシック" charset="-128"/>
              </a:rPr>
              <a:t>embedded</a:t>
            </a:r>
            <a:r>
              <a:rPr lang="en-US" sz="1600" dirty="0" smtClean="0">
                <a:solidFill>
                  <a:srgbClr val="000000"/>
                </a:solidFill>
                <a:ea typeface="ＭＳ Ｐゴシック" charset="-128"/>
              </a:rPr>
              <a:t> agents in </a:t>
            </a:r>
            <a:r>
              <a:rPr lang="en-US" sz="1600" b="1" dirty="0" smtClean="0">
                <a:solidFill>
                  <a:srgbClr val="00646E"/>
                </a:solidFill>
                <a:ea typeface="ＭＳ Ｐゴシック" charset="-128"/>
              </a:rPr>
              <a:t>Siemens</a:t>
            </a:r>
            <a:r>
              <a:rPr lang="en-US" sz="1600" dirty="0" smtClean="0">
                <a:solidFill>
                  <a:srgbClr val="000000"/>
                </a:solidFill>
                <a:ea typeface="ＭＳ Ｐゴシック" charset="-128"/>
              </a:rPr>
              <a:t> </a:t>
            </a:r>
            <a:r>
              <a:rPr lang="en-US" sz="1600" b="1" dirty="0" smtClean="0">
                <a:solidFill>
                  <a:srgbClr val="00646E"/>
                </a:solidFill>
                <a:ea typeface="ＭＳ Ｐゴシック" charset="-128"/>
              </a:rPr>
              <a:t>industrial</a:t>
            </a:r>
            <a:r>
              <a:rPr lang="en-US" sz="1600" dirty="0" smtClean="0">
                <a:solidFill>
                  <a:srgbClr val="000000"/>
                </a:solidFill>
                <a:ea typeface="ＭＳ Ｐゴシック" charset="-128"/>
              </a:rPr>
              <a:t> </a:t>
            </a:r>
            <a:r>
              <a:rPr lang="en-US" sz="1600" b="1" dirty="0" smtClean="0">
                <a:solidFill>
                  <a:srgbClr val="00646E"/>
                </a:solidFill>
                <a:ea typeface="ＭＳ Ｐゴシック" charset="-128"/>
              </a:rPr>
              <a:t>products</a:t>
            </a:r>
            <a:r>
              <a:rPr lang="en-US" sz="1600" dirty="0" smtClean="0">
                <a:solidFill>
                  <a:srgbClr val="000000"/>
                </a:solidFill>
                <a:ea typeface="ＭＳ Ｐゴシック" charset="-128"/>
              </a:rPr>
              <a:t> like SIMATIC and SINUMERIK focusing on greenfield projects</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600" dirty="0" smtClean="0">
                <a:solidFill>
                  <a:srgbClr val="000000"/>
                </a:solidFill>
                <a:ea typeface="ＭＳ Ｐゴシック" charset="-128"/>
              </a:rPr>
              <a:t>For every further product, including 3</a:t>
            </a:r>
            <a:r>
              <a:rPr lang="en-US" sz="1600" baseline="30000" dirty="0" smtClean="0">
                <a:solidFill>
                  <a:srgbClr val="000000"/>
                </a:solidFill>
                <a:ea typeface="ＭＳ Ｐゴシック" charset="-128"/>
              </a:rPr>
              <a:t>rd</a:t>
            </a:r>
            <a:r>
              <a:rPr lang="en-US" sz="1600" dirty="0" smtClean="0">
                <a:solidFill>
                  <a:srgbClr val="000000"/>
                </a:solidFill>
                <a:ea typeface="ＭＳ Ｐゴシック" charset="-128"/>
              </a:rPr>
              <a:t>-party, </a:t>
            </a:r>
            <a:r>
              <a:rPr lang="en-US" sz="1600" b="1" dirty="0">
                <a:solidFill>
                  <a:srgbClr val="00646E"/>
                </a:solidFill>
                <a:ea typeface="ＭＳ Ｐゴシック" charset="-128"/>
              </a:rPr>
              <a:t>MindConnect</a:t>
            </a:r>
            <a:r>
              <a:rPr lang="en-US" sz="1600" dirty="0" smtClean="0">
                <a:solidFill>
                  <a:srgbClr val="000000"/>
                </a:solidFill>
                <a:ea typeface="ＭＳ Ｐゴシック" charset="-128"/>
              </a:rPr>
              <a:t> </a:t>
            </a:r>
            <a:r>
              <a:rPr lang="en-US" sz="1600" b="1" dirty="0">
                <a:solidFill>
                  <a:srgbClr val="00646E"/>
                </a:solidFill>
                <a:ea typeface="ＭＳ Ｐゴシック" charset="-128"/>
              </a:rPr>
              <a:t>LIB</a:t>
            </a:r>
            <a:r>
              <a:rPr lang="en-US" sz="1600" dirty="0" smtClean="0">
                <a:solidFill>
                  <a:srgbClr val="000000"/>
                </a:solidFill>
                <a:ea typeface="ＭＳ Ｐゴシック" charset="-128"/>
              </a:rPr>
              <a:t>, which enables </a:t>
            </a:r>
            <a:r>
              <a:rPr lang="en-US" sz="1600" b="1" dirty="0">
                <a:solidFill>
                  <a:srgbClr val="00646E"/>
                </a:solidFill>
                <a:ea typeface="ＭＳ Ｐゴシック" charset="-128"/>
              </a:rPr>
              <a:t>self</a:t>
            </a:r>
            <a:r>
              <a:rPr lang="en-US" sz="1600" dirty="0" smtClean="0">
                <a:solidFill>
                  <a:srgbClr val="000000"/>
                </a:solidFill>
                <a:ea typeface="ＭＳ Ｐゴシック" charset="-128"/>
              </a:rPr>
              <a:t> </a:t>
            </a:r>
            <a:r>
              <a:rPr lang="en-US" sz="1600" b="1" dirty="0">
                <a:solidFill>
                  <a:srgbClr val="00646E"/>
                </a:solidFill>
                <a:ea typeface="ＭＳ Ｐゴシック" charset="-128"/>
              </a:rPr>
              <a:t>programming</a:t>
            </a:r>
            <a:r>
              <a:rPr lang="en-US" sz="1600" dirty="0" smtClean="0">
                <a:solidFill>
                  <a:srgbClr val="000000"/>
                </a:solidFill>
                <a:ea typeface="ＭＳ Ｐゴシック" charset="-128"/>
              </a:rPr>
              <a:t> of </a:t>
            </a:r>
            <a:r>
              <a:rPr lang="en-US" sz="1600" b="1" dirty="0">
                <a:solidFill>
                  <a:srgbClr val="00646E"/>
                </a:solidFill>
                <a:ea typeface="ＭＳ Ｐゴシック" charset="-128"/>
              </a:rPr>
              <a:t>connectivity</a:t>
            </a:r>
            <a:r>
              <a:rPr lang="en-US" sz="1600" dirty="0" smtClean="0">
                <a:solidFill>
                  <a:srgbClr val="000000"/>
                </a:solidFill>
                <a:ea typeface="ＭＳ Ｐゴシック" charset="-128"/>
              </a:rPr>
              <a:t> </a:t>
            </a:r>
            <a:r>
              <a:rPr lang="en-US" sz="1600" b="1" dirty="0">
                <a:solidFill>
                  <a:srgbClr val="00646E"/>
                </a:solidFill>
                <a:ea typeface="ＭＳ Ｐゴシック" charset="-128"/>
              </a:rPr>
              <a:t>modules</a:t>
            </a:r>
            <a:r>
              <a:rPr lang="en-US" sz="1600" dirty="0" smtClean="0">
                <a:solidFill>
                  <a:srgbClr val="000000"/>
                </a:solidFill>
                <a:ea typeface="ＭＳ Ｐゴシック" charset="-128"/>
              </a:rPr>
              <a:t> by interacting with the MindSphere southbound APIs</a:t>
            </a:r>
          </a:p>
        </p:txBody>
      </p:sp>
      <p:sp>
        <p:nvSpPr>
          <p:cNvPr id="46" name="Freihandform 45"/>
          <p:cNvSpPr/>
          <p:nvPr/>
        </p:nvSpPr>
        <p:spPr bwMode="auto">
          <a:xfrm flipV="1">
            <a:off x="7758972" y="1884015"/>
            <a:ext cx="3957939" cy="1104958"/>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646E"/>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50000"/>
              </a:spcBef>
              <a:spcAft>
                <a:spcPct val="0"/>
              </a:spcAft>
            </a:pPr>
            <a:endParaRPr lang="en-US" dirty="0">
              <a:solidFill>
                <a:srgbClr val="000000"/>
              </a:solidFill>
            </a:endParaRPr>
          </a:p>
        </p:txBody>
      </p:sp>
      <p:sp>
        <p:nvSpPr>
          <p:cNvPr id="47" name="Freihandform 46"/>
          <p:cNvSpPr/>
          <p:nvPr/>
        </p:nvSpPr>
        <p:spPr bwMode="auto">
          <a:xfrm>
            <a:off x="7758972" y="4620395"/>
            <a:ext cx="3957939" cy="1104958"/>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646E"/>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50000"/>
              </a:spcBef>
              <a:spcAft>
                <a:spcPct val="0"/>
              </a:spcAft>
            </a:pPr>
            <a:endParaRPr lang="en-US" dirty="0">
              <a:solidFill>
                <a:srgbClr val="000000"/>
              </a:solidFill>
            </a:endParaRPr>
          </a:p>
        </p:txBody>
      </p:sp>
      <p:sp>
        <p:nvSpPr>
          <p:cNvPr id="48" name="TextBox 91"/>
          <p:cNvSpPr txBox="1"/>
          <p:nvPr/>
        </p:nvSpPr>
        <p:spPr>
          <a:xfrm flipH="1">
            <a:off x="8120690" y="5733953"/>
            <a:ext cx="3743656" cy="313350"/>
          </a:xfrm>
          <a:prstGeom prst="rect">
            <a:avLst/>
          </a:prstGeom>
          <a:noFill/>
        </p:spPr>
        <p:txBody>
          <a:bodyPr wrap="square" lIns="0" tIns="36000" rIns="144000" bIns="0" rtlCol="0" anchor="b">
            <a:spAutoFit/>
          </a:bodyPr>
          <a:lstStyle/>
          <a:p>
            <a:pPr algn="r" fontAlgn="base">
              <a:spcBef>
                <a:spcPct val="50000"/>
              </a:spcBef>
              <a:spcAft>
                <a:spcPct val="0"/>
              </a:spcAft>
            </a:pPr>
            <a:r>
              <a:rPr lang="en-US" b="1" dirty="0" smtClean="0">
                <a:solidFill>
                  <a:srgbClr val="00646E"/>
                </a:solidFill>
                <a:ea typeface="ＭＳ Ｐゴシック" charset="-128"/>
              </a:rPr>
              <a:t>Software/ Embedded Solutions</a:t>
            </a:r>
            <a:endParaRPr lang="en-US" b="1" dirty="0">
              <a:solidFill>
                <a:srgbClr val="00646E"/>
              </a:solidFill>
              <a:ea typeface="ＭＳ Ｐゴシック" charset="-128"/>
            </a:endParaRPr>
          </a:p>
        </p:txBody>
      </p:sp>
      <p:sp>
        <p:nvSpPr>
          <p:cNvPr id="49" name="TextBox 91"/>
          <p:cNvSpPr txBox="1"/>
          <p:nvPr/>
        </p:nvSpPr>
        <p:spPr>
          <a:xfrm flipH="1">
            <a:off x="8203216" y="1556792"/>
            <a:ext cx="3650254" cy="313350"/>
          </a:xfrm>
          <a:prstGeom prst="rect">
            <a:avLst/>
          </a:prstGeom>
          <a:noFill/>
        </p:spPr>
        <p:txBody>
          <a:bodyPr wrap="square" lIns="0" tIns="0" rIns="144000" bIns="36000" rtlCol="0" anchor="b">
            <a:spAutoFit/>
          </a:bodyPr>
          <a:lstStyle/>
          <a:p>
            <a:pPr algn="r" fontAlgn="base">
              <a:spcBef>
                <a:spcPct val="50000"/>
              </a:spcBef>
              <a:spcAft>
                <a:spcPct val="0"/>
              </a:spcAft>
            </a:pPr>
            <a:r>
              <a:rPr lang="en-US" b="1" dirty="0" smtClean="0">
                <a:solidFill>
                  <a:srgbClr val="00646E"/>
                </a:solidFill>
                <a:ea typeface="ＭＳ Ｐゴシック" charset="-128"/>
              </a:rPr>
              <a:t>Hardware Solutions</a:t>
            </a:r>
            <a:endParaRPr lang="en-US" b="1" dirty="0">
              <a:solidFill>
                <a:srgbClr val="00646E"/>
              </a:solidFill>
              <a:ea typeface="ＭＳ Ｐゴシック" charset="-128"/>
            </a:endParaRPr>
          </a:p>
        </p:txBody>
      </p:sp>
    </p:spTree>
    <p:custDataLst>
      <p:tags r:id="rId1"/>
    </p:custDataLst>
    <p:extLst>
      <p:ext uri="{BB962C8B-B14F-4D97-AF65-F5344CB8AC3E}">
        <p14:creationId xmlns:p14="http://schemas.microsoft.com/office/powerpoint/2010/main" val="2528932535"/>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186258" y="1437894"/>
            <a:ext cx="11731194" cy="792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a:lnSpc>
                <a:spcPct val="110000"/>
              </a:lnSpc>
              <a:spcBef>
                <a:spcPct val="0"/>
              </a:spcBef>
            </a:pPr>
            <a:r>
              <a:rPr lang="en-US" sz="1400" dirty="0">
                <a:solidFill>
                  <a:schemeClr val="tx1"/>
                </a:solidFill>
              </a:rPr>
              <a:t>MindConnect Nano is a device for collecting data using different protocols and transferring the data to MindSphere. The device supports transmission of data through a secure internet connection, to enable cloud-based applications and services. </a:t>
            </a:r>
          </a:p>
        </p:txBody>
      </p:sp>
      <p:sp>
        <p:nvSpPr>
          <p:cNvPr id="2" name="Titel 1"/>
          <p:cNvSpPr>
            <a:spLocks noGrp="1"/>
          </p:cNvSpPr>
          <p:nvPr>
            <p:ph type="title"/>
          </p:nvPr>
        </p:nvSpPr>
        <p:spPr/>
        <p:txBody>
          <a:bodyPr/>
          <a:lstStyle/>
          <a:p>
            <a:r>
              <a:rPr lang="en-US" dirty="0" smtClean="0"/>
              <a:t>MindSphere Connectivity Suite</a:t>
            </a:r>
            <a:br>
              <a:rPr lang="en-US" dirty="0" smtClean="0"/>
            </a:br>
            <a:r>
              <a:rPr lang="en-US" b="0" dirty="0" smtClean="0"/>
              <a:t>MindConnect Nano</a:t>
            </a:r>
            <a:endParaRPr lang="en-US" b="0" dirty="0"/>
          </a:p>
        </p:txBody>
      </p:sp>
      <p:sp>
        <p:nvSpPr>
          <p:cNvPr id="10" name="Rechteck 9"/>
          <p:cNvSpPr/>
          <p:nvPr>
            <p:custDataLst>
              <p:tags r:id="rId1"/>
            </p:custDataLst>
          </p:nvPr>
        </p:nvSpPr>
        <p:spPr bwMode="auto">
          <a:xfrm>
            <a:off x="186258" y="2389673"/>
            <a:ext cx="11731194" cy="1728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Fast and easy connectivity of industrial machines and automation systems to MindSphere</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collection via standard industrial protocols </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Software </a:t>
            </a:r>
            <a:r>
              <a:rPr lang="en-US" sz="1400" dirty="0" smtClean="0">
                <a:solidFill>
                  <a:schemeClr val="tx1"/>
                </a:solidFill>
              </a:rPr>
              <a:t>update management </a:t>
            </a:r>
            <a:r>
              <a:rPr lang="en-US" sz="1400" dirty="0">
                <a:solidFill>
                  <a:schemeClr val="tx1"/>
                </a:solidFill>
              </a:rPr>
              <a:t>– Always up to date</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Rugged design for maintenance-free, continuous operation</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Comprehensive security concept in accordance with applicable industry standards</a:t>
            </a:r>
          </a:p>
          <a:p>
            <a:pPr marL="93663" lvl="1" indent="-92075">
              <a:lnSpc>
                <a:spcPct val="110000"/>
              </a:lnSpc>
              <a:spcBef>
                <a:spcPts val="0"/>
              </a:spcBef>
              <a:buClr>
                <a:srgbClr val="00646E"/>
              </a:buClr>
              <a:buSzPts val="1400"/>
              <a:buFont typeface="Arial" panose="020B0604020202020204" pitchFamily="34" charset="0"/>
              <a:buChar char="•"/>
            </a:pPr>
            <a:r>
              <a:rPr lang="de-DE" sz="1400" dirty="0" err="1">
                <a:solidFill>
                  <a:schemeClr val="tx1"/>
                </a:solidFill>
              </a:rPr>
              <a:t>Up</a:t>
            </a:r>
            <a:r>
              <a:rPr lang="de-DE" sz="1400" dirty="0">
                <a:solidFill>
                  <a:schemeClr val="tx1"/>
                </a:solidFill>
              </a:rPr>
              <a:t> </a:t>
            </a:r>
            <a:r>
              <a:rPr lang="de-DE" sz="1400" dirty="0" err="1">
                <a:solidFill>
                  <a:schemeClr val="tx1"/>
                </a:solidFill>
              </a:rPr>
              <a:t>to</a:t>
            </a:r>
            <a:r>
              <a:rPr lang="de-DE" sz="1400" dirty="0">
                <a:solidFill>
                  <a:schemeClr val="tx1"/>
                </a:solidFill>
              </a:rPr>
              <a:t> </a:t>
            </a:r>
            <a:r>
              <a:rPr lang="de-DE" sz="1400" dirty="0" smtClean="0">
                <a:solidFill>
                  <a:schemeClr val="tx1"/>
                </a:solidFill>
              </a:rPr>
              <a:t>500MB </a:t>
            </a:r>
            <a:r>
              <a:rPr lang="de-DE" sz="1400" dirty="0" err="1" smtClean="0">
                <a:solidFill>
                  <a:schemeClr val="tx1"/>
                </a:solidFill>
              </a:rPr>
              <a:t>local</a:t>
            </a:r>
            <a:r>
              <a:rPr lang="de-DE" sz="1400" dirty="0" smtClean="0">
                <a:solidFill>
                  <a:schemeClr val="tx1"/>
                </a:solidFill>
              </a:rPr>
              <a:t> </a:t>
            </a:r>
            <a:r>
              <a:rPr lang="de-DE" sz="1400" dirty="0" err="1">
                <a:solidFill>
                  <a:schemeClr val="tx1"/>
                </a:solidFill>
              </a:rPr>
              <a:t>data</a:t>
            </a:r>
            <a:r>
              <a:rPr lang="de-DE" sz="1400" dirty="0">
                <a:solidFill>
                  <a:schemeClr val="tx1"/>
                </a:solidFill>
              </a:rPr>
              <a:t> </a:t>
            </a:r>
            <a:r>
              <a:rPr lang="de-DE" sz="1400" dirty="0" err="1">
                <a:solidFill>
                  <a:schemeClr val="tx1"/>
                </a:solidFill>
              </a:rPr>
              <a:t>buffer</a:t>
            </a:r>
            <a:endParaRPr lang="de-DE" sz="1400" dirty="0">
              <a:solidFill>
                <a:schemeClr val="tx1"/>
              </a:solidFill>
            </a:endParaRPr>
          </a:p>
        </p:txBody>
      </p:sp>
      <p:sp>
        <p:nvSpPr>
          <p:cNvPr id="14" name="Rechteck 13"/>
          <p:cNvSpPr/>
          <p:nvPr>
            <p:custDataLst>
              <p:tags r:id="rId2"/>
            </p:custDataLst>
          </p:nvPr>
        </p:nvSpPr>
        <p:spPr bwMode="auto">
          <a:xfrm>
            <a:off x="215371" y="4277452"/>
            <a:ext cx="11731194" cy="108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smtClean="0">
                <a:solidFill>
                  <a:schemeClr val="tx1"/>
                </a:solidFill>
              </a:rPr>
              <a:t>Siemens </a:t>
            </a:r>
            <a:r>
              <a:rPr lang="en-US" sz="1400" dirty="0">
                <a:solidFill>
                  <a:schemeClr val="tx1"/>
                </a:solidFill>
              </a:rPr>
              <a:t>S7 (for collecting data from S7-3xx  / S7-4xx / ET-200s  PLCs); </a:t>
            </a:r>
          </a:p>
          <a:p>
            <a:pPr marL="93663" lvl="1" indent="-92075">
              <a:lnSpc>
                <a:spcPct val="110000"/>
              </a:lnSpc>
              <a:spcBef>
                <a:spcPts val="0"/>
              </a:spcBef>
              <a:buClr>
                <a:srgbClr val="00646E"/>
              </a:buClr>
              <a:buSzPts val="1400"/>
              <a:buFont typeface="Arial" panose="020B0604020202020204" pitchFamily="34" charset="0"/>
              <a:buChar char="•"/>
            </a:pPr>
            <a:r>
              <a:rPr lang="en-US" sz="1400" dirty="0" smtClean="0">
                <a:solidFill>
                  <a:schemeClr val="tx1"/>
                </a:solidFill>
              </a:rPr>
              <a:t>OPC </a:t>
            </a:r>
            <a:r>
              <a:rPr lang="en-US" sz="1400" dirty="0">
                <a:solidFill>
                  <a:schemeClr val="tx1"/>
                </a:solidFill>
              </a:rPr>
              <a:t>UA (for collecting data from all data sources which can provide data via an OPC UA server); the MindSphere Nano supports data collection with Part 8 of the OPC UA specification (Data Access</a:t>
            </a:r>
            <a:r>
              <a:rPr lang="en-US" sz="1400" dirty="0" smtClean="0">
                <a:solidFill>
                  <a:schemeClr val="tx1"/>
                </a:solidFill>
              </a:rPr>
              <a:t>)</a:t>
            </a:r>
            <a:endParaRPr lang="en-US" sz="1400" dirty="0">
              <a:solidFill>
                <a:schemeClr val="tx1"/>
              </a:solidFill>
            </a:endParaRPr>
          </a:p>
          <a:p>
            <a:pPr marL="93663" lvl="1" indent="-92075">
              <a:lnSpc>
                <a:spcPct val="110000"/>
              </a:lnSpc>
              <a:spcBef>
                <a:spcPts val="0"/>
              </a:spcBef>
              <a:buClr>
                <a:srgbClr val="00646E"/>
              </a:buClr>
              <a:buSzPts val="1400"/>
              <a:buFont typeface="Arial" panose="020B0604020202020204" pitchFamily="34" charset="0"/>
              <a:buChar char="•"/>
            </a:pPr>
            <a:r>
              <a:rPr lang="en-US" sz="1400" dirty="0" smtClean="0">
                <a:solidFill>
                  <a:schemeClr val="tx1"/>
                </a:solidFill>
              </a:rPr>
              <a:t>Additional </a:t>
            </a:r>
            <a:r>
              <a:rPr lang="en-US" sz="1400" dirty="0">
                <a:solidFill>
                  <a:schemeClr val="tx1"/>
                </a:solidFill>
              </a:rPr>
              <a:t>Field protocols will </a:t>
            </a:r>
            <a:r>
              <a:rPr lang="en-US" sz="1400" dirty="0" smtClean="0">
                <a:solidFill>
                  <a:schemeClr val="tx1"/>
                </a:solidFill>
              </a:rPr>
              <a:t>follow</a:t>
            </a:r>
            <a:endParaRPr lang="de-DE" sz="1400" b="1" dirty="0" smtClean="0">
              <a:solidFill>
                <a:schemeClr val="tx1"/>
              </a:solidFill>
            </a:endParaRPr>
          </a:p>
        </p:txBody>
      </p:sp>
      <p:sp>
        <p:nvSpPr>
          <p:cNvPr id="19" name="Rechteck 18"/>
          <p:cNvSpPr/>
          <p:nvPr/>
        </p:nvSpPr>
        <p:spPr bwMode="auto">
          <a:xfrm>
            <a:off x="186258" y="5517232"/>
            <a:ext cx="11731194" cy="72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reading cycle: Up to 250 data points / second</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transfer cycle: Every 10 seconds</a:t>
            </a:r>
          </a:p>
        </p:txBody>
      </p:sp>
      <p:pic>
        <p:nvPicPr>
          <p:cNvPr id="21" name="Bild 42"/>
          <p:cNvPicPr>
            <a:picLocks noChangeAspect="1"/>
          </p:cNvPicPr>
          <p:nvPr/>
        </p:nvPicPr>
        <p:blipFill>
          <a:blip r:embed="rId7">
            <a:duotone>
              <a:schemeClr val="accent5">
                <a:shade val="45000"/>
                <a:satMod val="135000"/>
              </a:schemeClr>
              <a:prstClr val="white"/>
            </a:duotone>
          </a:blip>
          <a:stretch>
            <a:fillRect/>
          </a:stretch>
        </p:blipFill>
        <p:spPr>
          <a:xfrm>
            <a:off x="277975" y="5617174"/>
            <a:ext cx="539719" cy="513443"/>
          </a:xfrm>
          <a:prstGeom prst="rect">
            <a:avLst/>
          </a:prstGeom>
        </p:spPr>
      </p:pic>
      <p:grpSp>
        <p:nvGrpSpPr>
          <p:cNvPr id="3" name="Group 2"/>
          <p:cNvGrpSpPr/>
          <p:nvPr/>
        </p:nvGrpSpPr>
        <p:grpSpPr>
          <a:xfrm>
            <a:off x="295966" y="2992401"/>
            <a:ext cx="503738" cy="513204"/>
            <a:chOff x="296120" y="2992401"/>
            <a:chExt cx="504000" cy="513204"/>
          </a:xfrm>
        </p:grpSpPr>
        <p:sp>
          <p:nvSpPr>
            <p:cNvPr id="33" name="Freeform 20"/>
            <p:cNvSpPr>
              <a:spLocks/>
            </p:cNvSpPr>
            <p:nvPr/>
          </p:nvSpPr>
          <p:spPr bwMode="gray">
            <a:xfrm>
              <a:off x="449688" y="2992401"/>
              <a:ext cx="350432" cy="513204"/>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1"/>
            <p:cNvSpPr>
              <a:spLocks/>
            </p:cNvSpPr>
            <p:nvPr/>
          </p:nvSpPr>
          <p:spPr bwMode="gray">
            <a:xfrm>
              <a:off x="296120" y="3228898"/>
              <a:ext cx="123125" cy="249446"/>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38" name="general-information.png"/>
          <p:cNvPicPr>
            <a:picLocks noChangeAspect="1"/>
          </p:cNvPicPr>
          <p:nvPr>
            <p:custDataLst>
              <p:tags r:id="rId3"/>
            </p:custDataLst>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31947" y="1625478"/>
            <a:ext cx="431775" cy="432000"/>
          </a:xfrm>
          <a:prstGeom prst="rect">
            <a:avLst/>
          </a:prstGeom>
        </p:spPr>
      </p:pic>
      <p:pic>
        <p:nvPicPr>
          <p:cNvPr id="39" name="general_communication.png"/>
          <p:cNvPicPr>
            <a:picLocks noChangeAspect="1"/>
          </p:cNvPicPr>
          <p:nvPr>
            <p:custDataLst>
              <p:tags r:id="rId4"/>
            </p:custDataLst>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59985" y="4530970"/>
            <a:ext cx="575700" cy="576000"/>
          </a:xfrm>
          <a:prstGeom prst="rect">
            <a:avLst/>
          </a:prstGeom>
        </p:spPr>
      </p:pic>
      <p:sp>
        <p:nvSpPr>
          <p:cNvPr id="8" name="Textfeld 7"/>
          <p:cNvSpPr txBox="1"/>
          <p:nvPr/>
        </p:nvSpPr>
        <p:spPr>
          <a:xfrm>
            <a:off x="931550" y="1739912"/>
            <a:ext cx="1259344" cy="236988"/>
          </a:xfrm>
          <a:prstGeom prst="rect">
            <a:avLst/>
          </a:prstGeom>
          <a:noFill/>
        </p:spPr>
        <p:txBody>
          <a:bodyPr wrap="square" lIns="0" tIns="0" rIns="0" bIns="0" rtlCol="0">
            <a:spAutoFit/>
          </a:bodyPr>
          <a:lstStyle/>
          <a:p>
            <a:pPr>
              <a:lnSpc>
                <a:spcPct val="110000"/>
              </a:lnSpc>
              <a:spcBef>
                <a:spcPts val="0"/>
              </a:spcBef>
            </a:pPr>
            <a:r>
              <a:rPr lang="en-US" sz="1400" b="1" dirty="0" smtClean="0">
                <a:solidFill>
                  <a:srgbClr val="00646E"/>
                </a:solidFill>
              </a:rPr>
              <a:t>Description</a:t>
            </a:r>
            <a:endParaRPr lang="en-US" sz="1400" b="1" dirty="0">
              <a:solidFill>
                <a:srgbClr val="00646E"/>
              </a:solidFill>
            </a:endParaRPr>
          </a:p>
        </p:txBody>
      </p:sp>
      <p:sp>
        <p:nvSpPr>
          <p:cNvPr id="31" name="Textfeld 30"/>
          <p:cNvSpPr txBox="1"/>
          <p:nvPr/>
        </p:nvSpPr>
        <p:spPr>
          <a:xfrm>
            <a:off x="931550" y="3158445"/>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Benefits</a:t>
            </a:r>
          </a:p>
        </p:txBody>
      </p:sp>
      <p:sp>
        <p:nvSpPr>
          <p:cNvPr id="35" name="Textfeld 34"/>
          <p:cNvSpPr txBox="1"/>
          <p:nvPr/>
        </p:nvSpPr>
        <p:spPr>
          <a:xfrm>
            <a:off x="931550" y="4597334"/>
            <a:ext cx="1259344" cy="473976"/>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Supporting</a:t>
            </a:r>
            <a:r>
              <a:rPr lang="en-US" sz="1400" b="1" dirty="0">
                <a:solidFill>
                  <a:srgbClr val="0F8287"/>
                </a:solidFill>
              </a:rPr>
              <a:t> </a:t>
            </a:r>
            <a:r>
              <a:rPr lang="en-US" sz="1400" b="1" dirty="0">
                <a:solidFill>
                  <a:srgbClr val="00646E"/>
                </a:solidFill>
              </a:rPr>
              <a:t>Protocols</a:t>
            </a:r>
          </a:p>
        </p:txBody>
      </p:sp>
      <p:sp>
        <p:nvSpPr>
          <p:cNvPr id="36" name="Textfeld 35"/>
          <p:cNvSpPr txBox="1"/>
          <p:nvPr/>
        </p:nvSpPr>
        <p:spPr>
          <a:xfrm>
            <a:off x="931550" y="5775180"/>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Performance</a:t>
            </a:r>
          </a:p>
        </p:txBody>
      </p:sp>
      <p:pic>
        <p:nvPicPr>
          <p:cNvPr id="24" name="Grafik 2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988372" y="2601048"/>
            <a:ext cx="1732897" cy="1260000"/>
          </a:xfrm>
          <a:prstGeom prst="rect">
            <a:avLst/>
          </a:prstGeom>
        </p:spPr>
      </p:pic>
      <p:sp>
        <p:nvSpPr>
          <p:cNvPr id="18" name="Textfeld 75"/>
          <p:cNvSpPr txBox="1"/>
          <p:nvPr/>
        </p:nvSpPr>
        <p:spPr>
          <a:xfrm>
            <a:off x="419027" y="95464"/>
            <a:ext cx="3306098" cy="218586"/>
          </a:xfrm>
          <a:prstGeom prst="rect">
            <a:avLst/>
          </a:prstGeom>
          <a:noFill/>
        </p:spPr>
        <p:txBody>
          <a:bodyPr wrap="square" lIns="0" tIns="0" rIns="0" bIns="0" rtlCol="0">
            <a:spAutoFit/>
          </a:bodyPr>
          <a:lstStyle/>
          <a:p>
            <a:pPr algn="l">
              <a:lnSpc>
                <a:spcPct val="110000"/>
              </a:lnSpc>
              <a:spcBef>
                <a:spcPts val="0"/>
              </a:spcBef>
            </a:pPr>
            <a:r>
              <a:rPr lang="en-US" sz="1400" b="1" dirty="0" smtClean="0">
                <a:solidFill>
                  <a:srgbClr val="004669"/>
                </a:solidFill>
              </a:rPr>
              <a:t>Hardware Gateway </a:t>
            </a:r>
          </a:p>
        </p:txBody>
      </p:sp>
      <p:sp>
        <p:nvSpPr>
          <p:cNvPr id="20" name="Oval 15"/>
          <p:cNvSpPr/>
          <p:nvPr/>
        </p:nvSpPr>
        <p:spPr bwMode="gray">
          <a:xfrm>
            <a:off x="38463" y="95464"/>
            <a:ext cx="252000" cy="252000"/>
          </a:xfrm>
          <a:prstGeom prst="ellipse">
            <a:avLst/>
          </a:prstGeom>
          <a:solidFill>
            <a:srgbClr val="006487"/>
          </a:solidFill>
          <a:ln>
            <a:solidFill>
              <a:srgbClr val="006487"/>
            </a:solidFill>
          </a:ln>
          <a:extLst/>
        </p:spPr>
        <p:txBody>
          <a:bodyPr lIns="0" tIns="0" rIns="0" bIns="0" rtlCol="0" anchor="ctr" anchorCtr="0"/>
          <a:lstStyle/>
          <a:p>
            <a:pPr marL="0" indent="0" algn="ctr">
              <a:spcBef>
                <a:spcPts val="0"/>
              </a:spcBef>
            </a:pPr>
            <a:r>
              <a:rPr lang="en-US" sz="1200" b="1" dirty="0" smtClean="0">
                <a:solidFill>
                  <a:srgbClr val="FFFFFF"/>
                </a:solidFill>
              </a:rPr>
              <a:t>1</a:t>
            </a:r>
          </a:p>
        </p:txBody>
      </p:sp>
    </p:spTree>
    <p:extLst>
      <p:ext uri="{BB962C8B-B14F-4D97-AF65-F5344CB8AC3E}">
        <p14:creationId xmlns:p14="http://schemas.microsoft.com/office/powerpoint/2010/main" val="38137192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186258" y="1437894"/>
            <a:ext cx="11731194" cy="792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a:lnSpc>
                <a:spcPct val="110000"/>
              </a:lnSpc>
              <a:spcBef>
                <a:spcPct val="0"/>
              </a:spcBef>
            </a:pPr>
            <a:r>
              <a:rPr lang="en-US" sz="1400" smtClean="0">
                <a:solidFill>
                  <a:sysClr val="windowText" lastClr="000000"/>
                </a:solidFill>
              </a:rPr>
              <a:t>MindConnect IoT2040 is a device for collecting data using different protocols and transferring the data to MindSphere. The device supports transmission of data through a secure internet connection, to enable cloud-based applications and services.</a:t>
            </a:r>
            <a:endParaRPr lang="en-US" sz="1400" dirty="0">
              <a:solidFill>
                <a:sysClr val="windowText" lastClr="000000"/>
              </a:solidFill>
            </a:endParaRPr>
          </a:p>
        </p:txBody>
      </p:sp>
      <p:sp>
        <p:nvSpPr>
          <p:cNvPr id="2" name="Titel 1"/>
          <p:cNvSpPr>
            <a:spLocks noGrp="1"/>
          </p:cNvSpPr>
          <p:nvPr>
            <p:ph type="title"/>
          </p:nvPr>
        </p:nvSpPr>
        <p:spPr/>
        <p:txBody>
          <a:bodyPr/>
          <a:lstStyle/>
          <a:p>
            <a:r>
              <a:rPr lang="en-US" dirty="0" smtClean="0"/>
              <a:t>MindSphere Connectivity Suite</a:t>
            </a:r>
            <a:br>
              <a:rPr lang="en-US" dirty="0" smtClean="0"/>
            </a:br>
            <a:r>
              <a:rPr lang="en-US" b="0" dirty="0" smtClean="0"/>
              <a:t>MindConnect </a:t>
            </a:r>
            <a:r>
              <a:rPr lang="en-US" b="0" dirty="0"/>
              <a:t>IoT2040</a:t>
            </a:r>
          </a:p>
        </p:txBody>
      </p:sp>
      <p:sp>
        <p:nvSpPr>
          <p:cNvPr id="10" name="Rechteck 9"/>
          <p:cNvSpPr/>
          <p:nvPr>
            <p:custDataLst>
              <p:tags r:id="rId1"/>
            </p:custDataLst>
          </p:nvPr>
        </p:nvSpPr>
        <p:spPr bwMode="auto">
          <a:xfrm>
            <a:off x="186258" y="2389673"/>
            <a:ext cx="11731194" cy="1728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Fast and easy connectivity of industrial machines and automation systems to MindSphere</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collection via standard industrial protocols </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Software update management – Always up to date</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Rugged design for maintenance-free, continuous operation</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Comprehensive security concept in accordance with applicable industry standards</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Up to 500MB local data buffer</a:t>
            </a:r>
          </a:p>
        </p:txBody>
      </p:sp>
      <p:sp>
        <p:nvSpPr>
          <p:cNvPr id="14" name="Rechteck 13"/>
          <p:cNvSpPr/>
          <p:nvPr>
            <p:custDataLst>
              <p:tags r:id="rId2"/>
            </p:custDataLst>
          </p:nvPr>
        </p:nvSpPr>
        <p:spPr bwMode="auto">
          <a:xfrm>
            <a:off x="215371" y="4277452"/>
            <a:ext cx="11731194" cy="108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Siemens S7 (for collecting data from S7-3xx  / S7-4xx / ET-200s  PLCs); </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OPC UA (for collecting data from all data sources which can provide data via an OPC UA server); the MindSphere Nano supports data collection with Part 8 of the OPC UA specification (Data Access)</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Additional Field protocols will follow</a:t>
            </a:r>
          </a:p>
        </p:txBody>
      </p:sp>
      <p:sp>
        <p:nvSpPr>
          <p:cNvPr id="19" name="Rechteck 18"/>
          <p:cNvSpPr/>
          <p:nvPr/>
        </p:nvSpPr>
        <p:spPr bwMode="auto">
          <a:xfrm>
            <a:off x="186258" y="5517232"/>
            <a:ext cx="11731194" cy="72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reading cycle: Up to 30 data points / second</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transfer cycle: Every 10 seconds</a:t>
            </a:r>
          </a:p>
        </p:txBody>
      </p:sp>
      <p:pic>
        <p:nvPicPr>
          <p:cNvPr id="21" name="Bild 42"/>
          <p:cNvPicPr>
            <a:picLocks noChangeAspect="1"/>
          </p:cNvPicPr>
          <p:nvPr/>
        </p:nvPicPr>
        <p:blipFill>
          <a:blip r:embed="rId7">
            <a:duotone>
              <a:schemeClr val="accent5">
                <a:shade val="45000"/>
                <a:satMod val="135000"/>
              </a:schemeClr>
              <a:prstClr val="white"/>
            </a:duotone>
          </a:blip>
          <a:stretch>
            <a:fillRect/>
          </a:stretch>
        </p:blipFill>
        <p:spPr>
          <a:xfrm>
            <a:off x="277975" y="5617174"/>
            <a:ext cx="539719" cy="513443"/>
          </a:xfrm>
          <a:prstGeom prst="rect">
            <a:avLst/>
          </a:prstGeom>
        </p:spPr>
      </p:pic>
      <p:pic>
        <p:nvPicPr>
          <p:cNvPr id="38" name="general-information.png"/>
          <p:cNvPicPr>
            <a:picLocks noChangeAspect="1"/>
          </p:cNvPicPr>
          <p:nvPr>
            <p:custDataLst>
              <p:tags r:id="rId3"/>
            </p:custDataLst>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31947" y="1625478"/>
            <a:ext cx="431775" cy="432000"/>
          </a:xfrm>
          <a:prstGeom prst="rect">
            <a:avLst/>
          </a:prstGeom>
        </p:spPr>
      </p:pic>
      <p:pic>
        <p:nvPicPr>
          <p:cNvPr id="39" name="general_communication.png"/>
          <p:cNvPicPr>
            <a:picLocks noChangeAspect="1"/>
          </p:cNvPicPr>
          <p:nvPr>
            <p:custDataLst>
              <p:tags r:id="rId4"/>
            </p:custDataLst>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59985" y="4530970"/>
            <a:ext cx="575700" cy="576000"/>
          </a:xfrm>
          <a:prstGeom prst="rect">
            <a:avLst/>
          </a:prstGeom>
        </p:spPr>
      </p:pic>
      <p:sp>
        <p:nvSpPr>
          <p:cNvPr id="8" name="Textfeld 7"/>
          <p:cNvSpPr txBox="1"/>
          <p:nvPr/>
        </p:nvSpPr>
        <p:spPr>
          <a:xfrm>
            <a:off x="931550" y="1739912"/>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Description</a:t>
            </a:r>
          </a:p>
        </p:txBody>
      </p:sp>
      <p:sp>
        <p:nvSpPr>
          <p:cNvPr id="31" name="Textfeld 30"/>
          <p:cNvSpPr txBox="1"/>
          <p:nvPr/>
        </p:nvSpPr>
        <p:spPr>
          <a:xfrm>
            <a:off x="931550" y="3158445"/>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Benefits</a:t>
            </a:r>
          </a:p>
        </p:txBody>
      </p:sp>
      <p:sp>
        <p:nvSpPr>
          <p:cNvPr id="35" name="Textfeld 34"/>
          <p:cNvSpPr txBox="1"/>
          <p:nvPr/>
        </p:nvSpPr>
        <p:spPr>
          <a:xfrm>
            <a:off x="931550" y="4597334"/>
            <a:ext cx="1259344" cy="473976"/>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Supporting</a:t>
            </a:r>
            <a:r>
              <a:rPr lang="en-US" sz="1400" b="1" dirty="0">
                <a:solidFill>
                  <a:srgbClr val="0F8287"/>
                </a:solidFill>
              </a:rPr>
              <a:t> </a:t>
            </a:r>
            <a:r>
              <a:rPr lang="en-US" sz="1400" b="1" dirty="0">
                <a:solidFill>
                  <a:srgbClr val="00646E"/>
                </a:solidFill>
              </a:rPr>
              <a:t>Protocols</a:t>
            </a:r>
          </a:p>
        </p:txBody>
      </p:sp>
      <p:sp>
        <p:nvSpPr>
          <p:cNvPr id="36" name="Textfeld 35"/>
          <p:cNvSpPr txBox="1"/>
          <p:nvPr/>
        </p:nvSpPr>
        <p:spPr>
          <a:xfrm>
            <a:off x="931550" y="5775180"/>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Performance</a:t>
            </a:r>
          </a:p>
        </p:txBody>
      </p:sp>
      <p:pic>
        <p:nvPicPr>
          <p:cNvPr id="20" name="Picture 191" descr="C:\Users\z002u4xm\AppData\Local\Microsoft\Windows\Temporary Internet Files\Content.Outlook\V6I8YM0N\IoT2040.tif"/>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83056" y="2601048"/>
            <a:ext cx="1567027" cy="1260000"/>
          </a:xfrm>
          <a:prstGeom prst="rect">
            <a:avLst/>
          </a:prstGeom>
          <a:extLst/>
        </p:spPr>
      </p:pic>
      <p:grpSp>
        <p:nvGrpSpPr>
          <p:cNvPr id="27" name="Group 26"/>
          <p:cNvGrpSpPr/>
          <p:nvPr/>
        </p:nvGrpSpPr>
        <p:grpSpPr>
          <a:xfrm>
            <a:off x="295966" y="2992401"/>
            <a:ext cx="503738" cy="513204"/>
            <a:chOff x="296120" y="2992401"/>
            <a:chExt cx="504000" cy="513204"/>
          </a:xfrm>
        </p:grpSpPr>
        <p:sp>
          <p:nvSpPr>
            <p:cNvPr id="28" name="Freeform 20"/>
            <p:cNvSpPr>
              <a:spLocks/>
            </p:cNvSpPr>
            <p:nvPr/>
          </p:nvSpPr>
          <p:spPr bwMode="gray">
            <a:xfrm>
              <a:off x="449688" y="2992401"/>
              <a:ext cx="350432" cy="513204"/>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1"/>
            <p:cNvSpPr>
              <a:spLocks/>
            </p:cNvSpPr>
            <p:nvPr/>
          </p:nvSpPr>
          <p:spPr bwMode="gray">
            <a:xfrm>
              <a:off x="296120" y="3228898"/>
              <a:ext cx="123125" cy="249446"/>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8" name="Textfeld 75"/>
          <p:cNvSpPr txBox="1"/>
          <p:nvPr/>
        </p:nvSpPr>
        <p:spPr>
          <a:xfrm>
            <a:off x="419027" y="74682"/>
            <a:ext cx="3306098" cy="218586"/>
          </a:xfrm>
          <a:prstGeom prst="rect">
            <a:avLst/>
          </a:prstGeom>
          <a:noFill/>
        </p:spPr>
        <p:txBody>
          <a:bodyPr wrap="square" lIns="0" tIns="0" rIns="0" bIns="0" rtlCol="0">
            <a:spAutoFit/>
          </a:bodyPr>
          <a:lstStyle/>
          <a:p>
            <a:pPr algn="l">
              <a:lnSpc>
                <a:spcPct val="110000"/>
              </a:lnSpc>
              <a:spcBef>
                <a:spcPts val="0"/>
              </a:spcBef>
            </a:pPr>
            <a:r>
              <a:rPr lang="en-US" sz="1400" b="1" dirty="0" smtClean="0">
                <a:solidFill>
                  <a:srgbClr val="004669"/>
                </a:solidFill>
              </a:rPr>
              <a:t>Hardware Gateway </a:t>
            </a:r>
          </a:p>
        </p:txBody>
      </p:sp>
      <p:sp>
        <p:nvSpPr>
          <p:cNvPr id="22" name="Oval 15"/>
          <p:cNvSpPr/>
          <p:nvPr/>
        </p:nvSpPr>
        <p:spPr bwMode="gray">
          <a:xfrm>
            <a:off x="38463" y="74682"/>
            <a:ext cx="252000" cy="252000"/>
          </a:xfrm>
          <a:prstGeom prst="ellipse">
            <a:avLst/>
          </a:prstGeom>
          <a:solidFill>
            <a:srgbClr val="006487"/>
          </a:solidFill>
          <a:ln>
            <a:solidFill>
              <a:srgbClr val="006487"/>
            </a:solidFill>
          </a:ln>
          <a:extLst/>
        </p:spPr>
        <p:txBody>
          <a:bodyPr lIns="0" tIns="0" rIns="0" bIns="0" rtlCol="0" anchor="ctr" anchorCtr="0"/>
          <a:lstStyle/>
          <a:p>
            <a:pPr marL="0" indent="0" algn="ctr">
              <a:spcBef>
                <a:spcPts val="0"/>
              </a:spcBef>
            </a:pPr>
            <a:r>
              <a:rPr lang="en-US" sz="1200" b="1" dirty="0" smtClean="0">
                <a:solidFill>
                  <a:srgbClr val="FFFFFF"/>
                </a:solidFill>
              </a:rPr>
              <a:t>1</a:t>
            </a:r>
          </a:p>
        </p:txBody>
      </p:sp>
    </p:spTree>
    <p:extLst>
      <p:ext uri="{BB962C8B-B14F-4D97-AF65-F5344CB8AC3E}">
        <p14:creationId xmlns:p14="http://schemas.microsoft.com/office/powerpoint/2010/main" val="17579976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tructure of MindSphere Connectivity </a:t>
            </a:r>
            <a:br>
              <a:rPr lang="en-US" dirty="0" smtClean="0"/>
            </a:br>
            <a:r>
              <a:rPr lang="en-US" b="0" dirty="0" smtClean="0"/>
              <a:t>MindConnect Nano/ IoT2040</a:t>
            </a:r>
            <a:endParaRPr lang="en-US" b="0" dirty="0"/>
          </a:p>
        </p:txBody>
      </p:sp>
      <p:sp>
        <p:nvSpPr>
          <p:cNvPr id="28" name="Textfeld 1286"/>
          <p:cNvSpPr txBox="1">
            <a:spLocks/>
          </p:cNvSpPr>
          <p:nvPr/>
        </p:nvSpPr>
        <p:spPr bwMode="gray">
          <a:xfrm>
            <a:off x="6361982" y="2936561"/>
            <a:ext cx="141064" cy="738664"/>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smtClean="0">
                <a:solidFill>
                  <a:srgbClr val="004669"/>
                </a:solidFill>
              </a:rPr>
              <a:t>11</a:t>
            </a:r>
            <a:endParaRPr lang="en-US" sz="1200" b="1" dirty="0" smtClean="0">
              <a:solidFill>
                <a:srgbClr val="004669"/>
              </a:solidFill>
            </a:endParaRPr>
          </a:p>
          <a:p>
            <a:pPr>
              <a:lnSpc>
                <a:spcPct val="80000"/>
              </a:lnSpc>
              <a:spcBef>
                <a:spcPts val="0"/>
              </a:spcBef>
            </a:pPr>
            <a:r>
              <a:rPr lang="en-US" sz="1000" b="1" dirty="0" smtClean="0">
                <a:solidFill>
                  <a:srgbClr val="004669"/>
                </a:solidFill>
              </a:rPr>
              <a:t>00</a:t>
            </a:r>
            <a:endParaRPr lang="en-US" sz="1200" b="1" dirty="0" smtClean="0">
              <a:solidFill>
                <a:srgbClr val="004669"/>
              </a:solidFill>
            </a:endParaRPr>
          </a:p>
          <a:p>
            <a:pPr>
              <a:lnSpc>
                <a:spcPct val="80000"/>
              </a:lnSpc>
              <a:spcBef>
                <a:spcPts val="0"/>
              </a:spcBef>
            </a:pPr>
            <a:r>
              <a:rPr lang="en-US" sz="1000" b="1" dirty="0" smtClean="0">
                <a:solidFill>
                  <a:srgbClr val="004669"/>
                </a:solidFill>
              </a:rPr>
              <a:t>10</a:t>
            </a:r>
            <a:endParaRPr lang="en-US" sz="1000" b="1" dirty="0">
              <a:solidFill>
                <a:srgbClr val="004669"/>
              </a:solidFill>
            </a:endParaRPr>
          </a:p>
        </p:txBody>
      </p:sp>
      <p:sp>
        <p:nvSpPr>
          <p:cNvPr id="29" name="Textfeld 1274"/>
          <p:cNvSpPr txBox="1">
            <a:spLocks/>
          </p:cNvSpPr>
          <p:nvPr/>
        </p:nvSpPr>
        <p:spPr bwMode="gray">
          <a:xfrm>
            <a:off x="6581584" y="3175747"/>
            <a:ext cx="141064" cy="492443"/>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11</a:t>
            </a:r>
          </a:p>
        </p:txBody>
      </p:sp>
      <p:sp>
        <p:nvSpPr>
          <p:cNvPr id="30" name="Textfeld 1274"/>
          <p:cNvSpPr txBox="1">
            <a:spLocks/>
          </p:cNvSpPr>
          <p:nvPr/>
        </p:nvSpPr>
        <p:spPr bwMode="gray">
          <a:xfrm>
            <a:off x="4941707" y="3086967"/>
            <a:ext cx="141064" cy="492443"/>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11</a:t>
            </a:r>
          </a:p>
        </p:txBody>
      </p:sp>
      <p:sp>
        <p:nvSpPr>
          <p:cNvPr id="32" name="Textfeld 1286"/>
          <p:cNvSpPr txBox="1">
            <a:spLocks/>
          </p:cNvSpPr>
          <p:nvPr/>
        </p:nvSpPr>
        <p:spPr bwMode="gray">
          <a:xfrm>
            <a:off x="4744593" y="3076235"/>
            <a:ext cx="141064" cy="738664"/>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smtClean="0">
                <a:solidFill>
                  <a:srgbClr val="004669"/>
                </a:solidFill>
              </a:rPr>
              <a:t>11</a:t>
            </a:r>
            <a:endParaRPr lang="en-US" sz="1200" b="1" dirty="0" smtClean="0">
              <a:solidFill>
                <a:srgbClr val="004669"/>
              </a:solidFill>
            </a:endParaRPr>
          </a:p>
          <a:p>
            <a:pPr>
              <a:lnSpc>
                <a:spcPct val="80000"/>
              </a:lnSpc>
              <a:spcBef>
                <a:spcPts val="0"/>
              </a:spcBef>
            </a:pPr>
            <a:r>
              <a:rPr lang="en-US" sz="1000" b="1" dirty="0" smtClean="0">
                <a:solidFill>
                  <a:srgbClr val="004669"/>
                </a:solidFill>
              </a:rPr>
              <a:t>00</a:t>
            </a:r>
            <a:endParaRPr lang="en-US" sz="1200" b="1" dirty="0" smtClean="0">
              <a:solidFill>
                <a:srgbClr val="004669"/>
              </a:solidFill>
            </a:endParaRPr>
          </a:p>
          <a:p>
            <a:pPr>
              <a:lnSpc>
                <a:spcPct val="80000"/>
              </a:lnSpc>
              <a:spcBef>
                <a:spcPts val="0"/>
              </a:spcBef>
            </a:pPr>
            <a:r>
              <a:rPr lang="en-US" sz="1000" b="1" dirty="0" smtClean="0">
                <a:solidFill>
                  <a:srgbClr val="004669"/>
                </a:solidFill>
              </a:rPr>
              <a:t>10</a:t>
            </a:r>
            <a:endParaRPr lang="en-US" sz="1000" b="1" dirty="0">
              <a:solidFill>
                <a:srgbClr val="004669"/>
              </a:solidFill>
            </a:endParaRPr>
          </a:p>
        </p:txBody>
      </p:sp>
      <p:pic>
        <p:nvPicPr>
          <p:cNvPr id="33" name="Bild 11"/>
          <p:cNvPicPr>
            <a:picLocks noChangeAspect="1"/>
          </p:cNvPicPr>
          <p:nvPr/>
        </p:nvPicPr>
        <p:blipFill>
          <a:blip r:embed="rId11"/>
          <a:stretch>
            <a:fillRect/>
          </a:stretch>
        </p:blipFill>
        <p:spPr>
          <a:xfrm>
            <a:off x="4557072" y="3599975"/>
            <a:ext cx="950910" cy="694895"/>
          </a:xfrm>
          <a:prstGeom prst="rect">
            <a:avLst/>
          </a:prstGeom>
        </p:spPr>
      </p:pic>
      <p:pic>
        <p:nvPicPr>
          <p:cNvPr id="34" name="Bild 13"/>
          <p:cNvPicPr>
            <a:picLocks noChangeAspect="1"/>
          </p:cNvPicPr>
          <p:nvPr/>
        </p:nvPicPr>
        <p:blipFill>
          <a:blip r:embed="rId12"/>
          <a:stretch>
            <a:fillRect/>
          </a:stretch>
        </p:blipFill>
        <p:spPr>
          <a:xfrm>
            <a:off x="6199920" y="3688058"/>
            <a:ext cx="909186" cy="588297"/>
          </a:xfrm>
          <a:prstGeom prst="rect">
            <a:avLst/>
          </a:prstGeom>
        </p:spPr>
      </p:pic>
      <p:grpSp>
        <p:nvGrpSpPr>
          <p:cNvPr id="37" name="Group 457"/>
          <p:cNvGrpSpPr/>
          <p:nvPr/>
        </p:nvGrpSpPr>
        <p:grpSpPr>
          <a:xfrm>
            <a:off x="3007790" y="1472709"/>
            <a:ext cx="5873395" cy="1602308"/>
            <a:chOff x="4900768" y="2555464"/>
            <a:chExt cx="5726325" cy="1563001"/>
          </a:xfrm>
        </p:grpSpPr>
        <p:grpSp>
          <p:nvGrpSpPr>
            <p:cNvPr id="38" name="Group 412"/>
            <p:cNvGrpSpPr/>
            <p:nvPr/>
          </p:nvGrpSpPr>
          <p:grpSpPr>
            <a:xfrm>
              <a:off x="4900768" y="2555464"/>
              <a:ext cx="5726325" cy="1563001"/>
              <a:chOff x="4656557" y="2637307"/>
              <a:chExt cx="6269058" cy="1711140"/>
            </a:xfrm>
          </p:grpSpPr>
          <p:sp>
            <p:nvSpPr>
              <p:cNvPr id="40" name="Textfeld 273"/>
              <p:cNvSpPr txBox="1"/>
              <p:nvPr/>
            </p:nvSpPr>
            <p:spPr bwMode="gray">
              <a:xfrm>
                <a:off x="6824268" y="3343252"/>
                <a:ext cx="1879646" cy="394281"/>
              </a:xfrm>
              <a:prstGeom prst="rect">
                <a:avLst/>
              </a:prstGeom>
              <a:noFill/>
            </p:spPr>
            <p:txBody>
              <a:bodyPr wrap="none" lIns="0" tIns="0" rIns="0" bIns="0" rtlCol="0">
                <a:spAutoFit/>
              </a:bodyPr>
              <a:lstStyle/>
              <a:p>
                <a:pPr algn="ctr">
                  <a:spcBef>
                    <a:spcPct val="0"/>
                  </a:spcBef>
                  <a:buFont typeface="Wingdings" charset="0"/>
                  <a:buNone/>
                </a:pPr>
                <a:r>
                  <a:rPr lang="en-US" sz="2399" b="1" dirty="0" err="1">
                    <a:solidFill>
                      <a:srgbClr val="004669"/>
                    </a:solidFill>
                    <a:latin typeface="+mj-lt"/>
                  </a:rPr>
                  <a:t>MindSphere</a:t>
                </a:r>
                <a:endParaRPr lang="en-US" sz="2399" b="1" dirty="0">
                  <a:solidFill>
                    <a:srgbClr val="004669"/>
                  </a:solidFill>
                  <a:latin typeface="+mj-lt"/>
                </a:endParaRPr>
              </a:p>
            </p:txBody>
          </p:sp>
          <p:grpSp>
            <p:nvGrpSpPr>
              <p:cNvPr id="41" name="Gruppieren 383"/>
              <p:cNvGrpSpPr/>
              <p:nvPr/>
            </p:nvGrpSpPr>
            <p:grpSpPr>
              <a:xfrm>
                <a:off x="4656557" y="2637307"/>
                <a:ext cx="6269058" cy="1711140"/>
                <a:chOff x="5414379" y="2883694"/>
                <a:chExt cx="6272323" cy="1712031"/>
              </a:xfrm>
            </p:grpSpPr>
            <p:grpSp>
              <p:nvGrpSpPr>
                <p:cNvPr id="42" name="Gruppieren 384"/>
                <p:cNvGrpSpPr/>
                <p:nvPr/>
              </p:nvGrpSpPr>
              <p:grpSpPr>
                <a:xfrm>
                  <a:off x="5427516" y="2972295"/>
                  <a:ext cx="6230431" cy="1603267"/>
                  <a:chOff x="5427516" y="2972295"/>
                  <a:chExt cx="6230431" cy="1603267"/>
                </a:xfrm>
              </p:grpSpPr>
              <p:sp>
                <p:nvSpPr>
                  <p:cNvPr id="293" name="Freihandform 635"/>
                  <p:cNvSpPr/>
                  <p:nvPr/>
                </p:nvSpPr>
                <p:spPr bwMode="gray">
                  <a:xfrm>
                    <a:off x="6224226" y="4079768"/>
                    <a:ext cx="1617707" cy="492263"/>
                  </a:xfrm>
                  <a:custGeom>
                    <a:avLst/>
                    <a:gdLst>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50119 w 1362075"/>
                      <a:gd name="connsiteY5" fmla="*/ 407194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73895 w 1362075"/>
                      <a:gd name="connsiteY3" fmla="*/ 409575 h 414338"/>
                      <a:gd name="connsiteX4" fmla="*/ 821532 w 1362075"/>
                      <a:gd name="connsiteY4" fmla="*/ 273844 h 414338"/>
                      <a:gd name="connsiteX5" fmla="*/ 950119 w 1362075"/>
                      <a:gd name="connsiteY5" fmla="*/ 407194 h 414338"/>
                      <a:gd name="connsiteX6" fmla="*/ 1362075 w 1362075"/>
                      <a:gd name="connsiteY6" fmla="*/ 0 h 4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5" h="414338">
                        <a:moveTo>
                          <a:pt x="0" y="414338"/>
                        </a:moveTo>
                        <a:lnTo>
                          <a:pt x="138113" y="276225"/>
                        </a:lnTo>
                        <a:lnTo>
                          <a:pt x="538163" y="276225"/>
                        </a:lnTo>
                        <a:lnTo>
                          <a:pt x="673895" y="409575"/>
                        </a:lnTo>
                        <a:lnTo>
                          <a:pt x="821532" y="273844"/>
                        </a:lnTo>
                        <a:lnTo>
                          <a:pt x="950119" y="407194"/>
                        </a:lnTo>
                        <a:lnTo>
                          <a:pt x="1362075"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4" name="Freihandform 636"/>
                  <p:cNvSpPr/>
                  <p:nvPr/>
                </p:nvSpPr>
                <p:spPr bwMode="gray">
                  <a:xfrm>
                    <a:off x="5427516" y="3934888"/>
                    <a:ext cx="656133" cy="314030"/>
                  </a:xfrm>
                  <a:custGeom>
                    <a:avLst/>
                    <a:gdLst>
                      <a:gd name="connsiteX0" fmla="*/ 0 w 552450"/>
                      <a:gd name="connsiteY0" fmla="*/ 0 h 264319"/>
                      <a:gd name="connsiteX1" fmla="*/ 138113 w 552450"/>
                      <a:gd name="connsiteY1" fmla="*/ 135732 h 264319"/>
                      <a:gd name="connsiteX2" fmla="*/ 278607 w 552450"/>
                      <a:gd name="connsiteY2" fmla="*/ 135732 h 264319"/>
                      <a:gd name="connsiteX3" fmla="*/ 278607 w 552450"/>
                      <a:gd name="connsiteY3" fmla="*/ 264319 h 264319"/>
                      <a:gd name="connsiteX4" fmla="*/ 552450 w 552450"/>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264319">
                        <a:moveTo>
                          <a:pt x="0" y="0"/>
                        </a:moveTo>
                        <a:lnTo>
                          <a:pt x="138113" y="135732"/>
                        </a:lnTo>
                        <a:lnTo>
                          <a:pt x="278607" y="135732"/>
                        </a:lnTo>
                        <a:lnTo>
                          <a:pt x="278607" y="264319"/>
                        </a:lnTo>
                        <a:lnTo>
                          <a:pt x="552450" y="264319"/>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5" name="Freihandform 637"/>
                  <p:cNvSpPr/>
                  <p:nvPr/>
                </p:nvSpPr>
                <p:spPr bwMode="gray">
                  <a:xfrm>
                    <a:off x="5428938" y="3450412"/>
                    <a:ext cx="325239" cy="319687"/>
                  </a:xfrm>
                  <a:custGeom>
                    <a:avLst/>
                    <a:gdLst>
                      <a:gd name="connsiteX0" fmla="*/ 0 w 273844"/>
                      <a:gd name="connsiteY0" fmla="*/ 269081 h 269081"/>
                      <a:gd name="connsiteX1" fmla="*/ 142875 w 273844"/>
                      <a:gd name="connsiteY1" fmla="*/ 269081 h 269081"/>
                      <a:gd name="connsiteX2" fmla="*/ 142875 w 273844"/>
                      <a:gd name="connsiteY2" fmla="*/ 133350 h 269081"/>
                      <a:gd name="connsiteX3" fmla="*/ 273844 w 273844"/>
                      <a:gd name="connsiteY3" fmla="*/ 0 h 269081"/>
                    </a:gdLst>
                    <a:ahLst/>
                    <a:cxnLst>
                      <a:cxn ang="0">
                        <a:pos x="connsiteX0" y="connsiteY0"/>
                      </a:cxn>
                      <a:cxn ang="0">
                        <a:pos x="connsiteX1" y="connsiteY1"/>
                      </a:cxn>
                      <a:cxn ang="0">
                        <a:pos x="connsiteX2" y="connsiteY2"/>
                      </a:cxn>
                      <a:cxn ang="0">
                        <a:pos x="connsiteX3" y="connsiteY3"/>
                      </a:cxn>
                    </a:cxnLst>
                    <a:rect l="l" t="t" r="r" b="b"/>
                    <a:pathLst>
                      <a:path w="273844" h="269081">
                        <a:moveTo>
                          <a:pt x="0" y="269081"/>
                        </a:moveTo>
                        <a:lnTo>
                          <a:pt x="142875" y="269081"/>
                        </a:lnTo>
                        <a:lnTo>
                          <a:pt x="142875" y="133350"/>
                        </a:lnTo>
                        <a:lnTo>
                          <a:pt x="273844"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6" name="Freihandform 638"/>
                  <p:cNvSpPr/>
                  <p:nvPr/>
                </p:nvSpPr>
                <p:spPr bwMode="gray">
                  <a:xfrm>
                    <a:off x="5739781" y="3148273"/>
                    <a:ext cx="656133" cy="472459"/>
                  </a:xfrm>
                  <a:custGeom>
                    <a:avLst/>
                    <a:gdLst>
                      <a:gd name="connsiteX0" fmla="*/ 0 w 552450"/>
                      <a:gd name="connsiteY0" fmla="*/ 397669 h 397669"/>
                      <a:gd name="connsiteX1" fmla="*/ 290512 w 552450"/>
                      <a:gd name="connsiteY1" fmla="*/ 116681 h 397669"/>
                      <a:gd name="connsiteX2" fmla="*/ 416718 w 552450"/>
                      <a:gd name="connsiteY2" fmla="*/ 116681 h 397669"/>
                      <a:gd name="connsiteX3" fmla="*/ 552450 w 552450"/>
                      <a:gd name="connsiteY3" fmla="*/ 0 h 397669"/>
                    </a:gdLst>
                    <a:ahLst/>
                    <a:cxnLst>
                      <a:cxn ang="0">
                        <a:pos x="connsiteX0" y="connsiteY0"/>
                      </a:cxn>
                      <a:cxn ang="0">
                        <a:pos x="connsiteX1" y="connsiteY1"/>
                      </a:cxn>
                      <a:cxn ang="0">
                        <a:pos x="connsiteX2" y="connsiteY2"/>
                      </a:cxn>
                      <a:cxn ang="0">
                        <a:pos x="connsiteX3" y="connsiteY3"/>
                      </a:cxn>
                    </a:cxnLst>
                    <a:rect l="l" t="t" r="r" b="b"/>
                    <a:pathLst>
                      <a:path w="552450" h="397669">
                        <a:moveTo>
                          <a:pt x="0" y="397669"/>
                        </a:moveTo>
                        <a:lnTo>
                          <a:pt x="290512" y="116681"/>
                        </a:lnTo>
                        <a:lnTo>
                          <a:pt x="416718" y="116681"/>
                        </a:lnTo>
                        <a:lnTo>
                          <a:pt x="552450"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7" name="Freihandform 639"/>
                  <p:cNvSpPr/>
                  <p:nvPr/>
                </p:nvSpPr>
                <p:spPr bwMode="gray">
                  <a:xfrm>
                    <a:off x="6400401" y="3456069"/>
                    <a:ext cx="469475" cy="158429"/>
                  </a:xfrm>
                  <a:custGeom>
                    <a:avLst/>
                    <a:gdLst>
                      <a:gd name="connsiteX0" fmla="*/ 0 w 395288"/>
                      <a:gd name="connsiteY0" fmla="*/ 133350 h 133350"/>
                      <a:gd name="connsiteX1" fmla="*/ 135732 w 395288"/>
                      <a:gd name="connsiteY1" fmla="*/ 133350 h 133350"/>
                      <a:gd name="connsiteX2" fmla="*/ 269082 w 395288"/>
                      <a:gd name="connsiteY2" fmla="*/ 0 h 133350"/>
                      <a:gd name="connsiteX3" fmla="*/ 395288 w 395288"/>
                      <a:gd name="connsiteY3" fmla="*/ 0 h 133350"/>
                    </a:gdLst>
                    <a:ahLst/>
                    <a:cxnLst>
                      <a:cxn ang="0">
                        <a:pos x="connsiteX0" y="connsiteY0"/>
                      </a:cxn>
                      <a:cxn ang="0">
                        <a:pos x="connsiteX1" y="connsiteY1"/>
                      </a:cxn>
                      <a:cxn ang="0">
                        <a:pos x="connsiteX2" y="connsiteY2"/>
                      </a:cxn>
                      <a:cxn ang="0">
                        <a:pos x="connsiteX3" y="connsiteY3"/>
                      </a:cxn>
                    </a:cxnLst>
                    <a:rect l="l" t="t" r="r" b="b"/>
                    <a:pathLst>
                      <a:path w="395288" h="133350">
                        <a:moveTo>
                          <a:pt x="0" y="133350"/>
                        </a:moveTo>
                        <a:lnTo>
                          <a:pt x="135732" y="133350"/>
                        </a:lnTo>
                        <a:lnTo>
                          <a:pt x="269082" y="0"/>
                        </a:lnTo>
                        <a:lnTo>
                          <a:pt x="395288"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8" name="Freihandform 640"/>
                  <p:cNvSpPr/>
                  <p:nvPr/>
                </p:nvSpPr>
                <p:spPr bwMode="gray">
                  <a:xfrm>
                    <a:off x="5913959" y="3772927"/>
                    <a:ext cx="964403" cy="319689"/>
                  </a:xfrm>
                  <a:custGeom>
                    <a:avLst/>
                    <a:gdLst>
                      <a:gd name="connsiteX0" fmla="*/ 0 w 812007"/>
                      <a:gd name="connsiteY0" fmla="*/ 0 h 269082"/>
                      <a:gd name="connsiteX1" fmla="*/ 150019 w 812007"/>
                      <a:gd name="connsiteY1" fmla="*/ 0 h 269082"/>
                      <a:gd name="connsiteX2" fmla="*/ 273844 w 812007"/>
                      <a:gd name="connsiteY2" fmla="*/ 140494 h 269082"/>
                      <a:gd name="connsiteX3" fmla="*/ 411957 w 812007"/>
                      <a:gd name="connsiteY3" fmla="*/ 140494 h 269082"/>
                      <a:gd name="connsiteX4" fmla="*/ 538163 w 812007"/>
                      <a:gd name="connsiteY4" fmla="*/ 269082 h 269082"/>
                      <a:gd name="connsiteX5" fmla="*/ 812007 w 812007"/>
                      <a:gd name="connsiteY5" fmla="*/ 269082 h 2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007" h="269082">
                        <a:moveTo>
                          <a:pt x="0" y="0"/>
                        </a:moveTo>
                        <a:lnTo>
                          <a:pt x="150019" y="0"/>
                        </a:lnTo>
                        <a:lnTo>
                          <a:pt x="273844" y="140494"/>
                        </a:lnTo>
                        <a:lnTo>
                          <a:pt x="411957" y="140494"/>
                        </a:lnTo>
                        <a:lnTo>
                          <a:pt x="538163" y="269082"/>
                        </a:lnTo>
                        <a:lnTo>
                          <a:pt x="812007" y="269082"/>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9" name="Freihandform 641"/>
                  <p:cNvSpPr/>
                  <p:nvPr/>
                </p:nvSpPr>
                <p:spPr bwMode="gray">
                  <a:xfrm>
                    <a:off x="9415219" y="2972295"/>
                    <a:ext cx="1111465" cy="322516"/>
                  </a:xfrm>
                  <a:custGeom>
                    <a:avLst/>
                    <a:gdLst>
                      <a:gd name="connsiteX0" fmla="*/ 0 w 935831"/>
                      <a:gd name="connsiteY0" fmla="*/ 271462 h 271462"/>
                      <a:gd name="connsiteX1" fmla="*/ 133350 w 935831"/>
                      <a:gd name="connsiteY1" fmla="*/ 130968 h 271462"/>
                      <a:gd name="connsiteX2" fmla="*/ 411956 w 935831"/>
                      <a:gd name="connsiteY2" fmla="*/ 130968 h 271462"/>
                      <a:gd name="connsiteX3" fmla="*/ 535781 w 935831"/>
                      <a:gd name="connsiteY3" fmla="*/ 0 h 271462"/>
                      <a:gd name="connsiteX4" fmla="*/ 671512 w 935831"/>
                      <a:gd name="connsiteY4" fmla="*/ 0 h 271462"/>
                      <a:gd name="connsiteX5" fmla="*/ 807244 w 935831"/>
                      <a:gd name="connsiteY5" fmla="*/ 145256 h 271462"/>
                      <a:gd name="connsiteX6" fmla="*/ 935831 w 935831"/>
                      <a:gd name="connsiteY6" fmla="*/ 4762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831" h="271462">
                        <a:moveTo>
                          <a:pt x="0" y="271462"/>
                        </a:moveTo>
                        <a:lnTo>
                          <a:pt x="133350" y="130968"/>
                        </a:lnTo>
                        <a:lnTo>
                          <a:pt x="411956" y="130968"/>
                        </a:lnTo>
                        <a:lnTo>
                          <a:pt x="535781" y="0"/>
                        </a:lnTo>
                        <a:lnTo>
                          <a:pt x="671512" y="0"/>
                        </a:lnTo>
                        <a:lnTo>
                          <a:pt x="807244" y="145256"/>
                        </a:lnTo>
                        <a:lnTo>
                          <a:pt x="935831" y="4762"/>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0" name="Freihandform 642"/>
                  <p:cNvSpPr/>
                  <p:nvPr/>
                </p:nvSpPr>
                <p:spPr bwMode="gray">
                  <a:xfrm>
                    <a:off x="9727484" y="3288324"/>
                    <a:ext cx="486443" cy="164087"/>
                  </a:xfrm>
                  <a:custGeom>
                    <a:avLst/>
                    <a:gdLst>
                      <a:gd name="connsiteX0" fmla="*/ 0 w 409575"/>
                      <a:gd name="connsiteY0" fmla="*/ 138112 h 138112"/>
                      <a:gd name="connsiteX1" fmla="*/ 140494 w 409575"/>
                      <a:gd name="connsiteY1" fmla="*/ 0 h 138112"/>
                      <a:gd name="connsiteX2" fmla="*/ 409575 w 409575"/>
                      <a:gd name="connsiteY2" fmla="*/ 0 h 138112"/>
                    </a:gdLst>
                    <a:ahLst/>
                    <a:cxnLst>
                      <a:cxn ang="0">
                        <a:pos x="connsiteX0" y="connsiteY0"/>
                      </a:cxn>
                      <a:cxn ang="0">
                        <a:pos x="connsiteX1" y="connsiteY1"/>
                      </a:cxn>
                      <a:cxn ang="0">
                        <a:pos x="connsiteX2" y="connsiteY2"/>
                      </a:cxn>
                    </a:cxnLst>
                    <a:rect l="l" t="t" r="r" b="b"/>
                    <a:pathLst>
                      <a:path w="409575" h="138112">
                        <a:moveTo>
                          <a:pt x="0" y="138112"/>
                        </a:moveTo>
                        <a:lnTo>
                          <a:pt x="140494" y="0"/>
                        </a:lnTo>
                        <a:lnTo>
                          <a:pt x="409575"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1" name="Freihandform 643"/>
                  <p:cNvSpPr/>
                  <p:nvPr/>
                </p:nvSpPr>
                <p:spPr bwMode="gray">
                  <a:xfrm>
                    <a:off x="7982409" y="4086128"/>
                    <a:ext cx="2081524" cy="489434"/>
                  </a:xfrm>
                  <a:custGeom>
                    <a:avLst/>
                    <a:gdLst>
                      <a:gd name="connsiteX0" fmla="*/ 0 w 1752600"/>
                      <a:gd name="connsiteY0" fmla="*/ 138113 h 411957"/>
                      <a:gd name="connsiteX1" fmla="*/ 145256 w 1752600"/>
                      <a:gd name="connsiteY1" fmla="*/ 271463 h 411957"/>
                      <a:gd name="connsiteX2" fmla="*/ 400050 w 1752600"/>
                      <a:gd name="connsiteY2" fmla="*/ 0 h 411957"/>
                      <a:gd name="connsiteX3" fmla="*/ 804862 w 1752600"/>
                      <a:gd name="connsiteY3" fmla="*/ 0 h 411957"/>
                      <a:gd name="connsiteX4" fmla="*/ 938212 w 1752600"/>
                      <a:gd name="connsiteY4" fmla="*/ 140494 h 411957"/>
                      <a:gd name="connsiteX5" fmla="*/ 1202531 w 1752600"/>
                      <a:gd name="connsiteY5" fmla="*/ 140494 h 411957"/>
                      <a:gd name="connsiteX6" fmla="*/ 1335881 w 1752600"/>
                      <a:gd name="connsiteY6" fmla="*/ 273844 h 411957"/>
                      <a:gd name="connsiteX7" fmla="*/ 1469231 w 1752600"/>
                      <a:gd name="connsiteY7" fmla="*/ 130969 h 411957"/>
                      <a:gd name="connsiteX8" fmla="*/ 1752600 w 1752600"/>
                      <a:gd name="connsiteY8" fmla="*/ 411957 h 41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00" h="411957">
                        <a:moveTo>
                          <a:pt x="0" y="138113"/>
                        </a:moveTo>
                        <a:lnTo>
                          <a:pt x="145256" y="271463"/>
                        </a:lnTo>
                        <a:lnTo>
                          <a:pt x="400050" y="0"/>
                        </a:lnTo>
                        <a:lnTo>
                          <a:pt x="804862" y="0"/>
                        </a:lnTo>
                        <a:lnTo>
                          <a:pt x="938212" y="140494"/>
                        </a:lnTo>
                        <a:lnTo>
                          <a:pt x="1202531" y="140494"/>
                        </a:lnTo>
                        <a:lnTo>
                          <a:pt x="1335881" y="273844"/>
                        </a:lnTo>
                        <a:lnTo>
                          <a:pt x="1469231" y="130969"/>
                        </a:lnTo>
                        <a:lnTo>
                          <a:pt x="1752600" y="411957"/>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2" name="Freihandform 644"/>
                  <p:cNvSpPr/>
                  <p:nvPr/>
                </p:nvSpPr>
                <p:spPr bwMode="gray">
                  <a:xfrm>
                    <a:off x="9729145" y="4086957"/>
                    <a:ext cx="653303" cy="169745"/>
                  </a:xfrm>
                  <a:custGeom>
                    <a:avLst/>
                    <a:gdLst>
                      <a:gd name="connsiteX0" fmla="*/ 0 w 550068"/>
                      <a:gd name="connsiteY0" fmla="*/ 0 h 142875"/>
                      <a:gd name="connsiteX1" fmla="*/ 278606 w 550068"/>
                      <a:gd name="connsiteY1" fmla="*/ 0 h 142875"/>
                      <a:gd name="connsiteX2" fmla="*/ 402431 w 550068"/>
                      <a:gd name="connsiteY2" fmla="*/ 142875 h 142875"/>
                      <a:gd name="connsiteX3" fmla="*/ 550068 w 550068"/>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550068" h="142875">
                        <a:moveTo>
                          <a:pt x="0" y="0"/>
                        </a:moveTo>
                        <a:lnTo>
                          <a:pt x="278606" y="0"/>
                        </a:lnTo>
                        <a:lnTo>
                          <a:pt x="402431" y="142875"/>
                        </a:lnTo>
                        <a:lnTo>
                          <a:pt x="550068" y="142875"/>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3" name="Freihandform 645"/>
                  <p:cNvSpPr/>
                  <p:nvPr/>
                </p:nvSpPr>
                <p:spPr bwMode="gray">
                  <a:xfrm>
                    <a:off x="10685061" y="3142041"/>
                    <a:ext cx="967231" cy="469629"/>
                  </a:xfrm>
                  <a:custGeom>
                    <a:avLst/>
                    <a:gdLst>
                      <a:gd name="connsiteX0" fmla="*/ 0 w 814388"/>
                      <a:gd name="connsiteY0" fmla="*/ 0 h 395287"/>
                      <a:gd name="connsiteX1" fmla="*/ 135731 w 814388"/>
                      <a:gd name="connsiteY1" fmla="*/ 130968 h 395287"/>
                      <a:gd name="connsiteX2" fmla="*/ 273844 w 814388"/>
                      <a:gd name="connsiteY2" fmla="*/ 130968 h 395287"/>
                      <a:gd name="connsiteX3" fmla="*/ 538163 w 814388"/>
                      <a:gd name="connsiteY3" fmla="*/ 395287 h 395287"/>
                      <a:gd name="connsiteX4" fmla="*/ 814388 w 814388"/>
                      <a:gd name="connsiteY4" fmla="*/ 395287 h 39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388" h="395287">
                        <a:moveTo>
                          <a:pt x="0" y="0"/>
                        </a:moveTo>
                        <a:lnTo>
                          <a:pt x="135731" y="130968"/>
                        </a:lnTo>
                        <a:lnTo>
                          <a:pt x="273844" y="130968"/>
                        </a:lnTo>
                        <a:lnTo>
                          <a:pt x="538163" y="395287"/>
                        </a:lnTo>
                        <a:lnTo>
                          <a:pt x="814388" y="395287"/>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4" name="Freihandform 646"/>
                  <p:cNvSpPr/>
                  <p:nvPr/>
                </p:nvSpPr>
                <p:spPr bwMode="gray">
                  <a:xfrm>
                    <a:off x="10834953" y="3934187"/>
                    <a:ext cx="822994" cy="472458"/>
                  </a:xfrm>
                  <a:custGeom>
                    <a:avLst/>
                    <a:gdLst>
                      <a:gd name="connsiteX0" fmla="*/ 0 w 692944"/>
                      <a:gd name="connsiteY0" fmla="*/ 397668 h 397668"/>
                      <a:gd name="connsiteX1" fmla="*/ 145257 w 692944"/>
                      <a:gd name="connsiteY1" fmla="*/ 397668 h 397668"/>
                      <a:gd name="connsiteX2" fmla="*/ 542925 w 692944"/>
                      <a:gd name="connsiteY2" fmla="*/ 0 h 397668"/>
                      <a:gd name="connsiteX3" fmla="*/ 692944 w 692944"/>
                      <a:gd name="connsiteY3" fmla="*/ 0 h 397668"/>
                    </a:gdLst>
                    <a:ahLst/>
                    <a:cxnLst>
                      <a:cxn ang="0">
                        <a:pos x="connsiteX0" y="connsiteY0"/>
                      </a:cxn>
                      <a:cxn ang="0">
                        <a:pos x="connsiteX1" y="connsiteY1"/>
                      </a:cxn>
                      <a:cxn ang="0">
                        <a:pos x="connsiteX2" y="connsiteY2"/>
                      </a:cxn>
                      <a:cxn ang="0">
                        <a:pos x="connsiteX3" y="connsiteY3"/>
                      </a:cxn>
                    </a:cxnLst>
                    <a:rect l="l" t="t" r="r" b="b"/>
                    <a:pathLst>
                      <a:path w="692944" h="397668">
                        <a:moveTo>
                          <a:pt x="0" y="397668"/>
                        </a:moveTo>
                        <a:lnTo>
                          <a:pt x="145257" y="397668"/>
                        </a:lnTo>
                        <a:lnTo>
                          <a:pt x="542925" y="0"/>
                        </a:lnTo>
                        <a:lnTo>
                          <a:pt x="692944"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5" name="Freihandform 647"/>
                  <p:cNvSpPr/>
                  <p:nvPr/>
                </p:nvSpPr>
                <p:spPr bwMode="gray">
                  <a:xfrm>
                    <a:off x="10843438" y="3614498"/>
                    <a:ext cx="483615" cy="164088"/>
                  </a:xfrm>
                  <a:custGeom>
                    <a:avLst/>
                    <a:gdLst>
                      <a:gd name="connsiteX0" fmla="*/ 0 w 407194"/>
                      <a:gd name="connsiteY0" fmla="*/ 0 h 138113"/>
                      <a:gd name="connsiteX1" fmla="*/ 133350 w 407194"/>
                      <a:gd name="connsiteY1" fmla="*/ 0 h 138113"/>
                      <a:gd name="connsiteX2" fmla="*/ 271463 w 407194"/>
                      <a:gd name="connsiteY2" fmla="*/ 138113 h 138113"/>
                      <a:gd name="connsiteX3" fmla="*/ 407194 w 407194"/>
                      <a:gd name="connsiteY3" fmla="*/ 138113 h 138113"/>
                    </a:gdLst>
                    <a:ahLst/>
                    <a:cxnLst>
                      <a:cxn ang="0">
                        <a:pos x="connsiteX0" y="connsiteY0"/>
                      </a:cxn>
                      <a:cxn ang="0">
                        <a:pos x="connsiteX1" y="connsiteY1"/>
                      </a:cxn>
                      <a:cxn ang="0">
                        <a:pos x="connsiteX2" y="connsiteY2"/>
                      </a:cxn>
                      <a:cxn ang="0">
                        <a:pos x="connsiteX3" y="connsiteY3"/>
                      </a:cxn>
                    </a:cxnLst>
                    <a:rect l="l" t="t" r="r" b="b"/>
                    <a:pathLst>
                      <a:path w="407194" h="138113">
                        <a:moveTo>
                          <a:pt x="0" y="0"/>
                        </a:moveTo>
                        <a:lnTo>
                          <a:pt x="133350" y="0"/>
                        </a:lnTo>
                        <a:lnTo>
                          <a:pt x="271463" y="138113"/>
                        </a:lnTo>
                        <a:lnTo>
                          <a:pt x="407194" y="138113"/>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6" name="Freihandform 648"/>
                  <p:cNvSpPr/>
                  <p:nvPr/>
                </p:nvSpPr>
                <p:spPr bwMode="gray">
                  <a:xfrm>
                    <a:off x="11171504" y="3770097"/>
                    <a:ext cx="311098" cy="161259"/>
                  </a:xfrm>
                  <a:custGeom>
                    <a:avLst/>
                    <a:gdLst>
                      <a:gd name="connsiteX0" fmla="*/ 0 w 261938"/>
                      <a:gd name="connsiteY0" fmla="*/ 135732 h 135732"/>
                      <a:gd name="connsiteX1" fmla="*/ 126206 w 261938"/>
                      <a:gd name="connsiteY1" fmla="*/ 135732 h 135732"/>
                      <a:gd name="connsiteX2" fmla="*/ 261938 w 261938"/>
                      <a:gd name="connsiteY2" fmla="*/ 0 h 135732"/>
                    </a:gdLst>
                    <a:ahLst/>
                    <a:cxnLst>
                      <a:cxn ang="0">
                        <a:pos x="connsiteX0" y="connsiteY0"/>
                      </a:cxn>
                      <a:cxn ang="0">
                        <a:pos x="connsiteX1" y="connsiteY1"/>
                      </a:cxn>
                      <a:cxn ang="0">
                        <a:pos x="connsiteX2" y="connsiteY2"/>
                      </a:cxn>
                    </a:cxnLst>
                    <a:rect l="l" t="t" r="r" b="b"/>
                    <a:pathLst>
                      <a:path w="261938" h="135732">
                        <a:moveTo>
                          <a:pt x="0" y="135732"/>
                        </a:moveTo>
                        <a:lnTo>
                          <a:pt x="126206" y="135732"/>
                        </a:lnTo>
                        <a:lnTo>
                          <a:pt x="261938"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07" name="Freihandform 649"/>
                  <p:cNvSpPr/>
                  <p:nvPr/>
                </p:nvSpPr>
                <p:spPr bwMode="gray">
                  <a:xfrm>
                    <a:off x="7027311" y="3611670"/>
                    <a:ext cx="478901" cy="147113"/>
                  </a:xfrm>
                  <a:custGeom>
                    <a:avLst/>
                    <a:gdLst>
                      <a:gd name="connsiteX0" fmla="*/ 0 w 403225"/>
                      <a:gd name="connsiteY0" fmla="*/ 0 h 123825"/>
                      <a:gd name="connsiteX1" fmla="*/ 279400 w 403225"/>
                      <a:gd name="connsiteY1" fmla="*/ 0 h 123825"/>
                      <a:gd name="connsiteX2" fmla="*/ 403225 w 403225"/>
                      <a:gd name="connsiteY2" fmla="*/ 123825 h 123825"/>
                    </a:gdLst>
                    <a:ahLst/>
                    <a:cxnLst>
                      <a:cxn ang="0">
                        <a:pos x="connsiteX0" y="connsiteY0"/>
                      </a:cxn>
                      <a:cxn ang="0">
                        <a:pos x="connsiteX1" y="connsiteY1"/>
                      </a:cxn>
                      <a:cxn ang="0">
                        <a:pos x="connsiteX2" y="connsiteY2"/>
                      </a:cxn>
                    </a:cxnLst>
                    <a:rect l="l" t="t" r="r" b="b"/>
                    <a:pathLst>
                      <a:path w="403225" h="123825">
                        <a:moveTo>
                          <a:pt x="0" y="0"/>
                        </a:moveTo>
                        <a:lnTo>
                          <a:pt x="279400" y="0"/>
                        </a:lnTo>
                        <a:lnTo>
                          <a:pt x="403225" y="123825"/>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grpSp>
            <p:sp>
              <p:nvSpPr>
                <p:cNvPr id="43" name="Ellipse 385"/>
                <p:cNvSpPr/>
                <p:nvPr/>
              </p:nvSpPr>
              <p:spPr bwMode="gray">
                <a:xfrm flipV="1">
                  <a:off x="7168935"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 name="Ellipse 386"/>
                <p:cNvSpPr/>
                <p:nvPr/>
              </p:nvSpPr>
              <p:spPr bwMode="gray">
                <a:xfrm flipV="1">
                  <a:off x="7008659" y="4542262"/>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 name="Ellipse 387"/>
                <p:cNvSpPr/>
                <p:nvPr/>
              </p:nvSpPr>
              <p:spPr bwMode="gray">
                <a:xfrm flipV="1">
                  <a:off x="6212416" y="4542262"/>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 name="Ellipse 388"/>
                <p:cNvSpPr/>
                <p:nvPr/>
              </p:nvSpPr>
              <p:spPr bwMode="gray">
                <a:xfrm flipV="1">
                  <a:off x="6060007"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 name="Ellipse 389"/>
                <p:cNvSpPr/>
                <p:nvPr/>
              </p:nvSpPr>
              <p:spPr bwMode="gray">
                <a:xfrm flipV="1">
                  <a:off x="9869536"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 name="Ellipse 390"/>
                <p:cNvSpPr/>
                <p:nvPr/>
              </p:nvSpPr>
              <p:spPr bwMode="gray">
                <a:xfrm flipV="1">
                  <a:off x="10506048"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9" name="Ellipse 391"/>
                <p:cNvSpPr/>
                <p:nvPr/>
              </p:nvSpPr>
              <p:spPr bwMode="gray">
                <a:xfrm flipV="1">
                  <a:off x="10506048"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 name="Ellipse 392"/>
                <p:cNvSpPr/>
                <p:nvPr/>
              </p:nvSpPr>
              <p:spPr bwMode="gray">
                <a:xfrm flipV="1">
                  <a:off x="10506048"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 name="Ellipse 393"/>
                <p:cNvSpPr/>
                <p:nvPr/>
              </p:nvSpPr>
              <p:spPr bwMode="gray">
                <a:xfrm flipV="1">
                  <a:off x="1050604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 name="Ellipse 394"/>
                <p:cNvSpPr/>
                <p:nvPr/>
              </p:nvSpPr>
              <p:spPr bwMode="gray">
                <a:xfrm flipV="1">
                  <a:off x="10664375"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 name="Ellipse 395"/>
                <p:cNvSpPr/>
                <p:nvPr/>
              </p:nvSpPr>
              <p:spPr bwMode="gray">
                <a:xfrm flipV="1">
                  <a:off x="10819865"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 name="Ellipse 396"/>
                <p:cNvSpPr/>
                <p:nvPr/>
              </p:nvSpPr>
              <p:spPr bwMode="gray">
                <a:xfrm flipV="1">
                  <a:off x="10664375"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 name="Ellipse 397"/>
                <p:cNvSpPr/>
                <p:nvPr/>
              </p:nvSpPr>
              <p:spPr bwMode="gray">
                <a:xfrm flipV="1">
                  <a:off x="10819865"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 name="Ellipse 398"/>
                <p:cNvSpPr/>
                <p:nvPr/>
              </p:nvSpPr>
              <p:spPr bwMode="gray">
                <a:xfrm flipV="1">
                  <a:off x="10819865"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 name="Ellipse 399"/>
                <p:cNvSpPr/>
                <p:nvPr/>
              </p:nvSpPr>
              <p:spPr bwMode="gray">
                <a:xfrm flipV="1">
                  <a:off x="10348724"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 name="Ellipse 400"/>
                <p:cNvSpPr/>
                <p:nvPr/>
              </p:nvSpPr>
              <p:spPr bwMode="gray">
                <a:xfrm flipV="1">
                  <a:off x="10348724"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 name="Ellipse 401"/>
                <p:cNvSpPr/>
                <p:nvPr/>
              </p:nvSpPr>
              <p:spPr bwMode="gray">
                <a:xfrm flipV="1">
                  <a:off x="10348724"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 name="Ellipse 402"/>
                <p:cNvSpPr/>
                <p:nvPr/>
              </p:nvSpPr>
              <p:spPr bwMode="gray">
                <a:xfrm flipV="1">
                  <a:off x="11297443"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 name="Ellipse 403"/>
                <p:cNvSpPr/>
                <p:nvPr/>
              </p:nvSpPr>
              <p:spPr bwMode="gray">
                <a:xfrm flipV="1">
                  <a:off x="11297443"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 name="Ellipse 404"/>
                <p:cNvSpPr/>
                <p:nvPr/>
              </p:nvSpPr>
              <p:spPr bwMode="gray">
                <a:xfrm flipV="1">
                  <a:off x="11145346"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 name="Ellipse 405"/>
                <p:cNvSpPr/>
                <p:nvPr/>
              </p:nvSpPr>
              <p:spPr bwMode="gray">
                <a:xfrm flipV="1">
                  <a:off x="11297443"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 name="Ellipse 406"/>
                <p:cNvSpPr/>
                <p:nvPr/>
              </p:nvSpPr>
              <p:spPr bwMode="gray">
                <a:xfrm flipV="1">
                  <a:off x="11297443"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 name="Ellipse 407"/>
                <p:cNvSpPr/>
                <p:nvPr/>
              </p:nvSpPr>
              <p:spPr bwMode="gray">
                <a:xfrm flipV="1">
                  <a:off x="11297443"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6" name="Ellipse 408"/>
                <p:cNvSpPr/>
                <p:nvPr/>
              </p:nvSpPr>
              <p:spPr bwMode="gray">
                <a:xfrm flipV="1">
                  <a:off x="10033949"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7" name="Ellipse 409"/>
                <p:cNvSpPr/>
                <p:nvPr/>
              </p:nvSpPr>
              <p:spPr bwMode="gray">
                <a:xfrm flipV="1">
                  <a:off x="9869536"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8" name="Ellipse 410"/>
                <p:cNvSpPr/>
                <p:nvPr/>
              </p:nvSpPr>
              <p:spPr bwMode="gray">
                <a:xfrm flipV="1">
                  <a:off x="9710290"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9" name="Ellipse 411"/>
                <p:cNvSpPr/>
                <p:nvPr/>
              </p:nvSpPr>
              <p:spPr bwMode="gray">
                <a:xfrm flipV="1">
                  <a:off x="11145346"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0" name="Ellipse 412"/>
                <p:cNvSpPr/>
                <p:nvPr/>
              </p:nvSpPr>
              <p:spPr bwMode="gray">
                <a:xfrm flipV="1">
                  <a:off x="11145346"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1" name="Ellipse 413"/>
                <p:cNvSpPr/>
                <p:nvPr/>
              </p:nvSpPr>
              <p:spPr bwMode="gray">
                <a:xfrm flipV="1">
                  <a:off x="10819865"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2" name="Ellipse 414"/>
                <p:cNvSpPr/>
                <p:nvPr/>
              </p:nvSpPr>
              <p:spPr bwMode="gray">
                <a:xfrm flipV="1">
                  <a:off x="10983149"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3" name="Ellipse 415"/>
                <p:cNvSpPr/>
                <p:nvPr/>
              </p:nvSpPr>
              <p:spPr bwMode="gray">
                <a:xfrm flipV="1">
                  <a:off x="10983149"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4" name="Ellipse 416"/>
                <p:cNvSpPr/>
                <p:nvPr/>
              </p:nvSpPr>
              <p:spPr bwMode="gray">
                <a:xfrm flipV="1">
                  <a:off x="10983149"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5" name="Ellipse 417"/>
                <p:cNvSpPr/>
                <p:nvPr/>
              </p:nvSpPr>
              <p:spPr bwMode="gray">
                <a:xfrm flipV="1">
                  <a:off x="9869536"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6" name="Ellipse 418"/>
                <p:cNvSpPr/>
                <p:nvPr/>
              </p:nvSpPr>
              <p:spPr bwMode="gray">
                <a:xfrm flipV="1">
                  <a:off x="10033949"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7" name="Ellipse 419"/>
                <p:cNvSpPr/>
                <p:nvPr/>
              </p:nvSpPr>
              <p:spPr bwMode="gray">
                <a:xfrm flipV="1">
                  <a:off x="10183269"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8" name="Ellipse 420"/>
                <p:cNvSpPr/>
                <p:nvPr/>
              </p:nvSpPr>
              <p:spPr bwMode="gray">
                <a:xfrm flipV="1">
                  <a:off x="1018326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79" name="Ellipse 421"/>
                <p:cNvSpPr/>
                <p:nvPr/>
              </p:nvSpPr>
              <p:spPr bwMode="gray">
                <a:xfrm flipV="1">
                  <a:off x="10183269"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0" name="Ellipse 422"/>
                <p:cNvSpPr/>
                <p:nvPr/>
              </p:nvSpPr>
              <p:spPr bwMode="gray">
                <a:xfrm flipV="1">
                  <a:off x="10183269"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1" name="Ellipse 423"/>
                <p:cNvSpPr/>
                <p:nvPr/>
              </p:nvSpPr>
              <p:spPr bwMode="gray">
                <a:xfrm flipV="1">
                  <a:off x="9869536"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2" name="Ellipse 424"/>
                <p:cNvSpPr/>
                <p:nvPr/>
              </p:nvSpPr>
              <p:spPr bwMode="gray">
                <a:xfrm flipV="1">
                  <a:off x="9869536"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3" name="Ellipse 425"/>
                <p:cNvSpPr/>
                <p:nvPr/>
              </p:nvSpPr>
              <p:spPr bwMode="gray">
                <a:xfrm flipV="1">
                  <a:off x="9869536"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4" name="Ellipse 426"/>
                <p:cNvSpPr/>
                <p:nvPr/>
              </p:nvSpPr>
              <p:spPr bwMode="gray">
                <a:xfrm flipV="1">
                  <a:off x="9869536"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5" name="Ellipse 427"/>
                <p:cNvSpPr/>
                <p:nvPr/>
              </p:nvSpPr>
              <p:spPr bwMode="gray">
                <a:xfrm flipV="1">
                  <a:off x="9710290"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6" name="Ellipse 428"/>
                <p:cNvSpPr/>
                <p:nvPr/>
              </p:nvSpPr>
              <p:spPr bwMode="gray">
                <a:xfrm flipV="1">
                  <a:off x="9710290"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7" name="Ellipse 429"/>
                <p:cNvSpPr/>
                <p:nvPr/>
              </p:nvSpPr>
              <p:spPr bwMode="gray">
                <a:xfrm flipV="1">
                  <a:off x="9388437"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8" name="Ellipse 430"/>
                <p:cNvSpPr/>
                <p:nvPr/>
              </p:nvSpPr>
              <p:spPr bwMode="gray">
                <a:xfrm flipV="1">
                  <a:off x="9388437"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89" name="Ellipse 431"/>
                <p:cNvSpPr/>
                <p:nvPr/>
              </p:nvSpPr>
              <p:spPr bwMode="gray">
                <a:xfrm flipV="1">
                  <a:off x="9388437"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0" name="Ellipse 432"/>
                <p:cNvSpPr/>
                <p:nvPr/>
              </p:nvSpPr>
              <p:spPr bwMode="gray">
                <a:xfrm flipV="1">
                  <a:off x="9388437"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1" name="Ellipse 433"/>
                <p:cNvSpPr/>
                <p:nvPr/>
              </p:nvSpPr>
              <p:spPr bwMode="gray">
                <a:xfrm flipV="1">
                  <a:off x="9388437"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2" name="Ellipse 434"/>
                <p:cNvSpPr/>
                <p:nvPr/>
              </p:nvSpPr>
              <p:spPr bwMode="gray">
                <a:xfrm flipV="1">
                  <a:off x="9388437"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3" name="Ellipse 435"/>
                <p:cNvSpPr/>
                <p:nvPr/>
              </p:nvSpPr>
              <p:spPr bwMode="gray">
                <a:xfrm flipV="1">
                  <a:off x="9550513"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4" name="Ellipse 436"/>
                <p:cNvSpPr/>
                <p:nvPr/>
              </p:nvSpPr>
              <p:spPr bwMode="gray">
                <a:xfrm flipV="1">
                  <a:off x="9388437"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5" name="Ellipse 437"/>
                <p:cNvSpPr/>
                <p:nvPr/>
              </p:nvSpPr>
              <p:spPr bwMode="gray">
                <a:xfrm flipV="1">
                  <a:off x="923288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6" name="Ellipse 438"/>
                <p:cNvSpPr/>
                <p:nvPr/>
              </p:nvSpPr>
              <p:spPr bwMode="gray">
                <a:xfrm flipV="1">
                  <a:off x="9232888"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7" name="Ellipse 439"/>
                <p:cNvSpPr/>
                <p:nvPr/>
              </p:nvSpPr>
              <p:spPr bwMode="gray">
                <a:xfrm flipV="1">
                  <a:off x="9071683"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8" name="Ellipse 440"/>
                <p:cNvSpPr/>
                <p:nvPr/>
              </p:nvSpPr>
              <p:spPr bwMode="gray">
                <a:xfrm flipV="1">
                  <a:off x="9071683"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99" name="Ellipse 441"/>
                <p:cNvSpPr/>
                <p:nvPr/>
              </p:nvSpPr>
              <p:spPr bwMode="gray">
                <a:xfrm flipV="1">
                  <a:off x="9071683"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0" name="Ellipse 442"/>
                <p:cNvSpPr/>
                <p:nvPr/>
              </p:nvSpPr>
              <p:spPr bwMode="gray">
                <a:xfrm flipV="1">
                  <a:off x="9071683"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1" name="Ellipse 443"/>
                <p:cNvSpPr/>
                <p:nvPr/>
              </p:nvSpPr>
              <p:spPr bwMode="gray">
                <a:xfrm flipV="1">
                  <a:off x="8916090"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2" name="Ellipse 444"/>
                <p:cNvSpPr/>
                <p:nvPr/>
              </p:nvSpPr>
              <p:spPr bwMode="gray">
                <a:xfrm flipV="1">
                  <a:off x="8750809"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3" name="Ellipse 445"/>
                <p:cNvSpPr/>
                <p:nvPr/>
              </p:nvSpPr>
              <p:spPr bwMode="gray">
                <a:xfrm flipV="1">
                  <a:off x="8440732"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4" name="Ellipse 446"/>
                <p:cNvSpPr/>
                <p:nvPr/>
              </p:nvSpPr>
              <p:spPr bwMode="gray">
                <a:xfrm flipV="1">
                  <a:off x="8278932"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5" name="Ellipse 447"/>
                <p:cNvSpPr/>
                <p:nvPr/>
              </p:nvSpPr>
              <p:spPr bwMode="gray">
                <a:xfrm flipV="1">
                  <a:off x="8128417"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6" name="Ellipse 448"/>
                <p:cNvSpPr/>
                <p:nvPr/>
              </p:nvSpPr>
              <p:spPr bwMode="gray">
                <a:xfrm flipV="1">
                  <a:off x="7803804"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7" name="Ellipse 449"/>
                <p:cNvSpPr/>
                <p:nvPr/>
              </p:nvSpPr>
              <p:spPr bwMode="gray">
                <a:xfrm flipV="1">
                  <a:off x="7803804"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8" name="Ellipse 450"/>
                <p:cNvSpPr/>
                <p:nvPr/>
              </p:nvSpPr>
              <p:spPr bwMode="gray">
                <a:xfrm flipV="1">
                  <a:off x="7803804"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09" name="Ellipse 451"/>
                <p:cNvSpPr/>
                <p:nvPr/>
              </p:nvSpPr>
              <p:spPr bwMode="gray">
                <a:xfrm flipV="1">
                  <a:off x="764161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0" name="Ellipse 452"/>
                <p:cNvSpPr/>
                <p:nvPr/>
              </p:nvSpPr>
              <p:spPr bwMode="gray">
                <a:xfrm flipV="1">
                  <a:off x="7641618"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1" name="Ellipse 453"/>
                <p:cNvSpPr/>
                <p:nvPr/>
              </p:nvSpPr>
              <p:spPr bwMode="gray">
                <a:xfrm flipV="1">
                  <a:off x="7488886"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2" name="Ellipse 454"/>
                <p:cNvSpPr/>
                <p:nvPr/>
              </p:nvSpPr>
              <p:spPr bwMode="gray">
                <a:xfrm flipV="1">
                  <a:off x="7488886"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3" name="Ellipse 455"/>
                <p:cNvSpPr/>
                <p:nvPr/>
              </p:nvSpPr>
              <p:spPr bwMode="gray">
                <a:xfrm flipV="1">
                  <a:off x="7488886"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4" name="Ellipse 456"/>
                <p:cNvSpPr/>
                <p:nvPr/>
              </p:nvSpPr>
              <p:spPr bwMode="gray">
                <a:xfrm flipV="1">
                  <a:off x="7488886"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5" name="Ellipse 457"/>
                <p:cNvSpPr/>
                <p:nvPr/>
              </p:nvSpPr>
              <p:spPr bwMode="gray">
                <a:xfrm flipV="1">
                  <a:off x="7330509"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6" name="Ellipse 458"/>
                <p:cNvSpPr/>
                <p:nvPr/>
              </p:nvSpPr>
              <p:spPr bwMode="gray">
                <a:xfrm flipV="1">
                  <a:off x="7168935"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7" name="Ellipse 459"/>
                <p:cNvSpPr/>
                <p:nvPr/>
              </p:nvSpPr>
              <p:spPr bwMode="gray">
                <a:xfrm flipV="1">
                  <a:off x="7168935"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8" name="Ellipse 460"/>
                <p:cNvSpPr/>
                <p:nvPr/>
              </p:nvSpPr>
              <p:spPr bwMode="gray">
                <a:xfrm flipV="1">
                  <a:off x="7168935"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19" name="Ellipse 461"/>
                <p:cNvSpPr/>
                <p:nvPr/>
              </p:nvSpPr>
              <p:spPr bwMode="gray">
                <a:xfrm flipV="1">
                  <a:off x="7168935"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0" name="Ellipse 462"/>
                <p:cNvSpPr/>
                <p:nvPr/>
              </p:nvSpPr>
              <p:spPr bwMode="gray">
                <a:xfrm flipV="1">
                  <a:off x="7168935"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1" name="Ellipse 463"/>
                <p:cNvSpPr/>
                <p:nvPr/>
              </p:nvSpPr>
              <p:spPr bwMode="gray">
                <a:xfrm flipV="1">
                  <a:off x="7168935"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2" name="Ellipse 464"/>
                <p:cNvSpPr/>
                <p:nvPr/>
              </p:nvSpPr>
              <p:spPr bwMode="gray">
                <a:xfrm flipV="1">
                  <a:off x="7008659"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3" name="Ellipse 465"/>
                <p:cNvSpPr/>
                <p:nvPr/>
              </p:nvSpPr>
              <p:spPr bwMode="gray">
                <a:xfrm flipV="1">
                  <a:off x="700865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4" name="Ellipse 466"/>
                <p:cNvSpPr/>
                <p:nvPr/>
              </p:nvSpPr>
              <p:spPr bwMode="gray">
                <a:xfrm flipV="1">
                  <a:off x="6851912"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5" name="Ellipse 467"/>
                <p:cNvSpPr/>
                <p:nvPr/>
              </p:nvSpPr>
              <p:spPr bwMode="gray">
                <a:xfrm flipV="1">
                  <a:off x="6851912"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6" name="Ellipse 468"/>
                <p:cNvSpPr/>
                <p:nvPr/>
              </p:nvSpPr>
              <p:spPr bwMode="gray">
                <a:xfrm flipV="1">
                  <a:off x="6851912"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7" name="Ellipse 469"/>
                <p:cNvSpPr/>
                <p:nvPr/>
              </p:nvSpPr>
              <p:spPr bwMode="gray">
                <a:xfrm flipV="1">
                  <a:off x="6532971"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8" name="Ellipse 470"/>
                <p:cNvSpPr/>
                <p:nvPr/>
              </p:nvSpPr>
              <p:spPr bwMode="gray">
                <a:xfrm flipV="1">
                  <a:off x="6691601"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29" name="Ellipse 471"/>
                <p:cNvSpPr/>
                <p:nvPr/>
              </p:nvSpPr>
              <p:spPr bwMode="gray">
                <a:xfrm flipV="1">
                  <a:off x="6691601"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0" name="Ellipse 472"/>
                <p:cNvSpPr/>
                <p:nvPr/>
              </p:nvSpPr>
              <p:spPr bwMode="gray">
                <a:xfrm flipV="1">
                  <a:off x="6380853"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1" name="Ellipse 473"/>
                <p:cNvSpPr/>
                <p:nvPr/>
              </p:nvSpPr>
              <p:spPr bwMode="gray">
                <a:xfrm flipV="1">
                  <a:off x="6380853"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2" name="Ellipse 474"/>
                <p:cNvSpPr/>
                <p:nvPr/>
              </p:nvSpPr>
              <p:spPr bwMode="gray">
                <a:xfrm flipV="1">
                  <a:off x="6380853"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3" name="Ellipse 475"/>
                <p:cNvSpPr/>
                <p:nvPr/>
              </p:nvSpPr>
              <p:spPr bwMode="gray">
                <a:xfrm flipV="1">
                  <a:off x="6212416"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4" name="Ellipse 476"/>
                <p:cNvSpPr/>
                <p:nvPr/>
              </p:nvSpPr>
              <p:spPr bwMode="gray">
                <a:xfrm flipV="1">
                  <a:off x="6212416"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5" name="Ellipse 477"/>
                <p:cNvSpPr/>
                <p:nvPr/>
              </p:nvSpPr>
              <p:spPr bwMode="gray">
                <a:xfrm flipV="1">
                  <a:off x="6060007"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6" name="Ellipse 478"/>
                <p:cNvSpPr/>
                <p:nvPr/>
              </p:nvSpPr>
              <p:spPr bwMode="gray">
                <a:xfrm flipV="1">
                  <a:off x="6060007"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7" name="Ellipse 479"/>
                <p:cNvSpPr/>
                <p:nvPr/>
              </p:nvSpPr>
              <p:spPr bwMode="gray">
                <a:xfrm flipV="1">
                  <a:off x="6060007"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8" name="Ellipse 480"/>
                <p:cNvSpPr/>
                <p:nvPr/>
              </p:nvSpPr>
              <p:spPr bwMode="gray">
                <a:xfrm flipV="1">
                  <a:off x="6060007"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39" name="Ellipse 481"/>
                <p:cNvSpPr/>
                <p:nvPr/>
              </p:nvSpPr>
              <p:spPr bwMode="gray">
                <a:xfrm flipV="1">
                  <a:off x="5895662"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40" name="Ellipse 482"/>
                <p:cNvSpPr/>
                <p:nvPr/>
              </p:nvSpPr>
              <p:spPr bwMode="gray">
                <a:xfrm flipV="1">
                  <a:off x="5895662"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41" name="Ellipse 483"/>
                <p:cNvSpPr/>
                <p:nvPr/>
              </p:nvSpPr>
              <p:spPr bwMode="gray">
                <a:xfrm flipV="1">
                  <a:off x="5895662"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42" name="Ellipse 484"/>
                <p:cNvSpPr/>
                <p:nvPr/>
              </p:nvSpPr>
              <p:spPr bwMode="gray">
                <a:xfrm flipV="1">
                  <a:off x="5895662"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43" name="Ellipse 485"/>
                <p:cNvSpPr/>
                <p:nvPr/>
              </p:nvSpPr>
              <p:spPr bwMode="gray">
                <a:xfrm flipV="1">
                  <a:off x="5734457"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4" name="Ellipse 486"/>
                <p:cNvSpPr/>
                <p:nvPr/>
              </p:nvSpPr>
              <p:spPr bwMode="gray">
                <a:xfrm flipV="1">
                  <a:off x="5734457"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5" name="Ellipse 487"/>
                <p:cNvSpPr/>
                <p:nvPr/>
              </p:nvSpPr>
              <p:spPr bwMode="gray">
                <a:xfrm flipV="1">
                  <a:off x="5734457"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6" name="Ellipse 488"/>
                <p:cNvSpPr/>
                <p:nvPr/>
              </p:nvSpPr>
              <p:spPr bwMode="gray">
                <a:xfrm flipV="1">
                  <a:off x="5573252"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7" name="Ellipse 489"/>
                <p:cNvSpPr/>
                <p:nvPr/>
              </p:nvSpPr>
              <p:spPr bwMode="gray">
                <a:xfrm flipV="1">
                  <a:off x="5573252"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8" name="Ellipse 490"/>
                <p:cNvSpPr/>
                <p:nvPr/>
              </p:nvSpPr>
              <p:spPr bwMode="gray">
                <a:xfrm flipV="1">
                  <a:off x="5573252"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49" name="Ellipse 491"/>
                <p:cNvSpPr/>
                <p:nvPr/>
              </p:nvSpPr>
              <p:spPr bwMode="gray">
                <a:xfrm flipV="1">
                  <a:off x="5573252"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50" name="Ellipse 492"/>
                <p:cNvSpPr/>
                <p:nvPr/>
              </p:nvSpPr>
              <p:spPr bwMode="gray">
                <a:xfrm flipV="1">
                  <a:off x="5414379"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51" name="Ellipse 493"/>
                <p:cNvSpPr/>
                <p:nvPr/>
              </p:nvSpPr>
              <p:spPr bwMode="gray">
                <a:xfrm flipV="1">
                  <a:off x="5414379"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52" name="Ellipse 494"/>
                <p:cNvSpPr/>
                <p:nvPr/>
              </p:nvSpPr>
              <p:spPr bwMode="gray">
                <a:xfrm flipV="1">
                  <a:off x="541437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153" name="Ellipse 495"/>
                <p:cNvSpPr/>
                <p:nvPr/>
              </p:nvSpPr>
              <p:spPr bwMode="gray">
                <a:xfrm flipV="1">
                  <a:off x="10972460"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4" name="Ellipse 496"/>
                <p:cNvSpPr/>
                <p:nvPr/>
              </p:nvSpPr>
              <p:spPr bwMode="gray">
                <a:xfrm flipV="1">
                  <a:off x="1097246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5" name="Ellipse 497"/>
                <p:cNvSpPr/>
                <p:nvPr/>
              </p:nvSpPr>
              <p:spPr bwMode="gray">
                <a:xfrm flipV="1">
                  <a:off x="10972460"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6" name="Ellipse 498"/>
                <p:cNvSpPr/>
                <p:nvPr/>
              </p:nvSpPr>
              <p:spPr bwMode="gray">
                <a:xfrm flipV="1">
                  <a:off x="10972460"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7" name="Ellipse 499"/>
                <p:cNvSpPr/>
                <p:nvPr/>
              </p:nvSpPr>
              <p:spPr bwMode="gray">
                <a:xfrm flipV="1">
                  <a:off x="1097246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8" name="Ellipse 500"/>
                <p:cNvSpPr/>
                <p:nvPr/>
              </p:nvSpPr>
              <p:spPr bwMode="gray">
                <a:xfrm flipV="1">
                  <a:off x="10972460"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59" name="Ellipse 501"/>
                <p:cNvSpPr/>
                <p:nvPr/>
              </p:nvSpPr>
              <p:spPr bwMode="gray">
                <a:xfrm flipV="1">
                  <a:off x="10809176"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0" name="Ellipse 502"/>
                <p:cNvSpPr/>
                <p:nvPr/>
              </p:nvSpPr>
              <p:spPr bwMode="gray">
                <a:xfrm flipV="1">
                  <a:off x="10653686"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1" name="Ellipse 503"/>
                <p:cNvSpPr/>
                <p:nvPr/>
              </p:nvSpPr>
              <p:spPr bwMode="gray">
                <a:xfrm flipV="1">
                  <a:off x="1049535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2" name="Ellipse 504"/>
                <p:cNvSpPr/>
                <p:nvPr/>
              </p:nvSpPr>
              <p:spPr bwMode="gray">
                <a:xfrm flipV="1">
                  <a:off x="10664375"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3" name="Ellipse 505"/>
                <p:cNvSpPr/>
                <p:nvPr/>
              </p:nvSpPr>
              <p:spPr bwMode="gray">
                <a:xfrm flipV="1">
                  <a:off x="10338035"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4" name="Ellipse 506"/>
                <p:cNvSpPr/>
                <p:nvPr/>
              </p:nvSpPr>
              <p:spPr bwMode="gray">
                <a:xfrm flipV="1">
                  <a:off x="10338035"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5" name="Ellipse 507"/>
                <p:cNvSpPr/>
                <p:nvPr/>
              </p:nvSpPr>
              <p:spPr bwMode="gray">
                <a:xfrm flipV="1">
                  <a:off x="10338035"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6" name="Ellipse 508"/>
                <p:cNvSpPr/>
                <p:nvPr/>
              </p:nvSpPr>
              <p:spPr bwMode="gray">
                <a:xfrm flipV="1">
                  <a:off x="10495359"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7" name="Ellipse 509"/>
                <p:cNvSpPr/>
                <p:nvPr/>
              </p:nvSpPr>
              <p:spPr bwMode="gray">
                <a:xfrm flipV="1">
                  <a:off x="10653686"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8" name="Ellipse 510"/>
                <p:cNvSpPr/>
                <p:nvPr/>
              </p:nvSpPr>
              <p:spPr bwMode="gray">
                <a:xfrm flipV="1">
                  <a:off x="10809176"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69" name="Ellipse 511"/>
                <p:cNvSpPr/>
                <p:nvPr/>
              </p:nvSpPr>
              <p:spPr bwMode="gray">
                <a:xfrm flipV="1">
                  <a:off x="1080917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0" name="Ellipse 512"/>
                <p:cNvSpPr/>
                <p:nvPr/>
              </p:nvSpPr>
              <p:spPr bwMode="gray">
                <a:xfrm flipV="1">
                  <a:off x="10809176"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1" name="Ellipse 513"/>
                <p:cNvSpPr/>
                <p:nvPr/>
              </p:nvSpPr>
              <p:spPr bwMode="gray">
                <a:xfrm flipV="1">
                  <a:off x="11134657"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2" name="Ellipse 514"/>
                <p:cNvSpPr/>
                <p:nvPr/>
              </p:nvSpPr>
              <p:spPr bwMode="gray">
                <a:xfrm flipV="1">
                  <a:off x="1113465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3" name="Ellipse 515"/>
                <p:cNvSpPr/>
                <p:nvPr/>
              </p:nvSpPr>
              <p:spPr bwMode="gray">
                <a:xfrm flipV="1">
                  <a:off x="11286753"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4" name="Ellipse 516"/>
                <p:cNvSpPr/>
                <p:nvPr/>
              </p:nvSpPr>
              <p:spPr bwMode="gray">
                <a:xfrm flipV="1">
                  <a:off x="11447958"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5" name="Ellipse 517"/>
                <p:cNvSpPr/>
                <p:nvPr/>
              </p:nvSpPr>
              <p:spPr bwMode="gray">
                <a:xfrm flipV="1">
                  <a:off x="11458647"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6" name="Ellipse 518"/>
                <p:cNvSpPr/>
                <p:nvPr/>
              </p:nvSpPr>
              <p:spPr bwMode="gray">
                <a:xfrm flipV="1">
                  <a:off x="11134657"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7" name="Ellipse 519"/>
                <p:cNvSpPr/>
                <p:nvPr/>
              </p:nvSpPr>
              <p:spPr bwMode="gray">
                <a:xfrm flipV="1">
                  <a:off x="10653686"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8" name="Ellipse 520"/>
                <p:cNvSpPr/>
                <p:nvPr/>
              </p:nvSpPr>
              <p:spPr bwMode="gray">
                <a:xfrm flipV="1">
                  <a:off x="1065368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79" name="Ellipse 521"/>
                <p:cNvSpPr/>
                <p:nvPr/>
              </p:nvSpPr>
              <p:spPr bwMode="gray">
                <a:xfrm flipV="1">
                  <a:off x="10338035"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0" name="Ellipse 522"/>
                <p:cNvSpPr/>
                <p:nvPr/>
              </p:nvSpPr>
              <p:spPr bwMode="gray">
                <a:xfrm flipV="1">
                  <a:off x="10495359"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1" name="Ellipse 523"/>
                <p:cNvSpPr/>
                <p:nvPr/>
              </p:nvSpPr>
              <p:spPr bwMode="gray">
                <a:xfrm flipV="1">
                  <a:off x="10495359"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2" name="Ellipse 524"/>
                <p:cNvSpPr/>
                <p:nvPr/>
              </p:nvSpPr>
              <p:spPr bwMode="gray">
                <a:xfrm flipV="1">
                  <a:off x="10348724"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3" name="Ellipse 525"/>
                <p:cNvSpPr/>
                <p:nvPr/>
              </p:nvSpPr>
              <p:spPr bwMode="gray">
                <a:xfrm flipV="1">
                  <a:off x="10172580"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4" name="Ellipse 526"/>
                <p:cNvSpPr/>
                <p:nvPr/>
              </p:nvSpPr>
              <p:spPr bwMode="gray">
                <a:xfrm flipV="1">
                  <a:off x="1017258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5" name="Ellipse 527"/>
                <p:cNvSpPr/>
                <p:nvPr/>
              </p:nvSpPr>
              <p:spPr bwMode="gray">
                <a:xfrm flipV="1">
                  <a:off x="1017258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6" name="Ellipse 528"/>
                <p:cNvSpPr/>
                <p:nvPr/>
              </p:nvSpPr>
              <p:spPr bwMode="gray">
                <a:xfrm flipV="1">
                  <a:off x="1017258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7" name="Ellipse 529"/>
                <p:cNvSpPr/>
                <p:nvPr/>
              </p:nvSpPr>
              <p:spPr bwMode="gray">
                <a:xfrm flipV="1">
                  <a:off x="10172580"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8" name="Ellipse 530"/>
                <p:cNvSpPr/>
                <p:nvPr/>
              </p:nvSpPr>
              <p:spPr bwMode="gray">
                <a:xfrm flipV="1">
                  <a:off x="10338035"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89" name="Ellipse 531"/>
                <p:cNvSpPr/>
                <p:nvPr/>
              </p:nvSpPr>
              <p:spPr bwMode="gray">
                <a:xfrm flipV="1">
                  <a:off x="10653686"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0" name="Ellipse 532"/>
                <p:cNvSpPr/>
                <p:nvPr/>
              </p:nvSpPr>
              <p:spPr bwMode="gray">
                <a:xfrm flipV="1">
                  <a:off x="10023260" y="4531570"/>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1" name="Ellipse 533"/>
                <p:cNvSpPr/>
                <p:nvPr/>
              </p:nvSpPr>
              <p:spPr bwMode="gray">
                <a:xfrm flipV="1">
                  <a:off x="1002326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2" name="Ellipse 534"/>
                <p:cNvSpPr/>
                <p:nvPr/>
              </p:nvSpPr>
              <p:spPr bwMode="gray">
                <a:xfrm flipV="1">
                  <a:off x="10023260"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3" name="Ellipse 535"/>
                <p:cNvSpPr/>
                <p:nvPr/>
              </p:nvSpPr>
              <p:spPr bwMode="gray">
                <a:xfrm flipV="1">
                  <a:off x="10023260"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4" name="Ellipse 536"/>
                <p:cNvSpPr/>
                <p:nvPr/>
              </p:nvSpPr>
              <p:spPr bwMode="gray">
                <a:xfrm flipV="1">
                  <a:off x="1002326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5" name="Ellipse 537"/>
                <p:cNvSpPr/>
                <p:nvPr/>
              </p:nvSpPr>
              <p:spPr bwMode="gray">
                <a:xfrm flipV="1">
                  <a:off x="10023260"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6" name="Ellipse 538"/>
                <p:cNvSpPr/>
                <p:nvPr/>
              </p:nvSpPr>
              <p:spPr bwMode="gray">
                <a:xfrm flipV="1">
                  <a:off x="1002326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7" name="Ellipse 539"/>
                <p:cNvSpPr/>
                <p:nvPr/>
              </p:nvSpPr>
              <p:spPr bwMode="gray">
                <a:xfrm flipV="1">
                  <a:off x="10023260"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8" name="Ellipse 540"/>
                <p:cNvSpPr/>
                <p:nvPr/>
              </p:nvSpPr>
              <p:spPr bwMode="gray">
                <a:xfrm flipV="1">
                  <a:off x="985884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199" name="Ellipse 541"/>
                <p:cNvSpPr/>
                <p:nvPr/>
              </p:nvSpPr>
              <p:spPr bwMode="gray">
                <a:xfrm flipV="1">
                  <a:off x="9858847"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0" name="Ellipse 542"/>
                <p:cNvSpPr/>
                <p:nvPr/>
              </p:nvSpPr>
              <p:spPr bwMode="gray">
                <a:xfrm flipV="1">
                  <a:off x="9858847"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1" name="Ellipse 543"/>
                <p:cNvSpPr/>
                <p:nvPr/>
              </p:nvSpPr>
              <p:spPr bwMode="gray">
                <a:xfrm flipV="1">
                  <a:off x="9699601" y="4531570"/>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2" name="Ellipse 544"/>
                <p:cNvSpPr/>
                <p:nvPr/>
              </p:nvSpPr>
              <p:spPr bwMode="gray">
                <a:xfrm flipV="1">
                  <a:off x="9539824"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3" name="Ellipse 545"/>
                <p:cNvSpPr/>
                <p:nvPr/>
              </p:nvSpPr>
              <p:spPr bwMode="gray">
                <a:xfrm flipV="1">
                  <a:off x="9699601"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4" name="Ellipse 546"/>
                <p:cNvSpPr/>
                <p:nvPr/>
              </p:nvSpPr>
              <p:spPr bwMode="gray">
                <a:xfrm flipV="1">
                  <a:off x="9699601"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5" name="Ellipse 547"/>
                <p:cNvSpPr/>
                <p:nvPr/>
              </p:nvSpPr>
              <p:spPr bwMode="gray">
                <a:xfrm flipV="1">
                  <a:off x="9699601" y="342013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6" name="Ellipse 548"/>
                <p:cNvSpPr/>
                <p:nvPr/>
              </p:nvSpPr>
              <p:spPr bwMode="gray">
                <a:xfrm flipV="1">
                  <a:off x="9699601"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7" name="Ellipse 549"/>
                <p:cNvSpPr/>
                <p:nvPr/>
              </p:nvSpPr>
              <p:spPr bwMode="gray">
                <a:xfrm flipV="1">
                  <a:off x="9539824"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8" name="Ellipse 550"/>
                <p:cNvSpPr/>
                <p:nvPr/>
              </p:nvSpPr>
              <p:spPr bwMode="gray">
                <a:xfrm flipV="1">
                  <a:off x="9539824"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09" name="Ellipse 551"/>
                <p:cNvSpPr/>
                <p:nvPr/>
              </p:nvSpPr>
              <p:spPr bwMode="gray">
                <a:xfrm flipV="1">
                  <a:off x="9539824"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0" name="Ellipse 552"/>
                <p:cNvSpPr/>
                <p:nvPr/>
              </p:nvSpPr>
              <p:spPr bwMode="gray">
                <a:xfrm flipV="1">
                  <a:off x="9539824"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1" name="Ellipse 553"/>
                <p:cNvSpPr/>
                <p:nvPr/>
              </p:nvSpPr>
              <p:spPr bwMode="gray">
                <a:xfrm flipV="1">
                  <a:off x="9539824"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2" name="Ellipse 554"/>
                <p:cNvSpPr/>
                <p:nvPr/>
              </p:nvSpPr>
              <p:spPr bwMode="gray">
                <a:xfrm flipV="1">
                  <a:off x="922219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3" name="Ellipse 555"/>
                <p:cNvSpPr/>
                <p:nvPr/>
              </p:nvSpPr>
              <p:spPr bwMode="gray">
                <a:xfrm flipV="1">
                  <a:off x="9222199"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4" name="Ellipse 556"/>
                <p:cNvSpPr/>
                <p:nvPr/>
              </p:nvSpPr>
              <p:spPr bwMode="gray">
                <a:xfrm flipV="1">
                  <a:off x="8746986"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5" name="Ellipse 557"/>
                <p:cNvSpPr/>
                <p:nvPr/>
              </p:nvSpPr>
              <p:spPr bwMode="gray">
                <a:xfrm flipV="1">
                  <a:off x="8905400"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6" name="Ellipse 558"/>
                <p:cNvSpPr/>
                <p:nvPr/>
              </p:nvSpPr>
              <p:spPr bwMode="gray">
                <a:xfrm flipV="1">
                  <a:off x="8588694"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7" name="Ellipse 559"/>
                <p:cNvSpPr/>
                <p:nvPr/>
              </p:nvSpPr>
              <p:spPr bwMode="gray">
                <a:xfrm flipV="1">
                  <a:off x="8430043"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8" name="Ellipse 560"/>
                <p:cNvSpPr/>
                <p:nvPr/>
              </p:nvSpPr>
              <p:spPr bwMode="gray">
                <a:xfrm flipV="1">
                  <a:off x="795211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19" name="Ellipse 561"/>
                <p:cNvSpPr/>
                <p:nvPr/>
              </p:nvSpPr>
              <p:spPr bwMode="gray">
                <a:xfrm flipV="1">
                  <a:off x="7952113"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0" name="Ellipse 562"/>
                <p:cNvSpPr/>
                <p:nvPr/>
              </p:nvSpPr>
              <p:spPr bwMode="gray">
                <a:xfrm flipV="1">
                  <a:off x="7952113"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1" name="Ellipse 563"/>
                <p:cNvSpPr/>
                <p:nvPr/>
              </p:nvSpPr>
              <p:spPr bwMode="gray">
                <a:xfrm flipV="1">
                  <a:off x="8117728"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2" name="Ellipse 564"/>
                <p:cNvSpPr/>
                <p:nvPr/>
              </p:nvSpPr>
              <p:spPr bwMode="gray">
                <a:xfrm flipV="1">
                  <a:off x="7793115"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3" name="Ellipse 565"/>
                <p:cNvSpPr/>
                <p:nvPr/>
              </p:nvSpPr>
              <p:spPr bwMode="gray">
                <a:xfrm flipV="1">
                  <a:off x="7793115"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4" name="Ellipse 566"/>
                <p:cNvSpPr/>
                <p:nvPr/>
              </p:nvSpPr>
              <p:spPr bwMode="gray">
                <a:xfrm flipV="1">
                  <a:off x="763092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5" name="Ellipse 567"/>
                <p:cNvSpPr/>
                <p:nvPr/>
              </p:nvSpPr>
              <p:spPr bwMode="gray">
                <a:xfrm flipV="1">
                  <a:off x="7478197"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6" name="Ellipse 568"/>
                <p:cNvSpPr/>
                <p:nvPr/>
              </p:nvSpPr>
              <p:spPr bwMode="gray">
                <a:xfrm flipV="1">
                  <a:off x="747819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7" name="Ellipse 569"/>
                <p:cNvSpPr/>
                <p:nvPr/>
              </p:nvSpPr>
              <p:spPr bwMode="gray">
                <a:xfrm flipV="1">
                  <a:off x="7478197"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8" name="Ellipse 570"/>
                <p:cNvSpPr/>
                <p:nvPr/>
              </p:nvSpPr>
              <p:spPr bwMode="gray">
                <a:xfrm flipV="1">
                  <a:off x="731982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29" name="Ellipse 571"/>
                <p:cNvSpPr/>
                <p:nvPr/>
              </p:nvSpPr>
              <p:spPr bwMode="gray">
                <a:xfrm flipV="1">
                  <a:off x="7319820"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0" name="Ellipse 572"/>
                <p:cNvSpPr/>
                <p:nvPr/>
              </p:nvSpPr>
              <p:spPr bwMode="gray">
                <a:xfrm flipV="1">
                  <a:off x="7319820" y="4531570"/>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1" name="Ellipse 573"/>
                <p:cNvSpPr/>
                <p:nvPr/>
              </p:nvSpPr>
              <p:spPr bwMode="gray">
                <a:xfrm flipV="1">
                  <a:off x="731982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2" name="Ellipse 574"/>
                <p:cNvSpPr/>
                <p:nvPr/>
              </p:nvSpPr>
              <p:spPr bwMode="gray">
                <a:xfrm flipV="1">
                  <a:off x="731982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3" name="Ellipse 575"/>
                <p:cNvSpPr/>
                <p:nvPr/>
              </p:nvSpPr>
              <p:spPr bwMode="gray">
                <a:xfrm flipV="1">
                  <a:off x="7319820"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4" name="Ellipse 576"/>
                <p:cNvSpPr/>
                <p:nvPr/>
              </p:nvSpPr>
              <p:spPr bwMode="gray">
                <a:xfrm flipV="1">
                  <a:off x="731982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5" name="Ellipse 577"/>
                <p:cNvSpPr/>
                <p:nvPr/>
              </p:nvSpPr>
              <p:spPr bwMode="gray">
                <a:xfrm flipV="1">
                  <a:off x="7319820" y="2883694"/>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6" name="Ellipse 578"/>
                <p:cNvSpPr/>
                <p:nvPr/>
              </p:nvSpPr>
              <p:spPr bwMode="gray">
                <a:xfrm flipV="1">
                  <a:off x="7158246"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7" name="Ellipse 579"/>
                <p:cNvSpPr/>
                <p:nvPr/>
              </p:nvSpPr>
              <p:spPr bwMode="gray">
                <a:xfrm flipV="1">
                  <a:off x="7158246" y="2883694"/>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8" name="Ellipse 580"/>
                <p:cNvSpPr/>
                <p:nvPr/>
              </p:nvSpPr>
              <p:spPr bwMode="gray">
                <a:xfrm flipV="1">
                  <a:off x="699797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39" name="Ellipse 581"/>
                <p:cNvSpPr/>
                <p:nvPr/>
              </p:nvSpPr>
              <p:spPr bwMode="gray">
                <a:xfrm flipV="1">
                  <a:off x="715824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0" name="Ellipse 582"/>
                <p:cNvSpPr/>
                <p:nvPr/>
              </p:nvSpPr>
              <p:spPr bwMode="gray">
                <a:xfrm flipV="1">
                  <a:off x="6997970"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1" name="Ellipse 583"/>
                <p:cNvSpPr/>
                <p:nvPr/>
              </p:nvSpPr>
              <p:spPr bwMode="gray">
                <a:xfrm flipV="1">
                  <a:off x="699797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2" name="Ellipse 584"/>
                <p:cNvSpPr/>
                <p:nvPr/>
              </p:nvSpPr>
              <p:spPr bwMode="gray">
                <a:xfrm flipV="1">
                  <a:off x="6997970"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3" name="Ellipse 585"/>
                <p:cNvSpPr/>
                <p:nvPr/>
              </p:nvSpPr>
              <p:spPr bwMode="gray">
                <a:xfrm flipV="1">
                  <a:off x="699797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4" name="Ellipse 586"/>
                <p:cNvSpPr/>
                <p:nvPr/>
              </p:nvSpPr>
              <p:spPr bwMode="gray">
                <a:xfrm flipV="1">
                  <a:off x="6997970"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5" name="Ellipse 587"/>
                <p:cNvSpPr/>
                <p:nvPr/>
              </p:nvSpPr>
              <p:spPr bwMode="gray">
                <a:xfrm flipV="1">
                  <a:off x="684122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6" name="Ellipse 588"/>
                <p:cNvSpPr/>
                <p:nvPr/>
              </p:nvSpPr>
              <p:spPr bwMode="gray">
                <a:xfrm flipV="1">
                  <a:off x="6841223" y="342013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7" name="Ellipse 589"/>
                <p:cNvSpPr/>
                <p:nvPr/>
              </p:nvSpPr>
              <p:spPr bwMode="gray">
                <a:xfrm flipV="1">
                  <a:off x="6841223"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8" name="Ellipse 590"/>
                <p:cNvSpPr/>
                <p:nvPr/>
              </p:nvSpPr>
              <p:spPr bwMode="gray">
                <a:xfrm flipV="1">
                  <a:off x="6841223"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49" name="Ellipse 591"/>
                <p:cNvSpPr/>
                <p:nvPr/>
              </p:nvSpPr>
              <p:spPr bwMode="gray">
                <a:xfrm flipV="1">
                  <a:off x="6841223"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0" name="Ellipse 592"/>
                <p:cNvSpPr/>
                <p:nvPr/>
              </p:nvSpPr>
              <p:spPr bwMode="gray">
                <a:xfrm flipV="1">
                  <a:off x="6841223"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1" name="Ellipse 593"/>
                <p:cNvSpPr/>
                <p:nvPr/>
              </p:nvSpPr>
              <p:spPr bwMode="gray">
                <a:xfrm flipV="1">
                  <a:off x="6680912"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2" name="Ellipse 594"/>
                <p:cNvSpPr/>
                <p:nvPr/>
              </p:nvSpPr>
              <p:spPr bwMode="gray">
                <a:xfrm flipV="1">
                  <a:off x="6680912"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3" name="Ellipse 595"/>
                <p:cNvSpPr/>
                <p:nvPr/>
              </p:nvSpPr>
              <p:spPr bwMode="gray">
                <a:xfrm flipV="1">
                  <a:off x="6680912"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4" name="Ellipse 596"/>
                <p:cNvSpPr/>
                <p:nvPr/>
              </p:nvSpPr>
              <p:spPr bwMode="gray">
                <a:xfrm flipV="1">
                  <a:off x="6680912"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5" name="Ellipse 597"/>
                <p:cNvSpPr/>
                <p:nvPr/>
              </p:nvSpPr>
              <p:spPr bwMode="gray">
                <a:xfrm flipV="1">
                  <a:off x="6680912"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6" name="Ellipse 598"/>
                <p:cNvSpPr/>
                <p:nvPr/>
              </p:nvSpPr>
              <p:spPr bwMode="gray">
                <a:xfrm flipV="1">
                  <a:off x="6680912"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7" name="Ellipse 599"/>
                <p:cNvSpPr/>
                <p:nvPr/>
              </p:nvSpPr>
              <p:spPr bwMode="gray">
                <a:xfrm flipV="1">
                  <a:off x="6680912"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8" name="Ellipse 600"/>
                <p:cNvSpPr/>
                <p:nvPr/>
              </p:nvSpPr>
              <p:spPr bwMode="gray">
                <a:xfrm flipV="1">
                  <a:off x="6522282"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59" name="Ellipse 601"/>
                <p:cNvSpPr/>
                <p:nvPr/>
              </p:nvSpPr>
              <p:spPr bwMode="gray">
                <a:xfrm flipV="1">
                  <a:off x="6522282"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0" name="Ellipse 602"/>
                <p:cNvSpPr/>
                <p:nvPr/>
              </p:nvSpPr>
              <p:spPr bwMode="gray">
                <a:xfrm flipV="1">
                  <a:off x="6841223"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1" name="Ellipse 603"/>
                <p:cNvSpPr/>
                <p:nvPr/>
              </p:nvSpPr>
              <p:spPr bwMode="gray">
                <a:xfrm flipV="1">
                  <a:off x="6522282"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2" name="Ellipse 604"/>
                <p:cNvSpPr/>
                <p:nvPr/>
              </p:nvSpPr>
              <p:spPr bwMode="gray">
                <a:xfrm flipV="1">
                  <a:off x="6522282"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3" name="Ellipse 605"/>
                <p:cNvSpPr/>
                <p:nvPr/>
              </p:nvSpPr>
              <p:spPr bwMode="gray">
                <a:xfrm flipV="1">
                  <a:off x="6522282"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4" name="Ellipse 606"/>
                <p:cNvSpPr/>
                <p:nvPr/>
              </p:nvSpPr>
              <p:spPr bwMode="gray">
                <a:xfrm flipV="1">
                  <a:off x="6522282"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5" name="Ellipse 607"/>
                <p:cNvSpPr/>
                <p:nvPr/>
              </p:nvSpPr>
              <p:spPr bwMode="gray">
                <a:xfrm flipV="1">
                  <a:off x="6522282"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6" name="Ellipse 608"/>
                <p:cNvSpPr/>
                <p:nvPr/>
              </p:nvSpPr>
              <p:spPr bwMode="gray">
                <a:xfrm flipV="1">
                  <a:off x="6522282"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7" name="Ellipse 609"/>
                <p:cNvSpPr/>
                <p:nvPr/>
              </p:nvSpPr>
              <p:spPr bwMode="gray">
                <a:xfrm flipV="1">
                  <a:off x="6370164"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8" name="Ellipse 610"/>
                <p:cNvSpPr/>
                <p:nvPr/>
              </p:nvSpPr>
              <p:spPr bwMode="gray">
                <a:xfrm flipV="1">
                  <a:off x="6370164" y="4531570"/>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69" name="Ellipse 611"/>
                <p:cNvSpPr/>
                <p:nvPr/>
              </p:nvSpPr>
              <p:spPr bwMode="gray">
                <a:xfrm flipV="1">
                  <a:off x="6370164" y="389880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0" name="Ellipse 612"/>
                <p:cNvSpPr/>
                <p:nvPr/>
              </p:nvSpPr>
              <p:spPr bwMode="gray">
                <a:xfrm flipV="1">
                  <a:off x="6370164"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1" name="Ellipse 613"/>
                <p:cNvSpPr/>
                <p:nvPr/>
              </p:nvSpPr>
              <p:spPr bwMode="gray">
                <a:xfrm flipV="1">
                  <a:off x="6370164"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2" name="Ellipse 614"/>
                <p:cNvSpPr/>
                <p:nvPr/>
              </p:nvSpPr>
              <p:spPr bwMode="gray">
                <a:xfrm flipV="1">
                  <a:off x="6370164"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3" name="Ellipse 615"/>
                <p:cNvSpPr/>
                <p:nvPr/>
              </p:nvSpPr>
              <p:spPr bwMode="gray">
                <a:xfrm flipV="1">
                  <a:off x="6370164"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4" name="Ellipse 616"/>
                <p:cNvSpPr/>
                <p:nvPr/>
              </p:nvSpPr>
              <p:spPr bwMode="gray">
                <a:xfrm flipV="1">
                  <a:off x="6201727"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5" name="Ellipse 617"/>
                <p:cNvSpPr/>
                <p:nvPr/>
              </p:nvSpPr>
              <p:spPr bwMode="gray">
                <a:xfrm flipV="1">
                  <a:off x="6201727"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6" name="Ellipse 618"/>
                <p:cNvSpPr/>
                <p:nvPr/>
              </p:nvSpPr>
              <p:spPr bwMode="gray">
                <a:xfrm flipV="1">
                  <a:off x="620172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7" name="Ellipse 619"/>
                <p:cNvSpPr/>
                <p:nvPr/>
              </p:nvSpPr>
              <p:spPr bwMode="gray">
                <a:xfrm flipV="1">
                  <a:off x="6201727"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8" name="Ellipse 620"/>
                <p:cNvSpPr/>
                <p:nvPr/>
              </p:nvSpPr>
              <p:spPr bwMode="gray">
                <a:xfrm flipV="1">
                  <a:off x="6201727" y="389880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79" name="Ellipse 621"/>
                <p:cNvSpPr/>
                <p:nvPr/>
              </p:nvSpPr>
              <p:spPr bwMode="gray">
                <a:xfrm flipV="1">
                  <a:off x="6049318"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0" name="Ellipse 622"/>
                <p:cNvSpPr/>
                <p:nvPr/>
              </p:nvSpPr>
              <p:spPr bwMode="gray">
                <a:xfrm flipV="1">
                  <a:off x="588497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1" name="Ellipse 623"/>
                <p:cNvSpPr/>
                <p:nvPr/>
              </p:nvSpPr>
              <p:spPr bwMode="gray">
                <a:xfrm flipV="1">
                  <a:off x="5884973"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2" name="Ellipse 624"/>
                <p:cNvSpPr/>
                <p:nvPr/>
              </p:nvSpPr>
              <p:spPr bwMode="gray">
                <a:xfrm flipV="1">
                  <a:off x="5884973"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3" name="Ellipse 625"/>
                <p:cNvSpPr/>
                <p:nvPr/>
              </p:nvSpPr>
              <p:spPr bwMode="gray">
                <a:xfrm flipV="1">
                  <a:off x="5884973"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4" name="Ellipse 626"/>
                <p:cNvSpPr/>
                <p:nvPr/>
              </p:nvSpPr>
              <p:spPr bwMode="gray">
                <a:xfrm flipV="1">
                  <a:off x="6049318"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5" name="Ellipse 627"/>
                <p:cNvSpPr/>
                <p:nvPr/>
              </p:nvSpPr>
              <p:spPr bwMode="gray">
                <a:xfrm flipV="1">
                  <a:off x="6049318"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6" name="Ellipse 628"/>
                <p:cNvSpPr/>
                <p:nvPr/>
              </p:nvSpPr>
              <p:spPr bwMode="gray">
                <a:xfrm flipV="1">
                  <a:off x="6049318"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87" name="Ellipse 629"/>
                <p:cNvSpPr/>
                <p:nvPr/>
              </p:nvSpPr>
              <p:spPr bwMode="gray">
                <a:xfrm flipV="1">
                  <a:off x="5723768"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288" name="Ellipse 630"/>
                <p:cNvSpPr/>
                <p:nvPr/>
              </p:nvSpPr>
              <p:spPr bwMode="gray">
                <a:xfrm flipV="1">
                  <a:off x="5723768"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289" name="Ellipse 631"/>
                <p:cNvSpPr/>
                <p:nvPr/>
              </p:nvSpPr>
              <p:spPr bwMode="gray">
                <a:xfrm flipV="1">
                  <a:off x="5723768"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290" name="Ellipse 632"/>
                <p:cNvSpPr/>
                <p:nvPr/>
              </p:nvSpPr>
              <p:spPr bwMode="gray">
                <a:xfrm flipV="1">
                  <a:off x="5723768"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291" name="Ellipse 633"/>
                <p:cNvSpPr/>
                <p:nvPr/>
              </p:nvSpPr>
              <p:spPr bwMode="gray">
                <a:xfrm flipV="1">
                  <a:off x="11643945" y="3909365"/>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292" name="Ellipse 634"/>
                <p:cNvSpPr/>
                <p:nvPr/>
              </p:nvSpPr>
              <p:spPr bwMode="gray">
                <a:xfrm flipV="1">
                  <a:off x="11643945" y="359131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grpSp>
        </p:grpSp>
        <p:sp>
          <p:nvSpPr>
            <p:cNvPr id="39" name="Freeform 673"/>
            <p:cNvSpPr>
              <a:spLocks noEditPoints="1"/>
            </p:cNvSpPr>
            <p:nvPr/>
          </p:nvSpPr>
          <p:spPr bwMode="gray">
            <a:xfrm>
              <a:off x="7635967" y="2755725"/>
              <a:ext cx="248847" cy="348382"/>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5"/>
            </a:solidFill>
            <a:ln>
              <a:noFill/>
            </a:ln>
          </p:spPr>
          <p:txBody>
            <a:bodyPr vert="horz" wrap="square" lIns="91392" tIns="45696" rIns="91392" bIns="45696" numCol="1" anchor="t" anchorCtr="0" compatLnSpc="1">
              <a:prstTxWarp prst="textNoShape">
                <a:avLst/>
              </a:prstTxWarp>
            </a:bodyPr>
            <a:lstStyle/>
            <a:p>
              <a:endParaRPr lang="en-US" sz="1299" dirty="0">
                <a:latin typeface="+mj-lt"/>
              </a:endParaRPr>
            </a:p>
          </p:txBody>
        </p:sp>
      </p:grpSp>
      <p:grpSp>
        <p:nvGrpSpPr>
          <p:cNvPr id="308" name="Gruppieren 307"/>
          <p:cNvGrpSpPr/>
          <p:nvPr/>
        </p:nvGrpSpPr>
        <p:grpSpPr>
          <a:xfrm>
            <a:off x="8317982" y="5314122"/>
            <a:ext cx="1273478" cy="665793"/>
            <a:chOff x="5378624" y="5620206"/>
            <a:chExt cx="1806074" cy="890540"/>
          </a:xfrm>
        </p:grpSpPr>
        <p:pic>
          <p:nvPicPr>
            <p:cNvPr id="309" name="Picture 2" descr="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7301" y="5767820"/>
              <a:ext cx="1317397" cy="481042"/>
            </a:xfrm>
            <a:prstGeom prst="rect">
              <a:avLst/>
            </a:prstGeom>
            <a:noFill/>
            <a:extLst>
              <a:ext uri="{909E8E84-426E-40DD-AFC4-6F175D3DCCD1}">
                <a14:hiddenFill xmlns:a14="http://schemas.microsoft.com/office/drawing/2010/main">
                  <a:solidFill>
                    <a:srgbClr val="FFFFFF"/>
                  </a:solidFill>
                </a14:hiddenFill>
              </a:ext>
            </a:extLst>
          </p:spPr>
        </p:pic>
        <p:pic>
          <p:nvPicPr>
            <p:cNvPr id="310" name="Grafik 309"/>
            <p:cNvPicPr>
              <a:picLocks noChangeAspect="1"/>
            </p:cNvPicPr>
            <p:nvPr>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a:xfrm>
              <a:off x="5378624" y="5620206"/>
              <a:ext cx="890540" cy="890540"/>
            </a:xfrm>
            <a:prstGeom prst="rect">
              <a:avLst/>
            </a:prstGeom>
          </p:spPr>
        </p:pic>
      </p:grpSp>
      <p:pic>
        <p:nvPicPr>
          <p:cNvPr id="312" name="G_SY02_XX_01648P.png"/>
          <p:cNvPicPr>
            <a:picLocks noChangeAspect="1"/>
          </p:cNvPicPr>
          <p:nvPr>
            <p:custDataLst>
              <p:tags r:id="rId1"/>
            </p:custDataLst>
          </p:nvPr>
        </p:nvPicPr>
        <p:blipFill>
          <a:blip r:embed="rId15" cstate="print">
            <a:extLst>
              <a:ext uri="{28A0092B-C50C-407E-A947-70E740481C1C}">
                <a14:useLocalDpi xmlns:a14="http://schemas.microsoft.com/office/drawing/2010/main" val="0"/>
              </a:ext>
            </a:extLst>
          </a:blip>
          <a:stretch>
            <a:fillRect/>
          </a:stretch>
        </p:blipFill>
        <p:spPr>
          <a:xfrm>
            <a:off x="5183624" y="5183115"/>
            <a:ext cx="1274067" cy="1072898"/>
          </a:xfrm>
          <a:prstGeom prst="rect">
            <a:avLst/>
          </a:prstGeom>
        </p:spPr>
      </p:pic>
      <p:pic>
        <p:nvPicPr>
          <p:cNvPr id="314" name="software_tia-portal_technology-function.png"/>
          <p:cNvPicPr>
            <a:picLocks noChangeAspect="1"/>
          </p:cNvPicPr>
          <p:nvPr>
            <p:custDataLst>
              <p:tags r:id="rId2"/>
            </p:custDataLst>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001623" y="1459354"/>
            <a:ext cx="1172034" cy="1172034"/>
          </a:xfrm>
          <a:prstGeom prst="rect">
            <a:avLst/>
          </a:prstGeom>
        </p:spPr>
      </p:pic>
      <p:grpSp>
        <p:nvGrpSpPr>
          <p:cNvPr id="315" name="Gruppieren 314"/>
          <p:cNvGrpSpPr/>
          <p:nvPr/>
        </p:nvGrpSpPr>
        <p:grpSpPr>
          <a:xfrm>
            <a:off x="2467954" y="1227157"/>
            <a:ext cx="1377208" cy="1599956"/>
            <a:chOff x="0" y="0"/>
            <a:chExt cx="3657298" cy="3657298"/>
          </a:xfrm>
        </p:grpSpPr>
        <p:pic>
          <p:nvPicPr>
            <p:cNvPr id="316" name="general_computer_laptop.png"/>
            <p:cNvPicPr>
              <a:picLocks noChangeAspect="1"/>
            </p:cNvPicPr>
            <p:nvPr>
              <p:custDataLst>
                <p:tags r:id="rId6"/>
              </p:custDataLst>
            </p:nvPr>
          </p:nvPicPr>
          <p:blipFill>
            <a:blip r:embed="rId1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3657298" cy="3657298"/>
            </a:xfrm>
            <a:prstGeom prst="rect">
              <a:avLst/>
            </a:prstGeom>
          </p:spPr>
        </p:pic>
        <p:pic>
          <p:nvPicPr>
            <p:cNvPr id="317" name="topic_profitable.png"/>
            <p:cNvPicPr>
              <a:picLocks noChangeAspect="1"/>
            </p:cNvPicPr>
            <p:nvPr>
              <p:custDataLst>
                <p:tags r:id="rId7"/>
              </p:custDataLst>
            </p:nvPr>
          </p:nvPicPr>
          <p:blipFill>
            <a:blip r:embed="rId1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173748" y="824371"/>
              <a:ext cx="1179636" cy="1179636"/>
            </a:xfrm>
            <a:prstGeom prst="rect">
              <a:avLst/>
            </a:prstGeom>
          </p:spPr>
        </p:pic>
      </p:grpSp>
      <p:pic>
        <p:nvPicPr>
          <p:cNvPr id="318" name="software_tia-portal_step7.png"/>
          <p:cNvPicPr>
            <a:picLocks noChangeAspect="1"/>
          </p:cNvPicPr>
          <p:nvPr>
            <p:custDataLst>
              <p:tags r:id="rId3"/>
            </p:custDataLst>
          </p:nvPr>
        </p:nvPicPr>
        <p:blipFill>
          <a:blip r:embed="rId19" cstate="print">
            <a:extLst>
              <a:ext uri="{28A0092B-C50C-407E-A947-70E740481C1C}">
                <a14:useLocalDpi xmlns:a14="http://schemas.microsoft.com/office/drawing/2010/main" val="0"/>
              </a:ext>
            </a:extLst>
          </a:blip>
          <a:stretch>
            <a:fillRect/>
          </a:stretch>
        </p:blipFill>
        <p:spPr>
          <a:xfrm>
            <a:off x="10131623" y="5000090"/>
            <a:ext cx="1274639" cy="1274639"/>
          </a:xfrm>
          <a:prstGeom prst="rect">
            <a:avLst/>
          </a:prstGeom>
        </p:spPr>
      </p:pic>
      <p:sp>
        <p:nvSpPr>
          <p:cNvPr id="320" name="Textfeld 319"/>
          <p:cNvSpPr txBox="1"/>
          <p:nvPr/>
        </p:nvSpPr>
        <p:spPr>
          <a:xfrm>
            <a:off x="5551848" y="3774300"/>
            <a:ext cx="648072"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OR</a:t>
            </a:r>
          </a:p>
        </p:txBody>
      </p:sp>
      <p:sp>
        <p:nvSpPr>
          <p:cNvPr id="321" name="Textfeld 320"/>
          <p:cNvSpPr txBox="1"/>
          <p:nvPr/>
        </p:nvSpPr>
        <p:spPr>
          <a:xfrm>
            <a:off x="5114028" y="6290673"/>
            <a:ext cx="1366937" cy="460516"/>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S7</a:t>
            </a:r>
          </a:p>
        </p:txBody>
      </p:sp>
      <p:sp>
        <p:nvSpPr>
          <p:cNvPr id="322" name="Textfeld 321"/>
          <p:cNvSpPr txBox="1"/>
          <p:nvPr/>
        </p:nvSpPr>
        <p:spPr>
          <a:xfrm>
            <a:off x="7080521" y="6238609"/>
            <a:ext cx="2633322" cy="460516"/>
          </a:xfrm>
          <a:prstGeom prst="rect">
            <a:avLst/>
          </a:prstGeom>
          <a:noFill/>
        </p:spPr>
        <p:txBody>
          <a:bodyPr vert="horz" wrap="square" lIns="0" tIns="0" rIns="0" bIns="0" rtlCol="0">
            <a:noAutofit/>
          </a:bodyPr>
          <a:lstStyle/>
          <a:p>
            <a:pPr algn="ctr" fontAlgn="base">
              <a:lnSpc>
                <a:spcPct val="110000"/>
              </a:lnSpc>
              <a:spcAft>
                <a:spcPct val="0"/>
              </a:spcAft>
            </a:pPr>
            <a:r>
              <a:rPr lang="en-US" sz="1400" b="1" dirty="0">
                <a:solidFill>
                  <a:srgbClr val="000000"/>
                </a:solidFill>
                <a:ea typeface="Arial Unicode MS" panose="020B0604020202020204" pitchFamily="34" charset="-128"/>
                <a:cs typeface="Arial Unicode MS" panose="020B0604020202020204" pitchFamily="34" charset="-128"/>
              </a:rPr>
              <a:t>S7-1500 with OPC UA Server</a:t>
            </a:r>
          </a:p>
          <a:p>
            <a:pPr algn="ctr" rtl="0" eaLnBrk="1" fontAlgn="base" hangingPunct="1">
              <a:lnSpc>
                <a:spcPct val="110000"/>
              </a:lnSpc>
              <a:spcBef>
                <a:spcPts val="0"/>
              </a:spcBef>
              <a:spcAft>
                <a:spcPct val="0"/>
              </a:spcAft>
            </a:pPr>
            <a:r>
              <a:rPr lang="en-US" sz="1400" b="1" i="0" u="sng" dirty="0" smtClean="0">
                <a:solidFill>
                  <a:srgbClr val="000000"/>
                </a:solidFill>
                <a:latin typeface="Arial"/>
                <a:ea typeface="Arial Unicode MS" panose="020B0604020202020204" pitchFamily="34" charset="-128"/>
                <a:cs typeface="Arial Unicode MS" panose="020B0604020202020204" pitchFamily="34" charset="-128"/>
              </a:rPr>
              <a:t>OR</a:t>
            </a:r>
            <a:r>
              <a:rPr lang="en-US" sz="1400" b="1" i="0" u="none" dirty="0" smtClean="0">
                <a:solidFill>
                  <a:srgbClr val="000000"/>
                </a:solidFill>
                <a:latin typeface="Arial"/>
                <a:ea typeface="Arial Unicode MS" panose="020B0604020202020204" pitchFamily="34" charset="-128"/>
                <a:cs typeface="Arial Unicode MS" panose="020B0604020202020204" pitchFamily="34" charset="-128"/>
              </a:rPr>
              <a:t> OPC UA Server</a:t>
            </a:r>
            <a:endPar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sp>
        <p:nvSpPr>
          <p:cNvPr id="323" name="Textfeld 322"/>
          <p:cNvSpPr txBox="1"/>
          <p:nvPr/>
        </p:nvSpPr>
        <p:spPr>
          <a:xfrm>
            <a:off x="2282751" y="3797079"/>
            <a:ext cx="2385690" cy="460516"/>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MindConnect Nano</a:t>
            </a:r>
          </a:p>
        </p:txBody>
      </p:sp>
      <p:sp>
        <p:nvSpPr>
          <p:cNvPr id="324" name="Textfeld 323"/>
          <p:cNvSpPr txBox="1"/>
          <p:nvPr/>
        </p:nvSpPr>
        <p:spPr>
          <a:xfrm>
            <a:off x="7080521" y="3764690"/>
            <a:ext cx="2385690" cy="460516"/>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MindConnect IoT2040</a:t>
            </a:r>
          </a:p>
        </p:txBody>
      </p:sp>
      <p:sp>
        <p:nvSpPr>
          <p:cNvPr id="325" name="Textfeld 324"/>
          <p:cNvSpPr txBox="1"/>
          <p:nvPr/>
        </p:nvSpPr>
        <p:spPr>
          <a:xfrm>
            <a:off x="9987608" y="6233007"/>
            <a:ext cx="1728192"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With TIA Portal V14</a:t>
            </a:r>
          </a:p>
        </p:txBody>
      </p:sp>
      <p:pic>
        <p:nvPicPr>
          <p:cNvPr id="326" name="G_SY02_XX_02035P.png"/>
          <p:cNvPicPr>
            <a:picLocks noChangeAspect="1"/>
          </p:cNvPicPr>
          <p:nvPr>
            <p:custDataLst>
              <p:tags r:id="rId4"/>
            </p:custDataLst>
          </p:nvPr>
        </p:nvPicPr>
        <p:blipFill>
          <a:blip r:embed="rId20" cstate="print">
            <a:extLst>
              <a:ext uri="{28A0092B-C50C-407E-A947-70E740481C1C}">
                <a14:useLocalDpi xmlns:a14="http://schemas.microsoft.com/office/drawing/2010/main" val="0"/>
              </a:ext>
            </a:extLst>
          </a:blip>
          <a:stretch>
            <a:fillRect/>
          </a:stretch>
        </p:blipFill>
        <p:spPr>
          <a:xfrm>
            <a:off x="2836185" y="5063651"/>
            <a:ext cx="2017953" cy="1008976"/>
          </a:xfrm>
          <a:prstGeom prst="rect">
            <a:avLst/>
          </a:prstGeom>
        </p:spPr>
      </p:pic>
      <p:sp>
        <p:nvSpPr>
          <p:cNvPr id="327" name="Geschweifte Klammer links 326"/>
          <p:cNvSpPr/>
          <p:nvPr/>
        </p:nvSpPr>
        <p:spPr bwMode="auto">
          <a:xfrm rot="5400000">
            <a:off x="5910613" y="1257519"/>
            <a:ext cx="566639" cy="7357873"/>
          </a:xfrm>
          <a:prstGeom prst="leftBrace">
            <a:avLst>
              <a:gd name="adj1" fmla="val 67902"/>
              <a:gd name="adj2" fmla="val 51241"/>
            </a:avLst>
          </a:prstGeom>
          <a:noFill/>
          <a:ln w="28575" cap="flat" cmpd="sng" algn="ctr">
            <a:solidFill>
              <a:schemeClr val="accent1"/>
            </a:solidFill>
            <a:prstDash val="solid"/>
            <a:round/>
            <a:headEnd type="none" w="med" len="med"/>
            <a:tailEnd type="none" w="med" len="med"/>
          </a:ln>
          <a:effectLst/>
          <a:extLst/>
        </p:spPr>
        <p:txBody>
          <a:bodyPr rtlCol="0" anchor="ctr"/>
          <a:lstStyle/>
          <a:p>
            <a:pPr algn="ctr"/>
            <a:endParaRPr lang="en-US"/>
          </a:p>
        </p:txBody>
      </p:sp>
      <p:sp>
        <p:nvSpPr>
          <p:cNvPr id="328" name="Textfeld 1274"/>
          <p:cNvSpPr txBox="1">
            <a:spLocks/>
          </p:cNvSpPr>
          <p:nvPr/>
        </p:nvSpPr>
        <p:spPr bwMode="gray">
          <a:xfrm>
            <a:off x="5907287" y="4087804"/>
            <a:ext cx="141064" cy="492443"/>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11</a:t>
            </a:r>
          </a:p>
        </p:txBody>
      </p:sp>
      <p:sp>
        <p:nvSpPr>
          <p:cNvPr id="329" name="Textfeld 1286"/>
          <p:cNvSpPr txBox="1">
            <a:spLocks/>
          </p:cNvSpPr>
          <p:nvPr/>
        </p:nvSpPr>
        <p:spPr bwMode="gray">
          <a:xfrm>
            <a:off x="5710173" y="4077072"/>
            <a:ext cx="141064" cy="738664"/>
          </a:xfrm>
          <a:prstGeom prst="rect">
            <a:avLst/>
          </a:prstGeom>
          <a:noFill/>
        </p:spPr>
        <p:txBody>
          <a:bodyPr wrap="none" lIns="0" tIns="0" rIns="0" bIns="0" rtlCol="0">
            <a:spAutoFit/>
          </a:bodyPr>
          <a:lstStyle/>
          <a:p>
            <a:pPr>
              <a:lnSpc>
                <a:spcPct val="80000"/>
              </a:lnSpc>
              <a:spcBef>
                <a:spcPts val="0"/>
              </a:spcBef>
            </a:pPr>
            <a:r>
              <a:rPr lang="en-US" sz="1000" b="1" dirty="0">
                <a:solidFill>
                  <a:srgbClr val="004669"/>
                </a:solidFill>
              </a:rPr>
              <a:t>10</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a:solidFill>
                  <a:srgbClr val="004669"/>
                </a:solidFill>
              </a:rPr>
              <a:t>01</a:t>
            </a:r>
            <a:endParaRPr lang="en-US" sz="1200" b="1" dirty="0">
              <a:solidFill>
                <a:srgbClr val="004669"/>
              </a:solidFill>
            </a:endParaRPr>
          </a:p>
          <a:p>
            <a:pPr>
              <a:lnSpc>
                <a:spcPct val="80000"/>
              </a:lnSpc>
              <a:spcBef>
                <a:spcPts val="0"/>
              </a:spcBef>
            </a:pPr>
            <a:r>
              <a:rPr lang="en-US" sz="1000" b="1" dirty="0" smtClean="0">
                <a:solidFill>
                  <a:srgbClr val="004669"/>
                </a:solidFill>
              </a:rPr>
              <a:t>11</a:t>
            </a:r>
            <a:endParaRPr lang="en-US" sz="1200" b="1" dirty="0" smtClean="0">
              <a:solidFill>
                <a:srgbClr val="004669"/>
              </a:solidFill>
            </a:endParaRPr>
          </a:p>
          <a:p>
            <a:pPr>
              <a:lnSpc>
                <a:spcPct val="80000"/>
              </a:lnSpc>
              <a:spcBef>
                <a:spcPts val="0"/>
              </a:spcBef>
            </a:pPr>
            <a:r>
              <a:rPr lang="en-US" sz="1000" b="1" dirty="0" smtClean="0">
                <a:solidFill>
                  <a:srgbClr val="004669"/>
                </a:solidFill>
              </a:rPr>
              <a:t>00</a:t>
            </a:r>
            <a:endParaRPr lang="en-US" sz="1200" b="1" dirty="0" smtClean="0">
              <a:solidFill>
                <a:srgbClr val="004669"/>
              </a:solidFill>
            </a:endParaRPr>
          </a:p>
          <a:p>
            <a:pPr>
              <a:lnSpc>
                <a:spcPct val="80000"/>
              </a:lnSpc>
              <a:spcBef>
                <a:spcPts val="0"/>
              </a:spcBef>
            </a:pPr>
            <a:r>
              <a:rPr lang="en-US" sz="1000" b="1" dirty="0" smtClean="0">
                <a:solidFill>
                  <a:srgbClr val="004669"/>
                </a:solidFill>
              </a:rPr>
              <a:t>10</a:t>
            </a:r>
            <a:endParaRPr lang="en-US" sz="1000" b="1" dirty="0">
              <a:solidFill>
                <a:srgbClr val="004669"/>
              </a:solidFill>
            </a:endParaRPr>
          </a:p>
        </p:txBody>
      </p:sp>
      <p:sp>
        <p:nvSpPr>
          <p:cNvPr id="330" name="Textfeld 329"/>
          <p:cNvSpPr txBox="1"/>
          <p:nvPr/>
        </p:nvSpPr>
        <p:spPr>
          <a:xfrm>
            <a:off x="3314837" y="6195110"/>
            <a:ext cx="1220349"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Asset</a:t>
            </a:r>
          </a:p>
        </p:txBody>
      </p:sp>
      <p:sp>
        <p:nvSpPr>
          <p:cNvPr id="331" name="Rechteck 330"/>
          <p:cNvSpPr/>
          <p:nvPr/>
        </p:nvSpPr>
        <p:spPr bwMode="auto">
          <a:xfrm>
            <a:off x="7020466" y="5085184"/>
            <a:ext cx="2693377" cy="1666005"/>
          </a:xfrm>
          <a:prstGeom prst="rect">
            <a:avLst/>
          </a:prstGeom>
          <a:noFill/>
          <a:ln w="28575">
            <a:solidFill>
              <a:schemeClr val="accent1"/>
            </a:solidFill>
            <a:prstDash val="dash"/>
          </a:ln>
          <a:effectLs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sp>
        <p:nvSpPr>
          <p:cNvPr id="332" name="Textfeld 331"/>
          <p:cNvSpPr txBox="1"/>
          <p:nvPr/>
        </p:nvSpPr>
        <p:spPr>
          <a:xfrm>
            <a:off x="151112" y="5504886"/>
            <a:ext cx="2385690" cy="460516"/>
          </a:xfrm>
          <a:prstGeom prst="rect">
            <a:avLst/>
          </a:prstGeom>
          <a:noFill/>
        </p:spPr>
        <p:txBody>
          <a:bodyPr vert="horz" wrap="square" lIns="0" tIns="0" rIns="0" bIns="0" rtlCol="0">
            <a:noAutofit/>
          </a:bodyPr>
          <a:lstStyle/>
          <a:p>
            <a:pPr rtl="0" eaLnBrk="1" fontAlgn="base" hangingPunct="1">
              <a:lnSpc>
                <a:spcPct val="110000"/>
              </a:lnSpc>
              <a:spcBef>
                <a:spcPts val="0"/>
              </a:spcBef>
              <a:spcAft>
                <a:spcPct val="0"/>
              </a:spcAft>
            </a:pPr>
            <a:r>
              <a:rPr lang="en-US" sz="2000" b="1" i="0" u="none" baseline="0" dirty="0" smtClean="0">
                <a:solidFill>
                  <a:schemeClr val="accent1"/>
                </a:solidFill>
                <a:latin typeface="Arial"/>
                <a:ea typeface="Arial Unicode MS" panose="020B0604020202020204" pitchFamily="34" charset="-128"/>
                <a:cs typeface="Arial Unicode MS" panose="020B0604020202020204" pitchFamily="34" charset="-128"/>
              </a:rPr>
              <a:t>Asset</a:t>
            </a:r>
          </a:p>
        </p:txBody>
      </p:sp>
      <p:sp>
        <p:nvSpPr>
          <p:cNvPr id="333" name="Textfeld 332"/>
          <p:cNvSpPr txBox="1"/>
          <p:nvPr/>
        </p:nvSpPr>
        <p:spPr>
          <a:xfrm>
            <a:off x="124033" y="3688058"/>
            <a:ext cx="2385690" cy="460516"/>
          </a:xfrm>
          <a:prstGeom prst="rect">
            <a:avLst/>
          </a:prstGeom>
          <a:noFill/>
        </p:spPr>
        <p:txBody>
          <a:bodyPr vert="horz" wrap="square" lIns="0" tIns="0" rIns="0" bIns="0" rtlCol="0">
            <a:noAutofit/>
          </a:bodyPr>
          <a:lstStyle/>
          <a:p>
            <a:pPr rtl="0" eaLnBrk="1" fontAlgn="base" hangingPunct="1">
              <a:lnSpc>
                <a:spcPct val="110000"/>
              </a:lnSpc>
              <a:spcBef>
                <a:spcPts val="0"/>
              </a:spcBef>
              <a:spcAft>
                <a:spcPct val="0"/>
              </a:spcAft>
            </a:pPr>
            <a:r>
              <a:rPr lang="en-US" sz="2000" b="1" i="0" u="none" baseline="0" dirty="0" smtClean="0">
                <a:solidFill>
                  <a:schemeClr val="accent1"/>
                </a:solidFill>
                <a:latin typeface="Arial"/>
                <a:ea typeface="Arial Unicode MS" panose="020B0604020202020204" pitchFamily="34" charset="-128"/>
                <a:cs typeface="Arial Unicode MS" panose="020B0604020202020204" pitchFamily="34" charset="-128"/>
              </a:rPr>
              <a:t>MindConnect Elements</a:t>
            </a:r>
          </a:p>
        </p:txBody>
      </p:sp>
      <p:sp>
        <p:nvSpPr>
          <p:cNvPr id="334" name="Textfeld 333"/>
          <p:cNvSpPr txBox="1"/>
          <p:nvPr/>
        </p:nvSpPr>
        <p:spPr>
          <a:xfrm>
            <a:off x="124033" y="1794551"/>
            <a:ext cx="2385690" cy="460516"/>
          </a:xfrm>
          <a:prstGeom prst="rect">
            <a:avLst/>
          </a:prstGeom>
          <a:noFill/>
        </p:spPr>
        <p:txBody>
          <a:bodyPr vert="horz" wrap="square" lIns="0" tIns="0" rIns="0" bIns="0" rtlCol="0">
            <a:noAutofit/>
          </a:bodyPr>
          <a:lstStyle/>
          <a:p>
            <a:pPr rtl="0" eaLnBrk="1" fontAlgn="base" hangingPunct="1">
              <a:lnSpc>
                <a:spcPct val="110000"/>
              </a:lnSpc>
              <a:spcBef>
                <a:spcPts val="0"/>
              </a:spcBef>
              <a:spcAft>
                <a:spcPct val="0"/>
              </a:spcAft>
            </a:pPr>
            <a:r>
              <a:rPr lang="en-US" sz="2000" b="1" i="0" u="none" baseline="0" dirty="0" smtClean="0">
                <a:solidFill>
                  <a:schemeClr val="accent1"/>
                </a:solidFill>
                <a:latin typeface="Arial"/>
                <a:ea typeface="Arial Unicode MS" panose="020B0604020202020204" pitchFamily="34" charset="-128"/>
                <a:cs typeface="Arial Unicode MS" panose="020B0604020202020204" pitchFamily="34" charset="-128"/>
              </a:rPr>
              <a:t>MindSphere</a:t>
            </a:r>
          </a:p>
        </p:txBody>
      </p:sp>
      <p:sp>
        <p:nvSpPr>
          <p:cNvPr id="337" name="Abgerundete rechteckige Legende 336"/>
          <p:cNvSpPr/>
          <p:nvPr/>
        </p:nvSpPr>
        <p:spPr bwMode="auto">
          <a:xfrm>
            <a:off x="9419075" y="1519741"/>
            <a:ext cx="2462513" cy="1049972"/>
          </a:xfrm>
          <a:prstGeom prst="wedgeRoundRectCallout">
            <a:avLst>
              <a:gd name="adj1" fmla="val 30802"/>
              <a:gd name="adj2" fmla="val 113665"/>
              <a:gd name="adj3" fmla="val 16667"/>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300" dirty="0">
                <a:solidFill>
                  <a:schemeClr val="bg1"/>
                </a:solidFill>
                <a:ea typeface="Arial Unicode MS" panose="020B0604020202020204" pitchFamily="34" charset="-128"/>
                <a:cs typeface="Arial Unicode MS" panose="020B0604020202020204" pitchFamily="34" charset="-128"/>
              </a:rPr>
              <a:t>To use OPC UA together with MindSphere, you need a S7-1500 V2.x or an OPC UA server. </a:t>
            </a:r>
            <a:endParaRPr lang="de-DE" sz="1300" dirty="0" smtClean="0">
              <a:solidFill>
                <a:schemeClr val="tx1"/>
              </a:solidFill>
              <a:ea typeface="Arial Unicode MS" panose="020B0604020202020204" pitchFamily="34" charset="-128"/>
              <a:cs typeface="Arial Unicode MS" panose="020B0604020202020204" pitchFamily="34" charset="-128"/>
            </a:endParaRPr>
          </a:p>
        </p:txBody>
      </p:sp>
      <p:grpSp>
        <p:nvGrpSpPr>
          <p:cNvPr id="338" name="Group 22"/>
          <p:cNvGrpSpPr/>
          <p:nvPr/>
        </p:nvGrpSpPr>
        <p:grpSpPr>
          <a:xfrm flipH="1">
            <a:off x="10420303" y="3303043"/>
            <a:ext cx="1544960" cy="1438653"/>
            <a:chOff x="6676605" y="575869"/>
            <a:chExt cx="3103772" cy="2907071"/>
          </a:xfrm>
        </p:grpSpPr>
        <p:sp>
          <p:nvSpPr>
            <p:cNvPr id="339"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0"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341"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342"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343"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4"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5"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6"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7"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8"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9"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0"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1"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2"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353"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4"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5"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6"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357" name="Group 521"/>
            <p:cNvGrpSpPr/>
            <p:nvPr/>
          </p:nvGrpSpPr>
          <p:grpSpPr>
            <a:xfrm>
              <a:off x="7959273" y="1994835"/>
              <a:ext cx="400935" cy="150210"/>
              <a:chOff x="6510943" y="2827088"/>
              <a:chExt cx="400935" cy="150210"/>
            </a:xfrm>
            <a:solidFill>
              <a:srgbClr val="004669"/>
            </a:solidFill>
          </p:grpSpPr>
          <p:sp>
            <p:nvSpPr>
              <p:cNvPr id="369"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70"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358"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9"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0"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1"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2"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3"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4"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5"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6"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7"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8"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grpSp>
        <p:nvGrpSpPr>
          <p:cNvPr id="371" name="Gruppieren 370"/>
          <p:cNvGrpSpPr/>
          <p:nvPr/>
        </p:nvGrpSpPr>
        <p:grpSpPr>
          <a:xfrm>
            <a:off x="7148200" y="5314122"/>
            <a:ext cx="1000245" cy="855731"/>
            <a:chOff x="3320623" y="5471892"/>
            <a:chExt cx="1274067" cy="1072898"/>
          </a:xfrm>
        </p:grpSpPr>
        <p:pic>
          <p:nvPicPr>
            <p:cNvPr id="372" name="G_SY02_XX_01648P.png"/>
            <p:cNvPicPr>
              <a:picLocks noChangeAspect="1"/>
            </p:cNvPicPr>
            <p:nvPr>
              <p:custDataLst>
                <p:tags r:id="rId5"/>
              </p:custDataLst>
            </p:nvPr>
          </p:nvPicPr>
          <p:blipFill>
            <a:blip r:embed="rId15" cstate="print">
              <a:extLst>
                <a:ext uri="{28A0092B-C50C-407E-A947-70E740481C1C}">
                  <a14:useLocalDpi xmlns:a14="http://schemas.microsoft.com/office/drawing/2010/main" val="0"/>
                </a:ext>
              </a:extLst>
            </a:blip>
            <a:stretch>
              <a:fillRect/>
            </a:stretch>
          </p:blipFill>
          <p:spPr>
            <a:xfrm>
              <a:off x="3320623" y="5471892"/>
              <a:ext cx="1274067" cy="1072898"/>
            </a:xfrm>
            <a:prstGeom prst="rect">
              <a:avLst/>
            </a:prstGeom>
          </p:spPr>
        </p:pic>
        <p:pic>
          <p:nvPicPr>
            <p:cNvPr id="373" name="Picture 2" descr="logo"/>
            <p:cNvPicPr>
              <a:picLocks noChangeAspect="1" noChangeArrowheads="1"/>
            </p:cNvPicPr>
            <p:nvPr/>
          </p:nvPicPr>
          <p:blipFill>
            <a:blip r:embed="rId21" cstate="print">
              <a:extLst>
                <a:ext uri="{BEBA8EAE-BF5A-486C-A8C5-ECC9F3942E4B}">
                  <a14:imgProps xmlns:a14="http://schemas.microsoft.com/office/drawing/2010/main">
                    <a14:imgLayer r:embed="rId22">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3732934" y="5638623"/>
              <a:ext cx="849196" cy="310080"/>
            </a:xfrm>
            <a:prstGeom prst="rect">
              <a:avLst/>
            </a:prstGeom>
            <a:noFill/>
            <a:extLst>
              <a:ext uri="{909E8E84-426E-40DD-AFC4-6F175D3DCCD1}">
                <a14:hiddenFill xmlns:a14="http://schemas.microsoft.com/office/drawing/2010/main">
                  <a:solidFill>
                    <a:srgbClr val="FFFFFF"/>
                  </a:solidFill>
                </a14:hiddenFill>
              </a:ext>
            </a:extLst>
          </p:spPr>
        </p:pic>
      </p:grpSp>
      <p:sp>
        <p:nvSpPr>
          <p:cNvPr id="374" name="Textfeld 373"/>
          <p:cNvSpPr txBox="1"/>
          <p:nvPr/>
        </p:nvSpPr>
        <p:spPr>
          <a:xfrm>
            <a:off x="4712305" y="5479092"/>
            <a:ext cx="652767" cy="25605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2000" b="1" i="0" u="none" baseline="0" dirty="0" smtClean="0">
                <a:solidFill>
                  <a:srgbClr val="000000"/>
                </a:solidFill>
                <a:latin typeface="Arial"/>
                <a:ea typeface="Arial Unicode MS" panose="020B0604020202020204" pitchFamily="34" charset="-128"/>
                <a:cs typeface="Arial Unicode MS" panose="020B0604020202020204" pitchFamily="34" charset="-128"/>
              </a:rPr>
              <a:t>+</a:t>
            </a:r>
          </a:p>
        </p:txBody>
      </p:sp>
      <p:sp>
        <p:nvSpPr>
          <p:cNvPr id="375" name="Textfeld 374"/>
          <p:cNvSpPr txBox="1"/>
          <p:nvPr/>
        </p:nvSpPr>
        <p:spPr>
          <a:xfrm>
            <a:off x="6402709" y="5551582"/>
            <a:ext cx="652767" cy="25605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b="1" i="0" u="none" baseline="0" dirty="0" smtClean="0">
                <a:solidFill>
                  <a:srgbClr val="000000"/>
                </a:solidFill>
                <a:latin typeface="Arial"/>
                <a:ea typeface="Arial Unicode MS" panose="020B0604020202020204" pitchFamily="34" charset="-128"/>
                <a:cs typeface="Arial Unicode MS" panose="020B0604020202020204" pitchFamily="34" charset="-128"/>
              </a:rPr>
              <a:t>OR</a:t>
            </a:r>
          </a:p>
        </p:txBody>
      </p:sp>
    </p:spTree>
    <p:extLst>
      <p:ext uri="{BB962C8B-B14F-4D97-AF65-F5344CB8AC3E}">
        <p14:creationId xmlns:p14="http://schemas.microsoft.com/office/powerpoint/2010/main" val="8149031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186258" y="1437894"/>
            <a:ext cx="11731194" cy="792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a:lnSpc>
                <a:spcPct val="110000"/>
              </a:lnSpc>
              <a:spcBef>
                <a:spcPct val="0"/>
              </a:spcBef>
            </a:pPr>
            <a:r>
              <a:rPr lang="en-US" sz="1400" dirty="0">
                <a:solidFill>
                  <a:sysClr val="windowText" lastClr="000000"/>
                </a:solidFill>
              </a:rPr>
              <a:t>MindConnect FB is a TIA Portal STEP7 </a:t>
            </a:r>
            <a:r>
              <a:rPr lang="en-US" sz="1400" dirty="0" smtClean="0">
                <a:solidFill>
                  <a:sysClr val="windowText" lastClr="000000"/>
                </a:solidFill>
              </a:rPr>
              <a:t>Library </a:t>
            </a:r>
            <a:r>
              <a:rPr lang="en-US" sz="1400" dirty="0">
                <a:solidFill>
                  <a:sysClr val="windowText" lastClr="000000"/>
                </a:solidFill>
              </a:rPr>
              <a:t>to extend the functionality of the S7-1500 PLC. It supports encrypted transmission of PLC data to MindSphere through a secure internet connection, to enable cloud-based applications and services. </a:t>
            </a:r>
          </a:p>
        </p:txBody>
      </p:sp>
      <p:sp>
        <p:nvSpPr>
          <p:cNvPr id="2" name="Titel 1"/>
          <p:cNvSpPr>
            <a:spLocks noGrp="1"/>
          </p:cNvSpPr>
          <p:nvPr>
            <p:ph type="title"/>
          </p:nvPr>
        </p:nvSpPr>
        <p:spPr/>
        <p:txBody>
          <a:bodyPr/>
          <a:lstStyle/>
          <a:p>
            <a:r>
              <a:rPr lang="en-US" dirty="0" smtClean="0"/>
              <a:t>MindSphere Connectivity Suite</a:t>
            </a:r>
            <a:br>
              <a:rPr lang="en-US" dirty="0" smtClean="0"/>
            </a:br>
            <a:r>
              <a:rPr lang="en-US" b="0" dirty="0"/>
              <a:t>MindConnect FB 1500* </a:t>
            </a:r>
          </a:p>
        </p:txBody>
      </p:sp>
      <p:sp>
        <p:nvSpPr>
          <p:cNvPr id="10" name="Rechteck 9"/>
          <p:cNvSpPr/>
          <p:nvPr>
            <p:custDataLst>
              <p:tags r:id="rId1"/>
            </p:custDataLst>
          </p:nvPr>
        </p:nvSpPr>
        <p:spPr bwMode="auto">
          <a:xfrm>
            <a:off x="186258" y="2389673"/>
            <a:ext cx="11731194" cy="1728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Fast and easy connectivity of industrial machines and automation systems to MindSphere</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Simple configuration and commissioning - Configure your data model in STEP 7 (TIA Portal V14)</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No additional hardware needed </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Unencrypted onsite (local) traffic which allows local package inspection</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Comprehensive security concept in accordance with applicable industry standards</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Local data buffering possible </a:t>
            </a:r>
          </a:p>
        </p:txBody>
      </p:sp>
      <p:sp>
        <p:nvSpPr>
          <p:cNvPr id="14" name="Rechteck 13"/>
          <p:cNvSpPr/>
          <p:nvPr/>
        </p:nvSpPr>
        <p:spPr bwMode="auto">
          <a:xfrm>
            <a:off x="215371" y="4277452"/>
            <a:ext cx="11731194" cy="108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1588" lvl="1">
              <a:lnSpc>
                <a:spcPct val="110000"/>
              </a:lnSpc>
              <a:spcBef>
                <a:spcPts val="0"/>
              </a:spcBef>
              <a:buClr>
                <a:schemeClr val="accent1"/>
              </a:buClr>
              <a:buSzPts val="1400"/>
            </a:pPr>
            <a:r>
              <a:rPr lang="en-US" sz="1400" dirty="0">
                <a:solidFill>
                  <a:sysClr val="windowText" lastClr="000000"/>
                </a:solidFill>
              </a:rPr>
              <a:t>S7-1500 acts as gateway into </a:t>
            </a:r>
            <a:r>
              <a:rPr lang="en-US" sz="1400" dirty="0">
                <a:solidFill>
                  <a:schemeClr val="tx1"/>
                </a:solidFill>
              </a:rPr>
              <a:t>field-level which </a:t>
            </a:r>
            <a:r>
              <a:rPr lang="en-US" sz="1400" dirty="0">
                <a:solidFill>
                  <a:sysClr val="windowText" lastClr="000000"/>
                </a:solidFill>
              </a:rPr>
              <a:t>allows access to various data sources</a:t>
            </a:r>
          </a:p>
        </p:txBody>
      </p:sp>
      <p:sp>
        <p:nvSpPr>
          <p:cNvPr id="19" name="Rechteck 18"/>
          <p:cNvSpPr/>
          <p:nvPr/>
        </p:nvSpPr>
        <p:spPr bwMode="auto">
          <a:xfrm>
            <a:off x="186258" y="5517232"/>
            <a:ext cx="11731194" cy="72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reading cycle: Up to 110 data points per second can be configured in TIA Portal (the exact amount of data points depends on each controller)</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transfer cycle: Every 10 seconds</a:t>
            </a:r>
          </a:p>
        </p:txBody>
      </p:sp>
      <p:sp>
        <p:nvSpPr>
          <p:cNvPr id="8" name="Textfeld 7"/>
          <p:cNvSpPr txBox="1"/>
          <p:nvPr/>
        </p:nvSpPr>
        <p:spPr>
          <a:xfrm>
            <a:off x="931550" y="1739912"/>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Description</a:t>
            </a:r>
          </a:p>
        </p:txBody>
      </p:sp>
      <p:sp>
        <p:nvSpPr>
          <p:cNvPr id="31" name="Textfeld 30"/>
          <p:cNvSpPr txBox="1"/>
          <p:nvPr/>
        </p:nvSpPr>
        <p:spPr>
          <a:xfrm>
            <a:off x="931550" y="3158445"/>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Benefits</a:t>
            </a:r>
          </a:p>
        </p:txBody>
      </p:sp>
      <p:sp>
        <p:nvSpPr>
          <p:cNvPr id="35" name="Textfeld 34"/>
          <p:cNvSpPr txBox="1"/>
          <p:nvPr/>
        </p:nvSpPr>
        <p:spPr>
          <a:xfrm>
            <a:off x="931550" y="4597334"/>
            <a:ext cx="1259344" cy="473976"/>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Supporting</a:t>
            </a:r>
            <a:r>
              <a:rPr lang="en-US" sz="1400" b="1" dirty="0">
                <a:solidFill>
                  <a:srgbClr val="0F8287"/>
                </a:solidFill>
              </a:rPr>
              <a:t> </a:t>
            </a:r>
            <a:r>
              <a:rPr lang="en-US" sz="1400" b="1" dirty="0">
                <a:solidFill>
                  <a:srgbClr val="00646E"/>
                </a:solidFill>
              </a:rPr>
              <a:t>Protocols</a:t>
            </a:r>
          </a:p>
        </p:txBody>
      </p:sp>
      <p:sp>
        <p:nvSpPr>
          <p:cNvPr id="36" name="Textfeld 35"/>
          <p:cNvSpPr txBox="1"/>
          <p:nvPr/>
        </p:nvSpPr>
        <p:spPr>
          <a:xfrm>
            <a:off x="931550" y="5775180"/>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Performance</a:t>
            </a:r>
          </a:p>
        </p:txBody>
      </p:sp>
      <p:pic>
        <p:nvPicPr>
          <p:cNvPr id="2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5193" r="53761"/>
          <a:stretch/>
        </p:blipFill>
        <p:spPr bwMode="auto">
          <a:xfrm>
            <a:off x="9883667" y="2492896"/>
            <a:ext cx="1862018" cy="1816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feld 22"/>
          <p:cNvSpPr txBox="1"/>
          <p:nvPr/>
        </p:nvSpPr>
        <p:spPr>
          <a:xfrm>
            <a:off x="7369291" y="6237391"/>
            <a:ext cx="4264973" cy="169277"/>
          </a:xfrm>
          <a:prstGeom prst="rect">
            <a:avLst/>
          </a:prstGeom>
          <a:noFill/>
        </p:spPr>
        <p:txBody>
          <a:bodyPr wrap="non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1100" b="0" i="0" u="none" strike="noStrike" kern="0" cap="none" spc="0" normalizeH="0" baseline="0" noProof="0" dirty="0" smtClean="0">
                <a:ln>
                  <a:noFill/>
                </a:ln>
                <a:solidFill>
                  <a:srgbClr val="000000"/>
                </a:solidFill>
                <a:effectLst/>
                <a:uLnTx/>
                <a:uFillTx/>
              </a:rPr>
              <a:t>* Compatible</a:t>
            </a:r>
            <a:r>
              <a:rPr kumimoji="0" lang="en-US" sz="1100" b="0" i="0" u="none" strike="noStrike" kern="0" cap="none" spc="0" normalizeH="0" noProof="0" dirty="0" smtClean="0">
                <a:ln>
                  <a:noFill/>
                </a:ln>
                <a:solidFill>
                  <a:srgbClr val="000000"/>
                </a:solidFill>
                <a:effectLst/>
                <a:uLnTx/>
                <a:uFillTx/>
              </a:rPr>
              <a:t> with S7-1511 to S7-1518 with firmware 2.0 or higher  </a:t>
            </a:r>
            <a:endParaRPr kumimoji="0" lang="en-US" sz="1100" b="0" i="0" u="none" strike="noStrike" kern="0" cap="none" spc="0" normalizeH="0" baseline="0" noProof="0" dirty="0" smtClean="0">
              <a:ln>
                <a:noFill/>
              </a:ln>
              <a:solidFill>
                <a:srgbClr val="000000"/>
              </a:solidFill>
              <a:effectLst/>
              <a:uLnTx/>
              <a:uFillTx/>
            </a:endParaRPr>
          </a:p>
        </p:txBody>
      </p:sp>
      <p:pic>
        <p:nvPicPr>
          <p:cNvPr id="20" name="Bild 42"/>
          <p:cNvPicPr>
            <a:picLocks noChangeAspect="1"/>
          </p:cNvPicPr>
          <p:nvPr/>
        </p:nvPicPr>
        <p:blipFill>
          <a:blip r:embed="rId7">
            <a:duotone>
              <a:schemeClr val="accent5">
                <a:shade val="45000"/>
                <a:satMod val="135000"/>
              </a:schemeClr>
              <a:prstClr val="white"/>
            </a:duotone>
          </a:blip>
          <a:stretch>
            <a:fillRect/>
          </a:stretch>
        </p:blipFill>
        <p:spPr>
          <a:xfrm>
            <a:off x="277975" y="5617174"/>
            <a:ext cx="539719" cy="513443"/>
          </a:xfrm>
          <a:prstGeom prst="rect">
            <a:avLst/>
          </a:prstGeom>
        </p:spPr>
      </p:pic>
      <p:grpSp>
        <p:nvGrpSpPr>
          <p:cNvPr id="24" name="Group 23"/>
          <p:cNvGrpSpPr/>
          <p:nvPr/>
        </p:nvGrpSpPr>
        <p:grpSpPr>
          <a:xfrm>
            <a:off x="295966" y="2992401"/>
            <a:ext cx="503738" cy="513204"/>
            <a:chOff x="296120" y="2992401"/>
            <a:chExt cx="504000" cy="513204"/>
          </a:xfrm>
        </p:grpSpPr>
        <p:sp>
          <p:nvSpPr>
            <p:cNvPr id="25" name="Freeform 20"/>
            <p:cNvSpPr>
              <a:spLocks/>
            </p:cNvSpPr>
            <p:nvPr/>
          </p:nvSpPr>
          <p:spPr bwMode="gray">
            <a:xfrm>
              <a:off x="449688" y="2992401"/>
              <a:ext cx="350432" cy="513204"/>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1"/>
            <p:cNvSpPr>
              <a:spLocks/>
            </p:cNvSpPr>
            <p:nvPr/>
          </p:nvSpPr>
          <p:spPr bwMode="gray">
            <a:xfrm>
              <a:off x="296120" y="3228898"/>
              <a:ext cx="123125" cy="249446"/>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27" name="general-information.png"/>
          <p:cNvPicPr>
            <a:picLocks noChangeAspect="1"/>
          </p:cNvPicPr>
          <p:nvPr>
            <p:custDataLst>
              <p:tags r:id="rId2"/>
            </p:custDataLst>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31947" y="1625478"/>
            <a:ext cx="431775" cy="432000"/>
          </a:xfrm>
          <a:prstGeom prst="rect">
            <a:avLst/>
          </a:prstGeom>
        </p:spPr>
      </p:pic>
      <p:pic>
        <p:nvPicPr>
          <p:cNvPr id="28" name="general_communication.png"/>
          <p:cNvPicPr>
            <a:picLocks noChangeAspect="1"/>
          </p:cNvPicPr>
          <p:nvPr>
            <p:custDataLst>
              <p:tags r:id="rId3"/>
            </p:custDataLst>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59985" y="4530970"/>
            <a:ext cx="575700" cy="576000"/>
          </a:xfrm>
          <a:prstGeom prst="rect">
            <a:avLst/>
          </a:prstGeom>
        </p:spPr>
      </p:pic>
      <p:sp>
        <p:nvSpPr>
          <p:cNvPr id="21" name="Textfeld 76"/>
          <p:cNvSpPr txBox="1"/>
          <p:nvPr/>
        </p:nvSpPr>
        <p:spPr>
          <a:xfrm>
            <a:off x="547835" y="95464"/>
            <a:ext cx="3163343" cy="218586"/>
          </a:xfrm>
          <a:prstGeom prst="rect">
            <a:avLst/>
          </a:prstGeom>
          <a:noFill/>
        </p:spPr>
        <p:txBody>
          <a:bodyPr wrap="square" lIns="0" tIns="0" rIns="0" bIns="0" rtlCol="0">
            <a:spAutoFit/>
          </a:bodyPr>
          <a:lstStyle/>
          <a:p>
            <a:pPr algn="l">
              <a:lnSpc>
                <a:spcPct val="110000"/>
              </a:lnSpc>
              <a:spcBef>
                <a:spcPts val="0"/>
              </a:spcBef>
            </a:pPr>
            <a:r>
              <a:rPr lang="en-US" sz="1400" b="1" dirty="0" smtClean="0">
                <a:solidFill>
                  <a:srgbClr val="004669"/>
                </a:solidFill>
              </a:rPr>
              <a:t>Integrated Gateway</a:t>
            </a:r>
            <a:endParaRPr lang="en-US" sz="1400" dirty="0" smtClean="0">
              <a:solidFill>
                <a:srgbClr val="004669"/>
              </a:solidFill>
            </a:endParaRPr>
          </a:p>
        </p:txBody>
      </p:sp>
      <p:sp>
        <p:nvSpPr>
          <p:cNvPr id="29" name="Oval 16"/>
          <p:cNvSpPr/>
          <p:nvPr/>
        </p:nvSpPr>
        <p:spPr bwMode="gray">
          <a:xfrm>
            <a:off x="47085" y="95464"/>
            <a:ext cx="252000" cy="252000"/>
          </a:xfrm>
          <a:prstGeom prst="ellipse">
            <a:avLst/>
          </a:prstGeom>
          <a:solidFill>
            <a:srgbClr val="006487"/>
          </a:solidFill>
          <a:ln>
            <a:solidFill>
              <a:srgbClr val="006487"/>
            </a:solidFill>
          </a:ln>
          <a:extLst/>
        </p:spPr>
        <p:txBody>
          <a:bodyPr lIns="0" tIns="0" rIns="0" bIns="0" rtlCol="0" anchor="ctr" anchorCtr="0"/>
          <a:lstStyle/>
          <a:p>
            <a:pPr marL="0" indent="0" algn="ctr">
              <a:spcBef>
                <a:spcPts val="0"/>
              </a:spcBef>
            </a:pPr>
            <a:r>
              <a:rPr lang="en-US" sz="1200" b="1" dirty="0">
                <a:solidFill>
                  <a:srgbClr val="FFFFFF"/>
                </a:solidFill>
              </a:rPr>
              <a:t>2</a:t>
            </a:r>
            <a:endParaRPr lang="en-US" sz="1200" b="1" dirty="0" smtClean="0">
              <a:solidFill>
                <a:srgbClr val="FFFFFF"/>
              </a:solidFill>
            </a:endParaRPr>
          </a:p>
        </p:txBody>
      </p:sp>
    </p:spTree>
    <p:extLst>
      <p:ext uri="{BB962C8B-B14F-4D97-AF65-F5344CB8AC3E}">
        <p14:creationId xmlns:p14="http://schemas.microsoft.com/office/powerpoint/2010/main" val="2493649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tructure of MindSphere Connectivity </a:t>
            </a:r>
            <a:br>
              <a:rPr lang="en-US" dirty="0" smtClean="0"/>
            </a:br>
            <a:r>
              <a:rPr lang="en-US" b="0" dirty="0" err="1" smtClean="0"/>
              <a:t>MindConnect</a:t>
            </a:r>
            <a:r>
              <a:rPr lang="en-US" b="0" dirty="0" smtClean="0"/>
              <a:t> FB 1500</a:t>
            </a:r>
            <a:endParaRPr lang="en-US" b="0" dirty="0"/>
          </a:p>
        </p:txBody>
      </p:sp>
      <p:sp>
        <p:nvSpPr>
          <p:cNvPr id="337" name="Abgerundete rechteckige Legende 336"/>
          <p:cNvSpPr/>
          <p:nvPr/>
        </p:nvSpPr>
        <p:spPr bwMode="auto">
          <a:xfrm>
            <a:off x="8881393" y="3029626"/>
            <a:ext cx="2462513" cy="1049972"/>
          </a:xfrm>
          <a:prstGeom prst="wedgeRoundRectCallout">
            <a:avLst>
              <a:gd name="adj1" fmla="val 30802"/>
              <a:gd name="adj2" fmla="val 113665"/>
              <a:gd name="adj3" fmla="val 16667"/>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300" dirty="0" smtClean="0">
                <a:solidFill>
                  <a:schemeClr val="bg1"/>
                </a:solidFill>
                <a:ea typeface="Arial Unicode MS" panose="020B0604020202020204" pitchFamily="34" charset="-128"/>
                <a:cs typeface="Arial Unicode MS" panose="020B0604020202020204" pitchFamily="34" charset="-128"/>
              </a:rPr>
              <a:t>With MindConnect FB, you need no extra Hardware Gateway to connect to MindSphere!</a:t>
            </a:r>
            <a:endParaRPr lang="de-DE" sz="1300" dirty="0" smtClean="0">
              <a:solidFill>
                <a:schemeClr val="tx1"/>
              </a:solidFill>
              <a:ea typeface="Arial Unicode MS" panose="020B0604020202020204" pitchFamily="34" charset="-128"/>
              <a:cs typeface="Arial Unicode MS" panose="020B0604020202020204" pitchFamily="34" charset="-128"/>
            </a:endParaRPr>
          </a:p>
        </p:txBody>
      </p:sp>
      <p:grpSp>
        <p:nvGrpSpPr>
          <p:cNvPr id="338" name="Group 22"/>
          <p:cNvGrpSpPr/>
          <p:nvPr/>
        </p:nvGrpSpPr>
        <p:grpSpPr>
          <a:xfrm flipH="1">
            <a:off x="9882621" y="4812928"/>
            <a:ext cx="1544960" cy="1438653"/>
            <a:chOff x="6676605" y="575869"/>
            <a:chExt cx="3103772" cy="2907071"/>
          </a:xfrm>
        </p:grpSpPr>
        <p:sp>
          <p:nvSpPr>
            <p:cNvPr id="339"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0"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341"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342"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343"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4"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5"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6"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7"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8"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9"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0"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1"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2"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353"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4"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5"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6"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357" name="Group 521"/>
            <p:cNvGrpSpPr/>
            <p:nvPr/>
          </p:nvGrpSpPr>
          <p:grpSpPr>
            <a:xfrm>
              <a:off x="7959273" y="1994835"/>
              <a:ext cx="400935" cy="150210"/>
              <a:chOff x="6510943" y="2827088"/>
              <a:chExt cx="400935" cy="150210"/>
            </a:xfrm>
            <a:solidFill>
              <a:srgbClr val="004669"/>
            </a:solidFill>
          </p:grpSpPr>
          <p:sp>
            <p:nvSpPr>
              <p:cNvPr id="369"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70"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358"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9"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0"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1"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2"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3"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4"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5"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6"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7"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8"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pic>
        <p:nvPicPr>
          <p:cNvPr id="375" name="software_tia-portal_step7.png"/>
          <p:cNvPicPr>
            <a:picLocks noChangeAspect="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1590368" y="1793743"/>
            <a:ext cx="1274639" cy="1274639"/>
          </a:xfrm>
          <a:prstGeom prst="rect">
            <a:avLst/>
          </a:prstGeom>
        </p:spPr>
      </p:pic>
      <p:sp>
        <p:nvSpPr>
          <p:cNvPr id="376" name="Textfeld 375"/>
          <p:cNvSpPr txBox="1"/>
          <p:nvPr/>
        </p:nvSpPr>
        <p:spPr>
          <a:xfrm>
            <a:off x="1188505" y="2885212"/>
            <a:ext cx="2078364" cy="585684"/>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STEP7 TIA Portal V14</a:t>
            </a:r>
          </a:p>
          <a:p>
            <a:pPr algn="ctr" rtl="0" eaLnBrk="1" fontAlgn="base" hangingPunct="1">
              <a:lnSpc>
                <a:spcPct val="110000"/>
              </a:lnSpc>
              <a:spcBef>
                <a:spcPts val="0"/>
              </a:spcBef>
              <a:spcAft>
                <a:spcPct val="0"/>
              </a:spcAft>
            </a:pPr>
            <a:r>
              <a:rPr lang="en-US" sz="1400" dirty="0" smtClean="0">
                <a:solidFill>
                  <a:srgbClr val="000000"/>
                </a:solidFill>
                <a:latin typeface="Arial"/>
                <a:ea typeface="Arial Unicode MS" panose="020B0604020202020204" pitchFamily="34" charset="-128"/>
                <a:cs typeface="Arial Unicode MS" panose="020B0604020202020204" pitchFamily="34" charset="-128"/>
              </a:rPr>
              <a:t>MindConnect FB</a:t>
            </a:r>
            <a:endParaRPr lang="en-US" sz="1400"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pic>
        <p:nvPicPr>
          <p:cNvPr id="378" name="G_SY02_XX_01648P.png"/>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a:off x="1595749" y="4571527"/>
            <a:ext cx="1274067" cy="1072898"/>
          </a:xfrm>
          <a:prstGeom prst="rect">
            <a:avLst/>
          </a:prstGeom>
        </p:spPr>
      </p:pic>
      <p:pic>
        <p:nvPicPr>
          <p:cNvPr id="380" name="G_SY02_XX_02035P.png"/>
          <p:cNvPicPr>
            <a:picLocks noChangeAspect="1"/>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a:off x="5864145" y="4787579"/>
            <a:ext cx="2017953" cy="1008976"/>
          </a:xfrm>
          <a:prstGeom prst="rect">
            <a:avLst/>
          </a:prstGeom>
        </p:spPr>
      </p:pic>
      <p:sp>
        <p:nvSpPr>
          <p:cNvPr id="381" name="Textfeld 380"/>
          <p:cNvSpPr txBox="1"/>
          <p:nvPr/>
        </p:nvSpPr>
        <p:spPr>
          <a:xfrm>
            <a:off x="6342797" y="5919038"/>
            <a:ext cx="1220349"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Asset</a:t>
            </a:r>
          </a:p>
        </p:txBody>
      </p:sp>
      <p:sp>
        <p:nvSpPr>
          <p:cNvPr id="382" name="Textfeld 381"/>
          <p:cNvSpPr txBox="1"/>
          <p:nvPr/>
        </p:nvSpPr>
        <p:spPr>
          <a:xfrm>
            <a:off x="1622607" y="5702986"/>
            <a:ext cx="1220349" cy="288032"/>
          </a:xfrm>
          <a:prstGeom prst="rect">
            <a:avLst/>
          </a:prstGeom>
          <a:noFill/>
        </p:spPr>
        <p:txBody>
          <a:bodyPr vert="horz" wrap="square" lIns="0" tIns="0" rIns="0" bIns="0" rtlCol="0">
            <a:noAutofit/>
          </a:bodyPr>
          <a:lstStyle/>
          <a:p>
            <a:pPr algn="ctr" rtl="0" eaLnBrk="1" fontAlgn="base" hangingPunct="1">
              <a:lnSpc>
                <a:spcPct val="110000"/>
              </a:lnSpc>
              <a:spcBef>
                <a:spcPts val="0"/>
              </a:spcBef>
              <a:spcAft>
                <a:spcPct val="0"/>
              </a:spcAft>
            </a:pPr>
            <a:r>
              <a:rPr lang="en-US" sz="1400" b="1" i="0" u="none" baseline="0" dirty="0" smtClean="0">
                <a:solidFill>
                  <a:srgbClr val="000000"/>
                </a:solidFill>
                <a:latin typeface="Arial"/>
                <a:ea typeface="Arial Unicode MS" panose="020B0604020202020204" pitchFamily="34" charset="-128"/>
                <a:cs typeface="Arial Unicode MS" panose="020B0604020202020204" pitchFamily="34" charset="-128"/>
              </a:rPr>
              <a:t>S7 1500</a:t>
            </a:r>
          </a:p>
        </p:txBody>
      </p:sp>
      <p:grpSp>
        <p:nvGrpSpPr>
          <p:cNvPr id="383" name="Group 457"/>
          <p:cNvGrpSpPr/>
          <p:nvPr/>
        </p:nvGrpSpPr>
        <p:grpSpPr>
          <a:xfrm>
            <a:off x="4720172" y="1879559"/>
            <a:ext cx="4180385" cy="1030249"/>
            <a:chOff x="4900768" y="2555464"/>
            <a:chExt cx="5726325" cy="1563001"/>
          </a:xfrm>
        </p:grpSpPr>
        <p:grpSp>
          <p:nvGrpSpPr>
            <p:cNvPr id="384" name="Group 412"/>
            <p:cNvGrpSpPr/>
            <p:nvPr/>
          </p:nvGrpSpPr>
          <p:grpSpPr>
            <a:xfrm>
              <a:off x="4900768" y="2555464"/>
              <a:ext cx="5726325" cy="1563001"/>
              <a:chOff x="4656557" y="2637307"/>
              <a:chExt cx="6269058" cy="1711140"/>
            </a:xfrm>
          </p:grpSpPr>
          <p:sp>
            <p:nvSpPr>
              <p:cNvPr id="386" name="Textfeld 273"/>
              <p:cNvSpPr txBox="1"/>
              <p:nvPr/>
            </p:nvSpPr>
            <p:spPr bwMode="gray">
              <a:xfrm>
                <a:off x="6824268" y="3343252"/>
                <a:ext cx="1879646" cy="394281"/>
              </a:xfrm>
              <a:prstGeom prst="rect">
                <a:avLst/>
              </a:prstGeom>
              <a:noFill/>
            </p:spPr>
            <p:txBody>
              <a:bodyPr wrap="none" lIns="0" tIns="0" rIns="0" bIns="0" rtlCol="0">
                <a:spAutoFit/>
              </a:bodyPr>
              <a:lstStyle/>
              <a:p>
                <a:pPr algn="ctr">
                  <a:spcBef>
                    <a:spcPct val="0"/>
                  </a:spcBef>
                  <a:buFont typeface="Wingdings" charset="0"/>
                  <a:buNone/>
                </a:pPr>
                <a:r>
                  <a:rPr lang="en-US" sz="2399" b="1" dirty="0" err="1">
                    <a:solidFill>
                      <a:srgbClr val="004669"/>
                    </a:solidFill>
                    <a:latin typeface="+mj-lt"/>
                  </a:rPr>
                  <a:t>MindSphere</a:t>
                </a:r>
                <a:endParaRPr lang="en-US" sz="2399" b="1" dirty="0">
                  <a:solidFill>
                    <a:srgbClr val="004669"/>
                  </a:solidFill>
                  <a:latin typeface="+mj-lt"/>
                </a:endParaRPr>
              </a:p>
            </p:txBody>
          </p:sp>
          <p:grpSp>
            <p:nvGrpSpPr>
              <p:cNvPr id="387" name="Gruppieren 383"/>
              <p:cNvGrpSpPr/>
              <p:nvPr/>
            </p:nvGrpSpPr>
            <p:grpSpPr>
              <a:xfrm>
                <a:off x="4656557" y="2637307"/>
                <a:ext cx="6269058" cy="1711140"/>
                <a:chOff x="5414379" y="2883694"/>
                <a:chExt cx="6272323" cy="1712031"/>
              </a:xfrm>
            </p:grpSpPr>
            <p:grpSp>
              <p:nvGrpSpPr>
                <p:cNvPr id="388" name="Gruppieren 384"/>
                <p:cNvGrpSpPr/>
                <p:nvPr/>
              </p:nvGrpSpPr>
              <p:grpSpPr>
                <a:xfrm>
                  <a:off x="5427516" y="2972295"/>
                  <a:ext cx="6230431" cy="1603267"/>
                  <a:chOff x="5427516" y="2972295"/>
                  <a:chExt cx="6230431" cy="1603267"/>
                </a:xfrm>
              </p:grpSpPr>
              <p:sp>
                <p:nvSpPr>
                  <p:cNvPr id="639" name="Freihandform 635"/>
                  <p:cNvSpPr/>
                  <p:nvPr/>
                </p:nvSpPr>
                <p:spPr bwMode="gray">
                  <a:xfrm>
                    <a:off x="6224226" y="4079768"/>
                    <a:ext cx="1617707" cy="492263"/>
                  </a:xfrm>
                  <a:custGeom>
                    <a:avLst/>
                    <a:gdLst>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50119 w 1362075"/>
                      <a:gd name="connsiteY5" fmla="*/ 407194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73895 w 1362075"/>
                      <a:gd name="connsiteY3" fmla="*/ 409575 h 414338"/>
                      <a:gd name="connsiteX4" fmla="*/ 821532 w 1362075"/>
                      <a:gd name="connsiteY4" fmla="*/ 273844 h 414338"/>
                      <a:gd name="connsiteX5" fmla="*/ 950119 w 1362075"/>
                      <a:gd name="connsiteY5" fmla="*/ 407194 h 414338"/>
                      <a:gd name="connsiteX6" fmla="*/ 1362075 w 1362075"/>
                      <a:gd name="connsiteY6" fmla="*/ 0 h 4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5" h="414338">
                        <a:moveTo>
                          <a:pt x="0" y="414338"/>
                        </a:moveTo>
                        <a:lnTo>
                          <a:pt x="138113" y="276225"/>
                        </a:lnTo>
                        <a:lnTo>
                          <a:pt x="538163" y="276225"/>
                        </a:lnTo>
                        <a:lnTo>
                          <a:pt x="673895" y="409575"/>
                        </a:lnTo>
                        <a:lnTo>
                          <a:pt x="821532" y="273844"/>
                        </a:lnTo>
                        <a:lnTo>
                          <a:pt x="950119" y="407194"/>
                        </a:lnTo>
                        <a:lnTo>
                          <a:pt x="1362075"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0" name="Freihandform 636"/>
                  <p:cNvSpPr/>
                  <p:nvPr/>
                </p:nvSpPr>
                <p:spPr bwMode="gray">
                  <a:xfrm>
                    <a:off x="5427516" y="3934888"/>
                    <a:ext cx="656133" cy="314030"/>
                  </a:xfrm>
                  <a:custGeom>
                    <a:avLst/>
                    <a:gdLst>
                      <a:gd name="connsiteX0" fmla="*/ 0 w 552450"/>
                      <a:gd name="connsiteY0" fmla="*/ 0 h 264319"/>
                      <a:gd name="connsiteX1" fmla="*/ 138113 w 552450"/>
                      <a:gd name="connsiteY1" fmla="*/ 135732 h 264319"/>
                      <a:gd name="connsiteX2" fmla="*/ 278607 w 552450"/>
                      <a:gd name="connsiteY2" fmla="*/ 135732 h 264319"/>
                      <a:gd name="connsiteX3" fmla="*/ 278607 w 552450"/>
                      <a:gd name="connsiteY3" fmla="*/ 264319 h 264319"/>
                      <a:gd name="connsiteX4" fmla="*/ 552450 w 552450"/>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264319">
                        <a:moveTo>
                          <a:pt x="0" y="0"/>
                        </a:moveTo>
                        <a:lnTo>
                          <a:pt x="138113" y="135732"/>
                        </a:lnTo>
                        <a:lnTo>
                          <a:pt x="278607" y="135732"/>
                        </a:lnTo>
                        <a:lnTo>
                          <a:pt x="278607" y="264319"/>
                        </a:lnTo>
                        <a:lnTo>
                          <a:pt x="552450" y="264319"/>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1" name="Freihandform 637"/>
                  <p:cNvSpPr/>
                  <p:nvPr/>
                </p:nvSpPr>
                <p:spPr bwMode="gray">
                  <a:xfrm>
                    <a:off x="5428938" y="3450412"/>
                    <a:ext cx="325239" cy="319687"/>
                  </a:xfrm>
                  <a:custGeom>
                    <a:avLst/>
                    <a:gdLst>
                      <a:gd name="connsiteX0" fmla="*/ 0 w 273844"/>
                      <a:gd name="connsiteY0" fmla="*/ 269081 h 269081"/>
                      <a:gd name="connsiteX1" fmla="*/ 142875 w 273844"/>
                      <a:gd name="connsiteY1" fmla="*/ 269081 h 269081"/>
                      <a:gd name="connsiteX2" fmla="*/ 142875 w 273844"/>
                      <a:gd name="connsiteY2" fmla="*/ 133350 h 269081"/>
                      <a:gd name="connsiteX3" fmla="*/ 273844 w 273844"/>
                      <a:gd name="connsiteY3" fmla="*/ 0 h 269081"/>
                    </a:gdLst>
                    <a:ahLst/>
                    <a:cxnLst>
                      <a:cxn ang="0">
                        <a:pos x="connsiteX0" y="connsiteY0"/>
                      </a:cxn>
                      <a:cxn ang="0">
                        <a:pos x="connsiteX1" y="connsiteY1"/>
                      </a:cxn>
                      <a:cxn ang="0">
                        <a:pos x="connsiteX2" y="connsiteY2"/>
                      </a:cxn>
                      <a:cxn ang="0">
                        <a:pos x="connsiteX3" y="connsiteY3"/>
                      </a:cxn>
                    </a:cxnLst>
                    <a:rect l="l" t="t" r="r" b="b"/>
                    <a:pathLst>
                      <a:path w="273844" h="269081">
                        <a:moveTo>
                          <a:pt x="0" y="269081"/>
                        </a:moveTo>
                        <a:lnTo>
                          <a:pt x="142875" y="269081"/>
                        </a:lnTo>
                        <a:lnTo>
                          <a:pt x="142875" y="133350"/>
                        </a:lnTo>
                        <a:lnTo>
                          <a:pt x="273844"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2" name="Freihandform 638"/>
                  <p:cNvSpPr/>
                  <p:nvPr/>
                </p:nvSpPr>
                <p:spPr bwMode="gray">
                  <a:xfrm>
                    <a:off x="5739781" y="3148273"/>
                    <a:ext cx="656133" cy="472459"/>
                  </a:xfrm>
                  <a:custGeom>
                    <a:avLst/>
                    <a:gdLst>
                      <a:gd name="connsiteX0" fmla="*/ 0 w 552450"/>
                      <a:gd name="connsiteY0" fmla="*/ 397669 h 397669"/>
                      <a:gd name="connsiteX1" fmla="*/ 290512 w 552450"/>
                      <a:gd name="connsiteY1" fmla="*/ 116681 h 397669"/>
                      <a:gd name="connsiteX2" fmla="*/ 416718 w 552450"/>
                      <a:gd name="connsiteY2" fmla="*/ 116681 h 397669"/>
                      <a:gd name="connsiteX3" fmla="*/ 552450 w 552450"/>
                      <a:gd name="connsiteY3" fmla="*/ 0 h 397669"/>
                    </a:gdLst>
                    <a:ahLst/>
                    <a:cxnLst>
                      <a:cxn ang="0">
                        <a:pos x="connsiteX0" y="connsiteY0"/>
                      </a:cxn>
                      <a:cxn ang="0">
                        <a:pos x="connsiteX1" y="connsiteY1"/>
                      </a:cxn>
                      <a:cxn ang="0">
                        <a:pos x="connsiteX2" y="connsiteY2"/>
                      </a:cxn>
                      <a:cxn ang="0">
                        <a:pos x="connsiteX3" y="connsiteY3"/>
                      </a:cxn>
                    </a:cxnLst>
                    <a:rect l="l" t="t" r="r" b="b"/>
                    <a:pathLst>
                      <a:path w="552450" h="397669">
                        <a:moveTo>
                          <a:pt x="0" y="397669"/>
                        </a:moveTo>
                        <a:lnTo>
                          <a:pt x="290512" y="116681"/>
                        </a:lnTo>
                        <a:lnTo>
                          <a:pt x="416718" y="116681"/>
                        </a:lnTo>
                        <a:lnTo>
                          <a:pt x="552450"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3" name="Freihandform 639"/>
                  <p:cNvSpPr/>
                  <p:nvPr/>
                </p:nvSpPr>
                <p:spPr bwMode="gray">
                  <a:xfrm>
                    <a:off x="6400401" y="3456069"/>
                    <a:ext cx="469475" cy="158429"/>
                  </a:xfrm>
                  <a:custGeom>
                    <a:avLst/>
                    <a:gdLst>
                      <a:gd name="connsiteX0" fmla="*/ 0 w 395288"/>
                      <a:gd name="connsiteY0" fmla="*/ 133350 h 133350"/>
                      <a:gd name="connsiteX1" fmla="*/ 135732 w 395288"/>
                      <a:gd name="connsiteY1" fmla="*/ 133350 h 133350"/>
                      <a:gd name="connsiteX2" fmla="*/ 269082 w 395288"/>
                      <a:gd name="connsiteY2" fmla="*/ 0 h 133350"/>
                      <a:gd name="connsiteX3" fmla="*/ 395288 w 395288"/>
                      <a:gd name="connsiteY3" fmla="*/ 0 h 133350"/>
                    </a:gdLst>
                    <a:ahLst/>
                    <a:cxnLst>
                      <a:cxn ang="0">
                        <a:pos x="connsiteX0" y="connsiteY0"/>
                      </a:cxn>
                      <a:cxn ang="0">
                        <a:pos x="connsiteX1" y="connsiteY1"/>
                      </a:cxn>
                      <a:cxn ang="0">
                        <a:pos x="connsiteX2" y="connsiteY2"/>
                      </a:cxn>
                      <a:cxn ang="0">
                        <a:pos x="connsiteX3" y="connsiteY3"/>
                      </a:cxn>
                    </a:cxnLst>
                    <a:rect l="l" t="t" r="r" b="b"/>
                    <a:pathLst>
                      <a:path w="395288" h="133350">
                        <a:moveTo>
                          <a:pt x="0" y="133350"/>
                        </a:moveTo>
                        <a:lnTo>
                          <a:pt x="135732" y="133350"/>
                        </a:lnTo>
                        <a:lnTo>
                          <a:pt x="269082" y="0"/>
                        </a:lnTo>
                        <a:lnTo>
                          <a:pt x="395288"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4" name="Freihandform 640"/>
                  <p:cNvSpPr/>
                  <p:nvPr/>
                </p:nvSpPr>
                <p:spPr bwMode="gray">
                  <a:xfrm>
                    <a:off x="5913959" y="3772927"/>
                    <a:ext cx="964403" cy="319689"/>
                  </a:xfrm>
                  <a:custGeom>
                    <a:avLst/>
                    <a:gdLst>
                      <a:gd name="connsiteX0" fmla="*/ 0 w 812007"/>
                      <a:gd name="connsiteY0" fmla="*/ 0 h 269082"/>
                      <a:gd name="connsiteX1" fmla="*/ 150019 w 812007"/>
                      <a:gd name="connsiteY1" fmla="*/ 0 h 269082"/>
                      <a:gd name="connsiteX2" fmla="*/ 273844 w 812007"/>
                      <a:gd name="connsiteY2" fmla="*/ 140494 h 269082"/>
                      <a:gd name="connsiteX3" fmla="*/ 411957 w 812007"/>
                      <a:gd name="connsiteY3" fmla="*/ 140494 h 269082"/>
                      <a:gd name="connsiteX4" fmla="*/ 538163 w 812007"/>
                      <a:gd name="connsiteY4" fmla="*/ 269082 h 269082"/>
                      <a:gd name="connsiteX5" fmla="*/ 812007 w 812007"/>
                      <a:gd name="connsiteY5" fmla="*/ 269082 h 2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007" h="269082">
                        <a:moveTo>
                          <a:pt x="0" y="0"/>
                        </a:moveTo>
                        <a:lnTo>
                          <a:pt x="150019" y="0"/>
                        </a:lnTo>
                        <a:lnTo>
                          <a:pt x="273844" y="140494"/>
                        </a:lnTo>
                        <a:lnTo>
                          <a:pt x="411957" y="140494"/>
                        </a:lnTo>
                        <a:lnTo>
                          <a:pt x="538163" y="269082"/>
                        </a:lnTo>
                        <a:lnTo>
                          <a:pt x="812007" y="269082"/>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5" name="Freihandform 641"/>
                  <p:cNvSpPr/>
                  <p:nvPr/>
                </p:nvSpPr>
                <p:spPr bwMode="gray">
                  <a:xfrm>
                    <a:off x="9415219" y="2972295"/>
                    <a:ext cx="1111465" cy="322516"/>
                  </a:xfrm>
                  <a:custGeom>
                    <a:avLst/>
                    <a:gdLst>
                      <a:gd name="connsiteX0" fmla="*/ 0 w 935831"/>
                      <a:gd name="connsiteY0" fmla="*/ 271462 h 271462"/>
                      <a:gd name="connsiteX1" fmla="*/ 133350 w 935831"/>
                      <a:gd name="connsiteY1" fmla="*/ 130968 h 271462"/>
                      <a:gd name="connsiteX2" fmla="*/ 411956 w 935831"/>
                      <a:gd name="connsiteY2" fmla="*/ 130968 h 271462"/>
                      <a:gd name="connsiteX3" fmla="*/ 535781 w 935831"/>
                      <a:gd name="connsiteY3" fmla="*/ 0 h 271462"/>
                      <a:gd name="connsiteX4" fmla="*/ 671512 w 935831"/>
                      <a:gd name="connsiteY4" fmla="*/ 0 h 271462"/>
                      <a:gd name="connsiteX5" fmla="*/ 807244 w 935831"/>
                      <a:gd name="connsiteY5" fmla="*/ 145256 h 271462"/>
                      <a:gd name="connsiteX6" fmla="*/ 935831 w 935831"/>
                      <a:gd name="connsiteY6" fmla="*/ 4762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831" h="271462">
                        <a:moveTo>
                          <a:pt x="0" y="271462"/>
                        </a:moveTo>
                        <a:lnTo>
                          <a:pt x="133350" y="130968"/>
                        </a:lnTo>
                        <a:lnTo>
                          <a:pt x="411956" y="130968"/>
                        </a:lnTo>
                        <a:lnTo>
                          <a:pt x="535781" y="0"/>
                        </a:lnTo>
                        <a:lnTo>
                          <a:pt x="671512" y="0"/>
                        </a:lnTo>
                        <a:lnTo>
                          <a:pt x="807244" y="145256"/>
                        </a:lnTo>
                        <a:lnTo>
                          <a:pt x="935831" y="4762"/>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6" name="Freihandform 642"/>
                  <p:cNvSpPr/>
                  <p:nvPr/>
                </p:nvSpPr>
                <p:spPr bwMode="gray">
                  <a:xfrm>
                    <a:off x="9727484" y="3288324"/>
                    <a:ext cx="486443" cy="164087"/>
                  </a:xfrm>
                  <a:custGeom>
                    <a:avLst/>
                    <a:gdLst>
                      <a:gd name="connsiteX0" fmla="*/ 0 w 409575"/>
                      <a:gd name="connsiteY0" fmla="*/ 138112 h 138112"/>
                      <a:gd name="connsiteX1" fmla="*/ 140494 w 409575"/>
                      <a:gd name="connsiteY1" fmla="*/ 0 h 138112"/>
                      <a:gd name="connsiteX2" fmla="*/ 409575 w 409575"/>
                      <a:gd name="connsiteY2" fmla="*/ 0 h 138112"/>
                    </a:gdLst>
                    <a:ahLst/>
                    <a:cxnLst>
                      <a:cxn ang="0">
                        <a:pos x="connsiteX0" y="connsiteY0"/>
                      </a:cxn>
                      <a:cxn ang="0">
                        <a:pos x="connsiteX1" y="connsiteY1"/>
                      </a:cxn>
                      <a:cxn ang="0">
                        <a:pos x="connsiteX2" y="connsiteY2"/>
                      </a:cxn>
                    </a:cxnLst>
                    <a:rect l="l" t="t" r="r" b="b"/>
                    <a:pathLst>
                      <a:path w="409575" h="138112">
                        <a:moveTo>
                          <a:pt x="0" y="138112"/>
                        </a:moveTo>
                        <a:lnTo>
                          <a:pt x="140494" y="0"/>
                        </a:lnTo>
                        <a:lnTo>
                          <a:pt x="409575"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7" name="Freihandform 643"/>
                  <p:cNvSpPr/>
                  <p:nvPr/>
                </p:nvSpPr>
                <p:spPr bwMode="gray">
                  <a:xfrm>
                    <a:off x="7982409" y="4086128"/>
                    <a:ext cx="2081524" cy="489434"/>
                  </a:xfrm>
                  <a:custGeom>
                    <a:avLst/>
                    <a:gdLst>
                      <a:gd name="connsiteX0" fmla="*/ 0 w 1752600"/>
                      <a:gd name="connsiteY0" fmla="*/ 138113 h 411957"/>
                      <a:gd name="connsiteX1" fmla="*/ 145256 w 1752600"/>
                      <a:gd name="connsiteY1" fmla="*/ 271463 h 411957"/>
                      <a:gd name="connsiteX2" fmla="*/ 400050 w 1752600"/>
                      <a:gd name="connsiteY2" fmla="*/ 0 h 411957"/>
                      <a:gd name="connsiteX3" fmla="*/ 804862 w 1752600"/>
                      <a:gd name="connsiteY3" fmla="*/ 0 h 411957"/>
                      <a:gd name="connsiteX4" fmla="*/ 938212 w 1752600"/>
                      <a:gd name="connsiteY4" fmla="*/ 140494 h 411957"/>
                      <a:gd name="connsiteX5" fmla="*/ 1202531 w 1752600"/>
                      <a:gd name="connsiteY5" fmla="*/ 140494 h 411957"/>
                      <a:gd name="connsiteX6" fmla="*/ 1335881 w 1752600"/>
                      <a:gd name="connsiteY6" fmla="*/ 273844 h 411957"/>
                      <a:gd name="connsiteX7" fmla="*/ 1469231 w 1752600"/>
                      <a:gd name="connsiteY7" fmla="*/ 130969 h 411957"/>
                      <a:gd name="connsiteX8" fmla="*/ 1752600 w 1752600"/>
                      <a:gd name="connsiteY8" fmla="*/ 411957 h 41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00" h="411957">
                        <a:moveTo>
                          <a:pt x="0" y="138113"/>
                        </a:moveTo>
                        <a:lnTo>
                          <a:pt x="145256" y="271463"/>
                        </a:lnTo>
                        <a:lnTo>
                          <a:pt x="400050" y="0"/>
                        </a:lnTo>
                        <a:lnTo>
                          <a:pt x="804862" y="0"/>
                        </a:lnTo>
                        <a:lnTo>
                          <a:pt x="938212" y="140494"/>
                        </a:lnTo>
                        <a:lnTo>
                          <a:pt x="1202531" y="140494"/>
                        </a:lnTo>
                        <a:lnTo>
                          <a:pt x="1335881" y="273844"/>
                        </a:lnTo>
                        <a:lnTo>
                          <a:pt x="1469231" y="130969"/>
                        </a:lnTo>
                        <a:lnTo>
                          <a:pt x="1752600" y="411957"/>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8" name="Freihandform 644"/>
                  <p:cNvSpPr/>
                  <p:nvPr/>
                </p:nvSpPr>
                <p:spPr bwMode="gray">
                  <a:xfrm>
                    <a:off x="9729145" y="4086957"/>
                    <a:ext cx="653303" cy="169745"/>
                  </a:xfrm>
                  <a:custGeom>
                    <a:avLst/>
                    <a:gdLst>
                      <a:gd name="connsiteX0" fmla="*/ 0 w 550068"/>
                      <a:gd name="connsiteY0" fmla="*/ 0 h 142875"/>
                      <a:gd name="connsiteX1" fmla="*/ 278606 w 550068"/>
                      <a:gd name="connsiteY1" fmla="*/ 0 h 142875"/>
                      <a:gd name="connsiteX2" fmla="*/ 402431 w 550068"/>
                      <a:gd name="connsiteY2" fmla="*/ 142875 h 142875"/>
                      <a:gd name="connsiteX3" fmla="*/ 550068 w 550068"/>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550068" h="142875">
                        <a:moveTo>
                          <a:pt x="0" y="0"/>
                        </a:moveTo>
                        <a:lnTo>
                          <a:pt x="278606" y="0"/>
                        </a:lnTo>
                        <a:lnTo>
                          <a:pt x="402431" y="142875"/>
                        </a:lnTo>
                        <a:lnTo>
                          <a:pt x="550068" y="142875"/>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49" name="Freihandform 645"/>
                  <p:cNvSpPr/>
                  <p:nvPr/>
                </p:nvSpPr>
                <p:spPr bwMode="gray">
                  <a:xfrm>
                    <a:off x="10685061" y="3142041"/>
                    <a:ext cx="967231" cy="469629"/>
                  </a:xfrm>
                  <a:custGeom>
                    <a:avLst/>
                    <a:gdLst>
                      <a:gd name="connsiteX0" fmla="*/ 0 w 814388"/>
                      <a:gd name="connsiteY0" fmla="*/ 0 h 395287"/>
                      <a:gd name="connsiteX1" fmla="*/ 135731 w 814388"/>
                      <a:gd name="connsiteY1" fmla="*/ 130968 h 395287"/>
                      <a:gd name="connsiteX2" fmla="*/ 273844 w 814388"/>
                      <a:gd name="connsiteY2" fmla="*/ 130968 h 395287"/>
                      <a:gd name="connsiteX3" fmla="*/ 538163 w 814388"/>
                      <a:gd name="connsiteY3" fmla="*/ 395287 h 395287"/>
                      <a:gd name="connsiteX4" fmla="*/ 814388 w 814388"/>
                      <a:gd name="connsiteY4" fmla="*/ 395287 h 39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388" h="395287">
                        <a:moveTo>
                          <a:pt x="0" y="0"/>
                        </a:moveTo>
                        <a:lnTo>
                          <a:pt x="135731" y="130968"/>
                        </a:lnTo>
                        <a:lnTo>
                          <a:pt x="273844" y="130968"/>
                        </a:lnTo>
                        <a:lnTo>
                          <a:pt x="538163" y="395287"/>
                        </a:lnTo>
                        <a:lnTo>
                          <a:pt x="814388" y="395287"/>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0" name="Freihandform 646"/>
                  <p:cNvSpPr/>
                  <p:nvPr/>
                </p:nvSpPr>
                <p:spPr bwMode="gray">
                  <a:xfrm>
                    <a:off x="10834953" y="3934187"/>
                    <a:ext cx="822994" cy="472458"/>
                  </a:xfrm>
                  <a:custGeom>
                    <a:avLst/>
                    <a:gdLst>
                      <a:gd name="connsiteX0" fmla="*/ 0 w 692944"/>
                      <a:gd name="connsiteY0" fmla="*/ 397668 h 397668"/>
                      <a:gd name="connsiteX1" fmla="*/ 145257 w 692944"/>
                      <a:gd name="connsiteY1" fmla="*/ 397668 h 397668"/>
                      <a:gd name="connsiteX2" fmla="*/ 542925 w 692944"/>
                      <a:gd name="connsiteY2" fmla="*/ 0 h 397668"/>
                      <a:gd name="connsiteX3" fmla="*/ 692944 w 692944"/>
                      <a:gd name="connsiteY3" fmla="*/ 0 h 397668"/>
                    </a:gdLst>
                    <a:ahLst/>
                    <a:cxnLst>
                      <a:cxn ang="0">
                        <a:pos x="connsiteX0" y="connsiteY0"/>
                      </a:cxn>
                      <a:cxn ang="0">
                        <a:pos x="connsiteX1" y="connsiteY1"/>
                      </a:cxn>
                      <a:cxn ang="0">
                        <a:pos x="connsiteX2" y="connsiteY2"/>
                      </a:cxn>
                      <a:cxn ang="0">
                        <a:pos x="connsiteX3" y="connsiteY3"/>
                      </a:cxn>
                    </a:cxnLst>
                    <a:rect l="l" t="t" r="r" b="b"/>
                    <a:pathLst>
                      <a:path w="692944" h="397668">
                        <a:moveTo>
                          <a:pt x="0" y="397668"/>
                        </a:moveTo>
                        <a:lnTo>
                          <a:pt x="145257" y="397668"/>
                        </a:lnTo>
                        <a:lnTo>
                          <a:pt x="542925" y="0"/>
                        </a:lnTo>
                        <a:lnTo>
                          <a:pt x="692944"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1" name="Freihandform 647"/>
                  <p:cNvSpPr/>
                  <p:nvPr/>
                </p:nvSpPr>
                <p:spPr bwMode="gray">
                  <a:xfrm>
                    <a:off x="10843438" y="3614498"/>
                    <a:ext cx="483615" cy="164088"/>
                  </a:xfrm>
                  <a:custGeom>
                    <a:avLst/>
                    <a:gdLst>
                      <a:gd name="connsiteX0" fmla="*/ 0 w 407194"/>
                      <a:gd name="connsiteY0" fmla="*/ 0 h 138113"/>
                      <a:gd name="connsiteX1" fmla="*/ 133350 w 407194"/>
                      <a:gd name="connsiteY1" fmla="*/ 0 h 138113"/>
                      <a:gd name="connsiteX2" fmla="*/ 271463 w 407194"/>
                      <a:gd name="connsiteY2" fmla="*/ 138113 h 138113"/>
                      <a:gd name="connsiteX3" fmla="*/ 407194 w 407194"/>
                      <a:gd name="connsiteY3" fmla="*/ 138113 h 138113"/>
                    </a:gdLst>
                    <a:ahLst/>
                    <a:cxnLst>
                      <a:cxn ang="0">
                        <a:pos x="connsiteX0" y="connsiteY0"/>
                      </a:cxn>
                      <a:cxn ang="0">
                        <a:pos x="connsiteX1" y="connsiteY1"/>
                      </a:cxn>
                      <a:cxn ang="0">
                        <a:pos x="connsiteX2" y="connsiteY2"/>
                      </a:cxn>
                      <a:cxn ang="0">
                        <a:pos x="connsiteX3" y="connsiteY3"/>
                      </a:cxn>
                    </a:cxnLst>
                    <a:rect l="l" t="t" r="r" b="b"/>
                    <a:pathLst>
                      <a:path w="407194" h="138113">
                        <a:moveTo>
                          <a:pt x="0" y="0"/>
                        </a:moveTo>
                        <a:lnTo>
                          <a:pt x="133350" y="0"/>
                        </a:lnTo>
                        <a:lnTo>
                          <a:pt x="271463" y="138113"/>
                        </a:lnTo>
                        <a:lnTo>
                          <a:pt x="407194" y="138113"/>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2" name="Freihandform 648"/>
                  <p:cNvSpPr/>
                  <p:nvPr/>
                </p:nvSpPr>
                <p:spPr bwMode="gray">
                  <a:xfrm>
                    <a:off x="11171504" y="3770097"/>
                    <a:ext cx="311098" cy="161259"/>
                  </a:xfrm>
                  <a:custGeom>
                    <a:avLst/>
                    <a:gdLst>
                      <a:gd name="connsiteX0" fmla="*/ 0 w 261938"/>
                      <a:gd name="connsiteY0" fmla="*/ 135732 h 135732"/>
                      <a:gd name="connsiteX1" fmla="*/ 126206 w 261938"/>
                      <a:gd name="connsiteY1" fmla="*/ 135732 h 135732"/>
                      <a:gd name="connsiteX2" fmla="*/ 261938 w 261938"/>
                      <a:gd name="connsiteY2" fmla="*/ 0 h 135732"/>
                    </a:gdLst>
                    <a:ahLst/>
                    <a:cxnLst>
                      <a:cxn ang="0">
                        <a:pos x="connsiteX0" y="connsiteY0"/>
                      </a:cxn>
                      <a:cxn ang="0">
                        <a:pos x="connsiteX1" y="connsiteY1"/>
                      </a:cxn>
                      <a:cxn ang="0">
                        <a:pos x="connsiteX2" y="connsiteY2"/>
                      </a:cxn>
                    </a:cxnLst>
                    <a:rect l="l" t="t" r="r" b="b"/>
                    <a:pathLst>
                      <a:path w="261938" h="135732">
                        <a:moveTo>
                          <a:pt x="0" y="135732"/>
                        </a:moveTo>
                        <a:lnTo>
                          <a:pt x="126206" y="135732"/>
                        </a:lnTo>
                        <a:lnTo>
                          <a:pt x="261938" y="0"/>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53" name="Freihandform 649"/>
                  <p:cNvSpPr/>
                  <p:nvPr/>
                </p:nvSpPr>
                <p:spPr bwMode="gray">
                  <a:xfrm>
                    <a:off x="7027311" y="3611670"/>
                    <a:ext cx="478901" cy="147113"/>
                  </a:xfrm>
                  <a:custGeom>
                    <a:avLst/>
                    <a:gdLst>
                      <a:gd name="connsiteX0" fmla="*/ 0 w 403225"/>
                      <a:gd name="connsiteY0" fmla="*/ 0 h 123825"/>
                      <a:gd name="connsiteX1" fmla="*/ 279400 w 403225"/>
                      <a:gd name="connsiteY1" fmla="*/ 0 h 123825"/>
                      <a:gd name="connsiteX2" fmla="*/ 403225 w 403225"/>
                      <a:gd name="connsiteY2" fmla="*/ 123825 h 123825"/>
                    </a:gdLst>
                    <a:ahLst/>
                    <a:cxnLst>
                      <a:cxn ang="0">
                        <a:pos x="connsiteX0" y="connsiteY0"/>
                      </a:cxn>
                      <a:cxn ang="0">
                        <a:pos x="connsiteX1" y="connsiteY1"/>
                      </a:cxn>
                      <a:cxn ang="0">
                        <a:pos x="connsiteX2" y="connsiteY2"/>
                      </a:cxn>
                    </a:cxnLst>
                    <a:rect l="l" t="t" r="r" b="b"/>
                    <a:pathLst>
                      <a:path w="403225" h="123825">
                        <a:moveTo>
                          <a:pt x="0" y="0"/>
                        </a:moveTo>
                        <a:lnTo>
                          <a:pt x="279400" y="0"/>
                        </a:lnTo>
                        <a:lnTo>
                          <a:pt x="403225" y="123825"/>
                        </a:lnTo>
                      </a:path>
                    </a:pathLst>
                  </a:custGeom>
                  <a:noFill/>
                  <a:ln w="12700">
                    <a:solidFill>
                      <a:srgbClr val="50BED7"/>
                    </a:solid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grpSp>
            <p:sp>
              <p:nvSpPr>
                <p:cNvPr id="389" name="Ellipse 385"/>
                <p:cNvSpPr/>
                <p:nvPr/>
              </p:nvSpPr>
              <p:spPr bwMode="gray">
                <a:xfrm flipV="1">
                  <a:off x="7168935"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0" name="Ellipse 386"/>
                <p:cNvSpPr/>
                <p:nvPr/>
              </p:nvSpPr>
              <p:spPr bwMode="gray">
                <a:xfrm flipV="1">
                  <a:off x="7008659" y="4542262"/>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1" name="Ellipse 387"/>
                <p:cNvSpPr/>
                <p:nvPr/>
              </p:nvSpPr>
              <p:spPr bwMode="gray">
                <a:xfrm flipV="1">
                  <a:off x="6212416" y="4542262"/>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2" name="Ellipse 388"/>
                <p:cNvSpPr/>
                <p:nvPr/>
              </p:nvSpPr>
              <p:spPr bwMode="gray">
                <a:xfrm flipV="1">
                  <a:off x="6060007"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3" name="Ellipse 389"/>
                <p:cNvSpPr/>
                <p:nvPr/>
              </p:nvSpPr>
              <p:spPr bwMode="gray">
                <a:xfrm flipV="1">
                  <a:off x="9869536" y="4542262"/>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4" name="Ellipse 390"/>
                <p:cNvSpPr/>
                <p:nvPr/>
              </p:nvSpPr>
              <p:spPr bwMode="gray">
                <a:xfrm flipV="1">
                  <a:off x="10506048"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5" name="Ellipse 391"/>
                <p:cNvSpPr/>
                <p:nvPr/>
              </p:nvSpPr>
              <p:spPr bwMode="gray">
                <a:xfrm flipV="1">
                  <a:off x="10506048"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6" name="Ellipse 392"/>
                <p:cNvSpPr/>
                <p:nvPr/>
              </p:nvSpPr>
              <p:spPr bwMode="gray">
                <a:xfrm flipV="1">
                  <a:off x="10506048"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7" name="Ellipse 393"/>
                <p:cNvSpPr/>
                <p:nvPr/>
              </p:nvSpPr>
              <p:spPr bwMode="gray">
                <a:xfrm flipV="1">
                  <a:off x="1050604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8" name="Ellipse 394"/>
                <p:cNvSpPr/>
                <p:nvPr/>
              </p:nvSpPr>
              <p:spPr bwMode="gray">
                <a:xfrm flipV="1">
                  <a:off x="10664375"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399" name="Ellipse 395"/>
                <p:cNvSpPr/>
                <p:nvPr/>
              </p:nvSpPr>
              <p:spPr bwMode="gray">
                <a:xfrm flipV="1">
                  <a:off x="10819865"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0" name="Ellipse 396"/>
                <p:cNvSpPr/>
                <p:nvPr/>
              </p:nvSpPr>
              <p:spPr bwMode="gray">
                <a:xfrm flipV="1">
                  <a:off x="10664375"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1" name="Ellipse 397"/>
                <p:cNvSpPr/>
                <p:nvPr/>
              </p:nvSpPr>
              <p:spPr bwMode="gray">
                <a:xfrm flipV="1">
                  <a:off x="10819865"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2" name="Ellipse 398"/>
                <p:cNvSpPr/>
                <p:nvPr/>
              </p:nvSpPr>
              <p:spPr bwMode="gray">
                <a:xfrm flipV="1">
                  <a:off x="10819865"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3" name="Ellipse 399"/>
                <p:cNvSpPr/>
                <p:nvPr/>
              </p:nvSpPr>
              <p:spPr bwMode="gray">
                <a:xfrm flipV="1">
                  <a:off x="10348724"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4" name="Ellipse 400"/>
                <p:cNvSpPr/>
                <p:nvPr/>
              </p:nvSpPr>
              <p:spPr bwMode="gray">
                <a:xfrm flipV="1">
                  <a:off x="10348724"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5" name="Ellipse 401"/>
                <p:cNvSpPr/>
                <p:nvPr/>
              </p:nvSpPr>
              <p:spPr bwMode="gray">
                <a:xfrm flipV="1">
                  <a:off x="10348724"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6" name="Ellipse 402"/>
                <p:cNvSpPr/>
                <p:nvPr/>
              </p:nvSpPr>
              <p:spPr bwMode="gray">
                <a:xfrm flipV="1">
                  <a:off x="11297443"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7" name="Ellipse 403"/>
                <p:cNvSpPr/>
                <p:nvPr/>
              </p:nvSpPr>
              <p:spPr bwMode="gray">
                <a:xfrm flipV="1">
                  <a:off x="11297443"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8" name="Ellipse 404"/>
                <p:cNvSpPr/>
                <p:nvPr/>
              </p:nvSpPr>
              <p:spPr bwMode="gray">
                <a:xfrm flipV="1">
                  <a:off x="11145346"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09" name="Ellipse 405"/>
                <p:cNvSpPr/>
                <p:nvPr/>
              </p:nvSpPr>
              <p:spPr bwMode="gray">
                <a:xfrm flipV="1">
                  <a:off x="11297443"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0" name="Ellipse 406"/>
                <p:cNvSpPr/>
                <p:nvPr/>
              </p:nvSpPr>
              <p:spPr bwMode="gray">
                <a:xfrm flipV="1">
                  <a:off x="11297443"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1" name="Ellipse 407"/>
                <p:cNvSpPr/>
                <p:nvPr/>
              </p:nvSpPr>
              <p:spPr bwMode="gray">
                <a:xfrm flipV="1">
                  <a:off x="11297443"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2" name="Ellipse 408"/>
                <p:cNvSpPr/>
                <p:nvPr/>
              </p:nvSpPr>
              <p:spPr bwMode="gray">
                <a:xfrm flipV="1">
                  <a:off x="10033949"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3" name="Ellipse 409"/>
                <p:cNvSpPr/>
                <p:nvPr/>
              </p:nvSpPr>
              <p:spPr bwMode="gray">
                <a:xfrm flipV="1">
                  <a:off x="9869536"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4" name="Ellipse 410"/>
                <p:cNvSpPr/>
                <p:nvPr/>
              </p:nvSpPr>
              <p:spPr bwMode="gray">
                <a:xfrm flipV="1">
                  <a:off x="9710290"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5" name="Ellipse 411"/>
                <p:cNvSpPr/>
                <p:nvPr/>
              </p:nvSpPr>
              <p:spPr bwMode="gray">
                <a:xfrm flipV="1">
                  <a:off x="11145346"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6" name="Ellipse 412"/>
                <p:cNvSpPr/>
                <p:nvPr/>
              </p:nvSpPr>
              <p:spPr bwMode="gray">
                <a:xfrm flipV="1">
                  <a:off x="11145346"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7" name="Ellipse 413"/>
                <p:cNvSpPr/>
                <p:nvPr/>
              </p:nvSpPr>
              <p:spPr bwMode="gray">
                <a:xfrm flipV="1">
                  <a:off x="10819865"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8" name="Ellipse 414"/>
                <p:cNvSpPr/>
                <p:nvPr/>
              </p:nvSpPr>
              <p:spPr bwMode="gray">
                <a:xfrm flipV="1">
                  <a:off x="10983149"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19" name="Ellipse 415"/>
                <p:cNvSpPr/>
                <p:nvPr/>
              </p:nvSpPr>
              <p:spPr bwMode="gray">
                <a:xfrm flipV="1">
                  <a:off x="10983149"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0" name="Ellipse 416"/>
                <p:cNvSpPr/>
                <p:nvPr/>
              </p:nvSpPr>
              <p:spPr bwMode="gray">
                <a:xfrm flipV="1">
                  <a:off x="10983149"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1" name="Ellipse 417"/>
                <p:cNvSpPr/>
                <p:nvPr/>
              </p:nvSpPr>
              <p:spPr bwMode="gray">
                <a:xfrm flipV="1">
                  <a:off x="9869536"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2" name="Ellipse 418"/>
                <p:cNvSpPr/>
                <p:nvPr/>
              </p:nvSpPr>
              <p:spPr bwMode="gray">
                <a:xfrm flipV="1">
                  <a:off x="10033949"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3" name="Ellipse 419"/>
                <p:cNvSpPr/>
                <p:nvPr/>
              </p:nvSpPr>
              <p:spPr bwMode="gray">
                <a:xfrm flipV="1">
                  <a:off x="10183269"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4" name="Ellipse 420"/>
                <p:cNvSpPr/>
                <p:nvPr/>
              </p:nvSpPr>
              <p:spPr bwMode="gray">
                <a:xfrm flipV="1">
                  <a:off x="1018326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5" name="Ellipse 421"/>
                <p:cNvSpPr/>
                <p:nvPr/>
              </p:nvSpPr>
              <p:spPr bwMode="gray">
                <a:xfrm flipV="1">
                  <a:off x="10183269"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6" name="Ellipse 422"/>
                <p:cNvSpPr/>
                <p:nvPr/>
              </p:nvSpPr>
              <p:spPr bwMode="gray">
                <a:xfrm flipV="1">
                  <a:off x="10183269" y="406825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7" name="Ellipse 423"/>
                <p:cNvSpPr/>
                <p:nvPr/>
              </p:nvSpPr>
              <p:spPr bwMode="gray">
                <a:xfrm flipV="1">
                  <a:off x="9869536"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8" name="Ellipse 424"/>
                <p:cNvSpPr/>
                <p:nvPr/>
              </p:nvSpPr>
              <p:spPr bwMode="gray">
                <a:xfrm flipV="1">
                  <a:off x="9869536"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29" name="Ellipse 425"/>
                <p:cNvSpPr/>
                <p:nvPr/>
              </p:nvSpPr>
              <p:spPr bwMode="gray">
                <a:xfrm flipV="1">
                  <a:off x="9869536"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0" name="Ellipse 426"/>
                <p:cNvSpPr/>
                <p:nvPr/>
              </p:nvSpPr>
              <p:spPr bwMode="gray">
                <a:xfrm flipV="1">
                  <a:off x="9869536"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1" name="Ellipse 427"/>
                <p:cNvSpPr/>
                <p:nvPr/>
              </p:nvSpPr>
              <p:spPr bwMode="gray">
                <a:xfrm flipV="1">
                  <a:off x="9710290"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2" name="Ellipse 428"/>
                <p:cNvSpPr/>
                <p:nvPr/>
              </p:nvSpPr>
              <p:spPr bwMode="gray">
                <a:xfrm flipV="1">
                  <a:off x="9710290"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3" name="Ellipse 429"/>
                <p:cNvSpPr/>
                <p:nvPr/>
              </p:nvSpPr>
              <p:spPr bwMode="gray">
                <a:xfrm flipV="1">
                  <a:off x="9388437"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4" name="Ellipse 430"/>
                <p:cNvSpPr/>
                <p:nvPr/>
              </p:nvSpPr>
              <p:spPr bwMode="gray">
                <a:xfrm flipV="1">
                  <a:off x="9388437"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5" name="Ellipse 431"/>
                <p:cNvSpPr/>
                <p:nvPr/>
              </p:nvSpPr>
              <p:spPr bwMode="gray">
                <a:xfrm flipV="1">
                  <a:off x="9388437"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6" name="Ellipse 432"/>
                <p:cNvSpPr/>
                <p:nvPr/>
              </p:nvSpPr>
              <p:spPr bwMode="gray">
                <a:xfrm flipV="1">
                  <a:off x="9388437"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7" name="Ellipse 433"/>
                <p:cNvSpPr/>
                <p:nvPr/>
              </p:nvSpPr>
              <p:spPr bwMode="gray">
                <a:xfrm flipV="1">
                  <a:off x="9388437" y="326883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8" name="Ellipse 434"/>
                <p:cNvSpPr/>
                <p:nvPr/>
              </p:nvSpPr>
              <p:spPr bwMode="gray">
                <a:xfrm flipV="1">
                  <a:off x="9388437"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39" name="Ellipse 435"/>
                <p:cNvSpPr/>
                <p:nvPr/>
              </p:nvSpPr>
              <p:spPr bwMode="gray">
                <a:xfrm flipV="1">
                  <a:off x="9550513"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0" name="Ellipse 436"/>
                <p:cNvSpPr/>
                <p:nvPr/>
              </p:nvSpPr>
              <p:spPr bwMode="gray">
                <a:xfrm flipV="1">
                  <a:off x="9388437"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1" name="Ellipse 437"/>
                <p:cNvSpPr/>
                <p:nvPr/>
              </p:nvSpPr>
              <p:spPr bwMode="gray">
                <a:xfrm flipV="1">
                  <a:off x="923288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2" name="Ellipse 438"/>
                <p:cNvSpPr/>
                <p:nvPr/>
              </p:nvSpPr>
              <p:spPr bwMode="gray">
                <a:xfrm flipV="1">
                  <a:off x="9232888"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3" name="Ellipse 439"/>
                <p:cNvSpPr/>
                <p:nvPr/>
              </p:nvSpPr>
              <p:spPr bwMode="gray">
                <a:xfrm flipV="1">
                  <a:off x="9071683"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4" name="Ellipse 440"/>
                <p:cNvSpPr/>
                <p:nvPr/>
              </p:nvSpPr>
              <p:spPr bwMode="gray">
                <a:xfrm flipV="1">
                  <a:off x="9071683"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5" name="Ellipse 441"/>
                <p:cNvSpPr/>
                <p:nvPr/>
              </p:nvSpPr>
              <p:spPr bwMode="gray">
                <a:xfrm flipV="1">
                  <a:off x="9071683"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6" name="Ellipse 442"/>
                <p:cNvSpPr/>
                <p:nvPr/>
              </p:nvSpPr>
              <p:spPr bwMode="gray">
                <a:xfrm flipV="1">
                  <a:off x="9071683"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7" name="Ellipse 443"/>
                <p:cNvSpPr/>
                <p:nvPr/>
              </p:nvSpPr>
              <p:spPr bwMode="gray">
                <a:xfrm flipV="1">
                  <a:off x="8916090"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8" name="Ellipse 444"/>
                <p:cNvSpPr/>
                <p:nvPr/>
              </p:nvSpPr>
              <p:spPr bwMode="gray">
                <a:xfrm flipV="1">
                  <a:off x="8750809"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49" name="Ellipse 445"/>
                <p:cNvSpPr/>
                <p:nvPr/>
              </p:nvSpPr>
              <p:spPr bwMode="gray">
                <a:xfrm flipV="1">
                  <a:off x="8440732"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0" name="Ellipse 446"/>
                <p:cNvSpPr/>
                <p:nvPr/>
              </p:nvSpPr>
              <p:spPr bwMode="gray">
                <a:xfrm flipV="1">
                  <a:off x="8278932"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1" name="Ellipse 447"/>
                <p:cNvSpPr/>
                <p:nvPr/>
              </p:nvSpPr>
              <p:spPr bwMode="gray">
                <a:xfrm flipV="1">
                  <a:off x="8128417"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2" name="Ellipse 448"/>
                <p:cNvSpPr/>
                <p:nvPr/>
              </p:nvSpPr>
              <p:spPr bwMode="gray">
                <a:xfrm flipV="1">
                  <a:off x="7803804"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3" name="Ellipse 449"/>
                <p:cNvSpPr/>
                <p:nvPr/>
              </p:nvSpPr>
              <p:spPr bwMode="gray">
                <a:xfrm flipV="1">
                  <a:off x="7803804"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4" name="Ellipse 450"/>
                <p:cNvSpPr/>
                <p:nvPr/>
              </p:nvSpPr>
              <p:spPr bwMode="gray">
                <a:xfrm flipV="1">
                  <a:off x="7803804"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5" name="Ellipse 451"/>
                <p:cNvSpPr/>
                <p:nvPr/>
              </p:nvSpPr>
              <p:spPr bwMode="gray">
                <a:xfrm flipV="1">
                  <a:off x="7641618"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6" name="Ellipse 452"/>
                <p:cNvSpPr/>
                <p:nvPr/>
              </p:nvSpPr>
              <p:spPr bwMode="gray">
                <a:xfrm flipV="1">
                  <a:off x="7641618"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7" name="Ellipse 453"/>
                <p:cNvSpPr/>
                <p:nvPr/>
              </p:nvSpPr>
              <p:spPr bwMode="gray">
                <a:xfrm flipV="1">
                  <a:off x="7488886"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8" name="Ellipse 454"/>
                <p:cNvSpPr/>
                <p:nvPr/>
              </p:nvSpPr>
              <p:spPr bwMode="gray">
                <a:xfrm flipV="1">
                  <a:off x="7488886"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59" name="Ellipse 455"/>
                <p:cNvSpPr/>
                <p:nvPr/>
              </p:nvSpPr>
              <p:spPr bwMode="gray">
                <a:xfrm flipV="1">
                  <a:off x="7488886"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0" name="Ellipse 456"/>
                <p:cNvSpPr/>
                <p:nvPr/>
              </p:nvSpPr>
              <p:spPr bwMode="gray">
                <a:xfrm flipV="1">
                  <a:off x="7488886"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1" name="Ellipse 457"/>
                <p:cNvSpPr/>
                <p:nvPr/>
              </p:nvSpPr>
              <p:spPr bwMode="gray">
                <a:xfrm flipV="1">
                  <a:off x="7330509"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2" name="Ellipse 458"/>
                <p:cNvSpPr/>
                <p:nvPr/>
              </p:nvSpPr>
              <p:spPr bwMode="gray">
                <a:xfrm flipV="1">
                  <a:off x="7168935"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3" name="Ellipse 459"/>
                <p:cNvSpPr/>
                <p:nvPr/>
              </p:nvSpPr>
              <p:spPr bwMode="gray">
                <a:xfrm flipV="1">
                  <a:off x="7168935"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4" name="Ellipse 460"/>
                <p:cNvSpPr/>
                <p:nvPr/>
              </p:nvSpPr>
              <p:spPr bwMode="gray">
                <a:xfrm flipV="1">
                  <a:off x="7168935"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5" name="Ellipse 461"/>
                <p:cNvSpPr/>
                <p:nvPr/>
              </p:nvSpPr>
              <p:spPr bwMode="gray">
                <a:xfrm flipV="1">
                  <a:off x="7168935"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6" name="Ellipse 462"/>
                <p:cNvSpPr/>
                <p:nvPr/>
              </p:nvSpPr>
              <p:spPr bwMode="gray">
                <a:xfrm flipV="1">
                  <a:off x="7168935"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7" name="Ellipse 463"/>
                <p:cNvSpPr/>
                <p:nvPr/>
              </p:nvSpPr>
              <p:spPr bwMode="gray">
                <a:xfrm flipV="1">
                  <a:off x="7168935"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8" name="Ellipse 464"/>
                <p:cNvSpPr/>
                <p:nvPr/>
              </p:nvSpPr>
              <p:spPr bwMode="gray">
                <a:xfrm flipV="1">
                  <a:off x="7008659"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69" name="Ellipse 465"/>
                <p:cNvSpPr/>
                <p:nvPr/>
              </p:nvSpPr>
              <p:spPr bwMode="gray">
                <a:xfrm flipV="1">
                  <a:off x="700865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0" name="Ellipse 466"/>
                <p:cNvSpPr/>
                <p:nvPr/>
              </p:nvSpPr>
              <p:spPr bwMode="gray">
                <a:xfrm flipV="1">
                  <a:off x="6851912"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1" name="Ellipse 467"/>
                <p:cNvSpPr/>
                <p:nvPr/>
              </p:nvSpPr>
              <p:spPr bwMode="gray">
                <a:xfrm flipV="1">
                  <a:off x="6851912" y="2894386"/>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2" name="Ellipse 468"/>
                <p:cNvSpPr/>
                <p:nvPr/>
              </p:nvSpPr>
              <p:spPr bwMode="gray">
                <a:xfrm flipV="1">
                  <a:off x="6851912" y="438557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3" name="Ellipse 469"/>
                <p:cNvSpPr/>
                <p:nvPr/>
              </p:nvSpPr>
              <p:spPr bwMode="gray">
                <a:xfrm flipV="1">
                  <a:off x="6532971"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4" name="Ellipse 470"/>
                <p:cNvSpPr/>
                <p:nvPr/>
              </p:nvSpPr>
              <p:spPr bwMode="gray">
                <a:xfrm flipV="1">
                  <a:off x="6691601"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5" name="Ellipse 471"/>
                <p:cNvSpPr/>
                <p:nvPr/>
              </p:nvSpPr>
              <p:spPr bwMode="gray">
                <a:xfrm flipV="1">
                  <a:off x="6691601" y="3749327"/>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6" name="Ellipse 472"/>
                <p:cNvSpPr/>
                <p:nvPr/>
              </p:nvSpPr>
              <p:spPr bwMode="gray">
                <a:xfrm flipV="1">
                  <a:off x="6380853"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7" name="Ellipse 473"/>
                <p:cNvSpPr/>
                <p:nvPr/>
              </p:nvSpPr>
              <p:spPr bwMode="gray">
                <a:xfrm flipV="1">
                  <a:off x="6380853"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8" name="Ellipse 474"/>
                <p:cNvSpPr/>
                <p:nvPr/>
              </p:nvSpPr>
              <p:spPr bwMode="gray">
                <a:xfrm flipV="1">
                  <a:off x="6380853"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79" name="Ellipse 475"/>
                <p:cNvSpPr/>
                <p:nvPr/>
              </p:nvSpPr>
              <p:spPr bwMode="gray">
                <a:xfrm flipV="1">
                  <a:off x="6212416"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0" name="Ellipse 476"/>
                <p:cNvSpPr/>
                <p:nvPr/>
              </p:nvSpPr>
              <p:spPr bwMode="gray">
                <a:xfrm flipV="1">
                  <a:off x="6212416" y="422652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1" name="Ellipse 477"/>
                <p:cNvSpPr/>
                <p:nvPr/>
              </p:nvSpPr>
              <p:spPr bwMode="gray">
                <a:xfrm flipV="1">
                  <a:off x="6060007"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2" name="Ellipse 478"/>
                <p:cNvSpPr/>
                <p:nvPr/>
              </p:nvSpPr>
              <p:spPr bwMode="gray">
                <a:xfrm flipV="1">
                  <a:off x="6060007" y="359144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3" name="Ellipse 479"/>
                <p:cNvSpPr/>
                <p:nvPr/>
              </p:nvSpPr>
              <p:spPr bwMode="gray">
                <a:xfrm flipV="1">
                  <a:off x="6060007"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4" name="Ellipse 480"/>
                <p:cNvSpPr/>
                <p:nvPr/>
              </p:nvSpPr>
              <p:spPr bwMode="gray">
                <a:xfrm flipV="1">
                  <a:off x="6060007" y="3110814"/>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5" name="Ellipse 481"/>
                <p:cNvSpPr/>
                <p:nvPr/>
              </p:nvSpPr>
              <p:spPr bwMode="gray">
                <a:xfrm flipV="1">
                  <a:off x="5895662" y="438557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6" name="Ellipse 482"/>
                <p:cNvSpPr/>
                <p:nvPr/>
              </p:nvSpPr>
              <p:spPr bwMode="gray">
                <a:xfrm flipV="1">
                  <a:off x="5895662"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7" name="Ellipse 483"/>
                <p:cNvSpPr/>
                <p:nvPr/>
              </p:nvSpPr>
              <p:spPr bwMode="gray">
                <a:xfrm flipV="1">
                  <a:off x="5895662"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8" name="Ellipse 484"/>
                <p:cNvSpPr/>
                <p:nvPr/>
              </p:nvSpPr>
              <p:spPr bwMode="gray">
                <a:xfrm flipV="1">
                  <a:off x="5895662"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489" name="Ellipse 485"/>
                <p:cNvSpPr/>
                <p:nvPr/>
              </p:nvSpPr>
              <p:spPr bwMode="gray">
                <a:xfrm flipV="1">
                  <a:off x="5734457" y="422652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0" name="Ellipse 486"/>
                <p:cNvSpPr/>
                <p:nvPr/>
              </p:nvSpPr>
              <p:spPr bwMode="gray">
                <a:xfrm flipV="1">
                  <a:off x="5734457" y="343083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1" name="Ellipse 487"/>
                <p:cNvSpPr/>
                <p:nvPr/>
              </p:nvSpPr>
              <p:spPr bwMode="gray">
                <a:xfrm flipV="1">
                  <a:off x="5734457" y="326883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2" name="Ellipse 488"/>
                <p:cNvSpPr/>
                <p:nvPr/>
              </p:nvSpPr>
              <p:spPr bwMode="gray">
                <a:xfrm flipV="1">
                  <a:off x="5573252" y="359144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3" name="Ellipse 489"/>
                <p:cNvSpPr/>
                <p:nvPr/>
              </p:nvSpPr>
              <p:spPr bwMode="gray">
                <a:xfrm flipV="1">
                  <a:off x="5573252"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4" name="Ellipse 490"/>
                <p:cNvSpPr/>
                <p:nvPr/>
              </p:nvSpPr>
              <p:spPr bwMode="gray">
                <a:xfrm flipV="1">
                  <a:off x="5573252" y="3909499"/>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5" name="Ellipse 491"/>
                <p:cNvSpPr/>
                <p:nvPr/>
              </p:nvSpPr>
              <p:spPr bwMode="gray">
                <a:xfrm flipV="1">
                  <a:off x="5573252" y="406825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6" name="Ellipse 492"/>
                <p:cNvSpPr/>
                <p:nvPr/>
              </p:nvSpPr>
              <p:spPr bwMode="gray">
                <a:xfrm flipV="1">
                  <a:off x="5414379" y="3749327"/>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7" name="Ellipse 493"/>
                <p:cNvSpPr/>
                <p:nvPr/>
              </p:nvSpPr>
              <p:spPr bwMode="gray">
                <a:xfrm flipV="1">
                  <a:off x="5414379"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8" name="Ellipse 494"/>
                <p:cNvSpPr/>
                <p:nvPr/>
              </p:nvSpPr>
              <p:spPr bwMode="gray">
                <a:xfrm flipV="1">
                  <a:off x="5414379" y="3430830"/>
                  <a:ext cx="42757" cy="42771"/>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499" name="Ellipse 495"/>
                <p:cNvSpPr/>
                <p:nvPr/>
              </p:nvSpPr>
              <p:spPr bwMode="gray">
                <a:xfrm flipV="1">
                  <a:off x="10972460"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0" name="Ellipse 496"/>
                <p:cNvSpPr/>
                <p:nvPr/>
              </p:nvSpPr>
              <p:spPr bwMode="gray">
                <a:xfrm flipV="1">
                  <a:off x="1097246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1" name="Ellipse 497"/>
                <p:cNvSpPr/>
                <p:nvPr/>
              </p:nvSpPr>
              <p:spPr bwMode="gray">
                <a:xfrm flipV="1">
                  <a:off x="10972460"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2" name="Ellipse 498"/>
                <p:cNvSpPr/>
                <p:nvPr/>
              </p:nvSpPr>
              <p:spPr bwMode="gray">
                <a:xfrm flipV="1">
                  <a:off x="10972460"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3" name="Ellipse 499"/>
                <p:cNvSpPr/>
                <p:nvPr/>
              </p:nvSpPr>
              <p:spPr bwMode="gray">
                <a:xfrm flipV="1">
                  <a:off x="1097246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4" name="Ellipse 500"/>
                <p:cNvSpPr/>
                <p:nvPr/>
              </p:nvSpPr>
              <p:spPr bwMode="gray">
                <a:xfrm flipV="1">
                  <a:off x="10972460"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5" name="Ellipse 501"/>
                <p:cNvSpPr/>
                <p:nvPr/>
              </p:nvSpPr>
              <p:spPr bwMode="gray">
                <a:xfrm flipV="1">
                  <a:off x="10809176"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6" name="Ellipse 502"/>
                <p:cNvSpPr/>
                <p:nvPr/>
              </p:nvSpPr>
              <p:spPr bwMode="gray">
                <a:xfrm flipV="1">
                  <a:off x="10653686"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7" name="Ellipse 503"/>
                <p:cNvSpPr/>
                <p:nvPr/>
              </p:nvSpPr>
              <p:spPr bwMode="gray">
                <a:xfrm flipV="1">
                  <a:off x="1049535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8" name="Ellipse 504"/>
                <p:cNvSpPr/>
                <p:nvPr/>
              </p:nvSpPr>
              <p:spPr bwMode="gray">
                <a:xfrm flipV="1">
                  <a:off x="10664375"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09" name="Ellipse 505"/>
                <p:cNvSpPr/>
                <p:nvPr/>
              </p:nvSpPr>
              <p:spPr bwMode="gray">
                <a:xfrm flipV="1">
                  <a:off x="10338035"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0" name="Ellipse 506"/>
                <p:cNvSpPr/>
                <p:nvPr/>
              </p:nvSpPr>
              <p:spPr bwMode="gray">
                <a:xfrm flipV="1">
                  <a:off x="10338035"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1" name="Ellipse 507"/>
                <p:cNvSpPr/>
                <p:nvPr/>
              </p:nvSpPr>
              <p:spPr bwMode="gray">
                <a:xfrm flipV="1">
                  <a:off x="10338035"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2" name="Ellipse 508"/>
                <p:cNvSpPr/>
                <p:nvPr/>
              </p:nvSpPr>
              <p:spPr bwMode="gray">
                <a:xfrm flipV="1">
                  <a:off x="10495359"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3" name="Ellipse 509"/>
                <p:cNvSpPr/>
                <p:nvPr/>
              </p:nvSpPr>
              <p:spPr bwMode="gray">
                <a:xfrm flipV="1">
                  <a:off x="10653686"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4" name="Ellipse 510"/>
                <p:cNvSpPr/>
                <p:nvPr/>
              </p:nvSpPr>
              <p:spPr bwMode="gray">
                <a:xfrm flipV="1">
                  <a:off x="10809176"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5" name="Ellipse 511"/>
                <p:cNvSpPr/>
                <p:nvPr/>
              </p:nvSpPr>
              <p:spPr bwMode="gray">
                <a:xfrm flipV="1">
                  <a:off x="1080917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6" name="Ellipse 512"/>
                <p:cNvSpPr/>
                <p:nvPr/>
              </p:nvSpPr>
              <p:spPr bwMode="gray">
                <a:xfrm flipV="1">
                  <a:off x="10809176"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7" name="Ellipse 513"/>
                <p:cNvSpPr/>
                <p:nvPr/>
              </p:nvSpPr>
              <p:spPr bwMode="gray">
                <a:xfrm flipV="1">
                  <a:off x="11134657"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8" name="Ellipse 514"/>
                <p:cNvSpPr/>
                <p:nvPr/>
              </p:nvSpPr>
              <p:spPr bwMode="gray">
                <a:xfrm flipV="1">
                  <a:off x="1113465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19" name="Ellipse 515"/>
                <p:cNvSpPr/>
                <p:nvPr/>
              </p:nvSpPr>
              <p:spPr bwMode="gray">
                <a:xfrm flipV="1">
                  <a:off x="11286753"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0" name="Ellipse 516"/>
                <p:cNvSpPr/>
                <p:nvPr/>
              </p:nvSpPr>
              <p:spPr bwMode="gray">
                <a:xfrm flipV="1">
                  <a:off x="11447958" y="3738635"/>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1" name="Ellipse 517"/>
                <p:cNvSpPr/>
                <p:nvPr/>
              </p:nvSpPr>
              <p:spPr bwMode="gray">
                <a:xfrm flipV="1">
                  <a:off x="11458647" y="3909499"/>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2" name="Ellipse 518"/>
                <p:cNvSpPr/>
                <p:nvPr/>
              </p:nvSpPr>
              <p:spPr bwMode="gray">
                <a:xfrm flipV="1">
                  <a:off x="11134657"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3" name="Ellipse 519"/>
                <p:cNvSpPr/>
                <p:nvPr/>
              </p:nvSpPr>
              <p:spPr bwMode="gray">
                <a:xfrm flipV="1">
                  <a:off x="10653686"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4" name="Ellipse 520"/>
                <p:cNvSpPr/>
                <p:nvPr/>
              </p:nvSpPr>
              <p:spPr bwMode="gray">
                <a:xfrm flipV="1">
                  <a:off x="1065368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5" name="Ellipse 521"/>
                <p:cNvSpPr/>
                <p:nvPr/>
              </p:nvSpPr>
              <p:spPr bwMode="gray">
                <a:xfrm flipV="1">
                  <a:off x="10338035"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6" name="Ellipse 522"/>
                <p:cNvSpPr/>
                <p:nvPr/>
              </p:nvSpPr>
              <p:spPr bwMode="gray">
                <a:xfrm flipV="1">
                  <a:off x="10495359"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7" name="Ellipse 523"/>
                <p:cNvSpPr/>
                <p:nvPr/>
              </p:nvSpPr>
              <p:spPr bwMode="gray">
                <a:xfrm flipV="1">
                  <a:off x="10495359"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8" name="Ellipse 524"/>
                <p:cNvSpPr/>
                <p:nvPr/>
              </p:nvSpPr>
              <p:spPr bwMode="gray">
                <a:xfrm flipV="1">
                  <a:off x="10348724" y="3110814"/>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29" name="Ellipse 525"/>
                <p:cNvSpPr/>
                <p:nvPr/>
              </p:nvSpPr>
              <p:spPr bwMode="gray">
                <a:xfrm flipV="1">
                  <a:off x="10172580"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0" name="Ellipse 526"/>
                <p:cNvSpPr/>
                <p:nvPr/>
              </p:nvSpPr>
              <p:spPr bwMode="gray">
                <a:xfrm flipV="1">
                  <a:off x="1017258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1" name="Ellipse 527"/>
                <p:cNvSpPr/>
                <p:nvPr/>
              </p:nvSpPr>
              <p:spPr bwMode="gray">
                <a:xfrm flipV="1">
                  <a:off x="1017258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2" name="Ellipse 528"/>
                <p:cNvSpPr/>
                <p:nvPr/>
              </p:nvSpPr>
              <p:spPr bwMode="gray">
                <a:xfrm flipV="1">
                  <a:off x="1017258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3" name="Ellipse 529"/>
                <p:cNvSpPr/>
                <p:nvPr/>
              </p:nvSpPr>
              <p:spPr bwMode="gray">
                <a:xfrm flipV="1">
                  <a:off x="10172580"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4" name="Ellipse 530"/>
                <p:cNvSpPr/>
                <p:nvPr/>
              </p:nvSpPr>
              <p:spPr bwMode="gray">
                <a:xfrm flipV="1">
                  <a:off x="10338035"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5" name="Ellipse 531"/>
                <p:cNvSpPr/>
                <p:nvPr/>
              </p:nvSpPr>
              <p:spPr bwMode="gray">
                <a:xfrm flipV="1">
                  <a:off x="10653686"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6" name="Ellipse 532"/>
                <p:cNvSpPr/>
                <p:nvPr/>
              </p:nvSpPr>
              <p:spPr bwMode="gray">
                <a:xfrm flipV="1">
                  <a:off x="10023260" y="4531570"/>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7" name="Ellipse 533"/>
                <p:cNvSpPr/>
                <p:nvPr/>
              </p:nvSpPr>
              <p:spPr bwMode="gray">
                <a:xfrm flipV="1">
                  <a:off x="1002326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8" name="Ellipse 534"/>
                <p:cNvSpPr/>
                <p:nvPr/>
              </p:nvSpPr>
              <p:spPr bwMode="gray">
                <a:xfrm flipV="1">
                  <a:off x="10023260"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39" name="Ellipse 535"/>
                <p:cNvSpPr/>
                <p:nvPr/>
              </p:nvSpPr>
              <p:spPr bwMode="gray">
                <a:xfrm flipV="1">
                  <a:off x="10023260"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0" name="Ellipse 536"/>
                <p:cNvSpPr/>
                <p:nvPr/>
              </p:nvSpPr>
              <p:spPr bwMode="gray">
                <a:xfrm flipV="1">
                  <a:off x="1002326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1" name="Ellipse 537"/>
                <p:cNvSpPr/>
                <p:nvPr/>
              </p:nvSpPr>
              <p:spPr bwMode="gray">
                <a:xfrm flipV="1">
                  <a:off x="10023260"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2" name="Ellipse 538"/>
                <p:cNvSpPr/>
                <p:nvPr/>
              </p:nvSpPr>
              <p:spPr bwMode="gray">
                <a:xfrm flipV="1">
                  <a:off x="1002326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3" name="Ellipse 539"/>
                <p:cNvSpPr/>
                <p:nvPr/>
              </p:nvSpPr>
              <p:spPr bwMode="gray">
                <a:xfrm flipV="1">
                  <a:off x="10023260" y="2940249"/>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4" name="Ellipse 540"/>
                <p:cNvSpPr/>
                <p:nvPr/>
              </p:nvSpPr>
              <p:spPr bwMode="gray">
                <a:xfrm flipV="1">
                  <a:off x="985884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5" name="Ellipse 541"/>
                <p:cNvSpPr/>
                <p:nvPr/>
              </p:nvSpPr>
              <p:spPr bwMode="gray">
                <a:xfrm flipV="1">
                  <a:off x="9858847"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6" name="Ellipse 542"/>
                <p:cNvSpPr/>
                <p:nvPr/>
              </p:nvSpPr>
              <p:spPr bwMode="gray">
                <a:xfrm flipV="1">
                  <a:off x="9858847"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7" name="Ellipse 543"/>
                <p:cNvSpPr/>
                <p:nvPr/>
              </p:nvSpPr>
              <p:spPr bwMode="gray">
                <a:xfrm flipV="1">
                  <a:off x="9699601" y="4531570"/>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8" name="Ellipse 544"/>
                <p:cNvSpPr/>
                <p:nvPr/>
              </p:nvSpPr>
              <p:spPr bwMode="gray">
                <a:xfrm flipV="1">
                  <a:off x="9539824"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49" name="Ellipse 545"/>
                <p:cNvSpPr/>
                <p:nvPr/>
              </p:nvSpPr>
              <p:spPr bwMode="gray">
                <a:xfrm flipV="1">
                  <a:off x="9699601"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0" name="Ellipse 546"/>
                <p:cNvSpPr/>
                <p:nvPr/>
              </p:nvSpPr>
              <p:spPr bwMode="gray">
                <a:xfrm flipV="1">
                  <a:off x="9699601"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1" name="Ellipse 547"/>
                <p:cNvSpPr/>
                <p:nvPr/>
              </p:nvSpPr>
              <p:spPr bwMode="gray">
                <a:xfrm flipV="1">
                  <a:off x="9699601" y="342013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2" name="Ellipse 548"/>
                <p:cNvSpPr/>
                <p:nvPr/>
              </p:nvSpPr>
              <p:spPr bwMode="gray">
                <a:xfrm flipV="1">
                  <a:off x="9699601"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3" name="Ellipse 549"/>
                <p:cNvSpPr/>
                <p:nvPr/>
              </p:nvSpPr>
              <p:spPr bwMode="gray">
                <a:xfrm flipV="1">
                  <a:off x="9539824"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4" name="Ellipse 550"/>
                <p:cNvSpPr/>
                <p:nvPr/>
              </p:nvSpPr>
              <p:spPr bwMode="gray">
                <a:xfrm flipV="1">
                  <a:off x="9539824"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5" name="Ellipse 551"/>
                <p:cNvSpPr/>
                <p:nvPr/>
              </p:nvSpPr>
              <p:spPr bwMode="gray">
                <a:xfrm flipV="1">
                  <a:off x="9539824"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6" name="Ellipse 552"/>
                <p:cNvSpPr/>
                <p:nvPr/>
              </p:nvSpPr>
              <p:spPr bwMode="gray">
                <a:xfrm flipV="1">
                  <a:off x="9539824"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7" name="Ellipse 553"/>
                <p:cNvSpPr/>
                <p:nvPr/>
              </p:nvSpPr>
              <p:spPr bwMode="gray">
                <a:xfrm flipV="1">
                  <a:off x="9539824"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8" name="Ellipse 554"/>
                <p:cNvSpPr/>
                <p:nvPr/>
              </p:nvSpPr>
              <p:spPr bwMode="gray">
                <a:xfrm flipV="1">
                  <a:off x="922219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59" name="Ellipse 555"/>
                <p:cNvSpPr/>
                <p:nvPr/>
              </p:nvSpPr>
              <p:spPr bwMode="gray">
                <a:xfrm flipV="1">
                  <a:off x="9222199"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0" name="Ellipse 556"/>
                <p:cNvSpPr/>
                <p:nvPr/>
              </p:nvSpPr>
              <p:spPr bwMode="gray">
                <a:xfrm flipV="1">
                  <a:off x="8746986"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1" name="Ellipse 557"/>
                <p:cNvSpPr/>
                <p:nvPr/>
              </p:nvSpPr>
              <p:spPr bwMode="gray">
                <a:xfrm flipV="1">
                  <a:off x="8905400"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2" name="Ellipse 558"/>
                <p:cNvSpPr/>
                <p:nvPr/>
              </p:nvSpPr>
              <p:spPr bwMode="gray">
                <a:xfrm flipV="1">
                  <a:off x="8588694"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3" name="Ellipse 559"/>
                <p:cNvSpPr/>
                <p:nvPr/>
              </p:nvSpPr>
              <p:spPr bwMode="gray">
                <a:xfrm flipV="1">
                  <a:off x="8430043"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4" name="Ellipse 560"/>
                <p:cNvSpPr/>
                <p:nvPr/>
              </p:nvSpPr>
              <p:spPr bwMode="gray">
                <a:xfrm flipV="1">
                  <a:off x="795211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5" name="Ellipse 561"/>
                <p:cNvSpPr/>
                <p:nvPr/>
              </p:nvSpPr>
              <p:spPr bwMode="gray">
                <a:xfrm flipV="1">
                  <a:off x="7952113"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6" name="Ellipse 562"/>
                <p:cNvSpPr/>
                <p:nvPr/>
              </p:nvSpPr>
              <p:spPr bwMode="gray">
                <a:xfrm flipV="1">
                  <a:off x="7952113"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7" name="Ellipse 563"/>
                <p:cNvSpPr/>
                <p:nvPr/>
              </p:nvSpPr>
              <p:spPr bwMode="gray">
                <a:xfrm flipV="1">
                  <a:off x="8117728"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8" name="Ellipse 564"/>
                <p:cNvSpPr/>
                <p:nvPr/>
              </p:nvSpPr>
              <p:spPr bwMode="gray">
                <a:xfrm flipV="1">
                  <a:off x="7793115"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69" name="Ellipse 565"/>
                <p:cNvSpPr/>
                <p:nvPr/>
              </p:nvSpPr>
              <p:spPr bwMode="gray">
                <a:xfrm flipV="1">
                  <a:off x="7793115"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0" name="Ellipse 566"/>
                <p:cNvSpPr/>
                <p:nvPr/>
              </p:nvSpPr>
              <p:spPr bwMode="gray">
                <a:xfrm flipV="1">
                  <a:off x="7630929"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1" name="Ellipse 567"/>
                <p:cNvSpPr/>
                <p:nvPr/>
              </p:nvSpPr>
              <p:spPr bwMode="gray">
                <a:xfrm flipV="1">
                  <a:off x="7478197"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2" name="Ellipse 568"/>
                <p:cNvSpPr/>
                <p:nvPr/>
              </p:nvSpPr>
              <p:spPr bwMode="gray">
                <a:xfrm flipV="1">
                  <a:off x="747819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3" name="Ellipse 569"/>
                <p:cNvSpPr/>
                <p:nvPr/>
              </p:nvSpPr>
              <p:spPr bwMode="gray">
                <a:xfrm flipV="1">
                  <a:off x="7478197"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4" name="Ellipse 570"/>
                <p:cNvSpPr/>
                <p:nvPr/>
              </p:nvSpPr>
              <p:spPr bwMode="gray">
                <a:xfrm flipV="1">
                  <a:off x="731982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5" name="Ellipse 571"/>
                <p:cNvSpPr/>
                <p:nvPr/>
              </p:nvSpPr>
              <p:spPr bwMode="gray">
                <a:xfrm flipV="1">
                  <a:off x="7319820"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6" name="Ellipse 572"/>
                <p:cNvSpPr/>
                <p:nvPr/>
              </p:nvSpPr>
              <p:spPr bwMode="gray">
                <a:xfrm flipV="1">
                  <a:off x="7319820" y="4531570"/>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7" name="Ellipse 573"/>
                <p:cNvSpPr/>
                <p:nvPr/>
              </p:nvSpPr>
              <p:spPr bwMode="gray">
                <a:xfrm flipV="1">
                  <a:off x="731982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8" name="Ellipse 574"/>
                <p:cNvSpPr/>
                <p:nvPr/>
              </p:nvSpPr>
              <p:spPr bwMode="gray">
                <a:xfrm flipV="1">
                  <a:off x="7319820"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79" name="Ellipse 575"/>
                <p:cNvSpPr/>
                <p:nvPr/>
              </p:nvSpPr>
              <p:spPr bwMode="gray">
                <a:xfrm flipV="1">
                  <a:off x="7319820"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0" name="Ellipse 576"/>
                <p:cNvSpPr/>
                <p:nvPr/>
              </p:nvSpPr>
              <p:spPr bwMode="gray">
                <a:xfrm flipV="1">
                  <a:off x="731982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1" name="Ellipse 577"/>
                <p:cNvSpPr/>
                <p:nvPr/>
              </p:nvSpPr>
              <p:spPr bwMode="gray">
                <a:xfrm flipV="1">
                  <a:off x="7319820" y="2883694"/>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2" name="Ellipse 578"/>
                <p:cNvSpPr/>
                <p:nvPr/>
              </p:nvSpPr>
              <p:spPr bwMode="gray">
                <a:xfrm flipV="1">
                  <a:off x="7158246"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3" name="Ellipse 579"/>
                <p:cNvSpPr/>
                <p:nvPr/>
              </p:nvSpPr>
              <p:spPr bwMode="gray">
                <a:xfrm flipV="1">
                  <a:off x="7158246" y="2883694"/>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4" name="Ellipse 580"/>
                <p:cNvSpPr/>
                <p:nvPr/>
              </p:nvSpPr>
              <p:spPr bwMode="gray">
                <a:xfrm flipV="1">
                  <a:off x="6997970"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5" name="Ellipse 581"/>
                <p:cNvSpPr/>
                <p:nvPr/>
              </p:nvSpPr>
              <p:spPr bwMode="gray">
                <a:xfrm flipV="1">
                  <a:off x="7158246"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6" name="Ellipse 582"/>
                <p:cNvSpPr/>
                <p:nvPr/>
              </p:nvSpPr>
              <p:spPr bwMode="gray">
                <a:xfrm flipV="1">
                  <a:off x="6997970"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7" name="Ellipse 583"/>
                <p:cNvSpPr/>
                <p:nvPr/>
              </p:nvSpPr>
              <p:spPr bwMode="gray">
                <a:xfrm flipV="1">
                  <a:off x="6997970"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8" name="Ellipse 584"/>
                <p:cNvSpPr/>
                <p:nvPr/>
              </p:nvSpPr>
              <p:spPr bwMode="gray">
                <a:xfrm flipV="1">
                  <a:off x="6997970"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89" name="Ellipse 585"/>
                <p:cNvSpPr/>
                <p:nvPr/>
              </p:nvSpPr>
              <p:spPr bwMode="gray">
                <a:xfrm flipV="1">
                  <a:off x="6997970"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0" name="Ellipse 586"/>
                <p:cNvSpPr/>
                <p:nvPr/>
              </p:nvSpPr>
              <p:spPr bwMode="gray">
                <a:xfrm flipV="1">
                  <a:off x="6997970"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1" name="Ellipse 587"/>
                <p:cNvSpPr/>
                <p:nvPr/>
              </p:nvSpPr>
              <p:spPr bwMode="gray">
                <a:xfrm flipV="1">
                  <a:off x="684122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2" name="Ellipse 588"/>
                <p:cNvSpPr/>
                <p:nvPr/>
              </p:nvSpPr>
              <p:spPr bwMode="gray">
                <a:xfrm flipV="1">
                  <a:off x="6841223" y="342013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3" name="Ellipse 589"/>
                <p:cNvSpPr/>
                <p:nvPr/>
              </p:nvSpPr>
              <p:spPr bwMode="gray">
                <a:xfrm flipV="1">
                  <a:off x="6841223"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4" name="Ellipse 590"/>
                <p:cNvSpPr/>
                <p:nvPr/>
              </p:nvSpPr>
              <p:spPr bwMode="gray">
                <a:xfrm flipV="1">
                  <a:off x="6841223"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5" name="Ellipse 591"/>
                <p:cNvSpPr/>
                <p:nvPr/>
              </p:nvSpPr>
              <p:spPr bwMode="gray">
                <a:xfrm flipV="1">
                  <a:off x="6841223"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6" name="Ellipse 592"/>
                <p:cNvSpPr/>
                <p:nvPr/>
              </p:nvSpPr>
              <p:spPr bwMode="gray">
                <a:xfrm flipV="1">
                  <a:off x="6841223"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7" name="Ellipse 593"/>
                <p:cNvSpPr/>
                <p:nvPr/>
              </p:nvSpPr>
              <p:spPr bwMode="gray">
                <a:xfrm flipV="1">
                  <a:off x="6680912"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8" name="Ellipse 594"/>
                <p:cNvSpPr/>
                <p:nvPr/>
              </p:nvSpPr>
              <p:spPr bwMode="gray">
                <a:xfrm flipV="1">
                  <a:off x="6680912"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599" name="Ellipse 595"/>
                <p:cNvSpPr/>
                <p:nvPr/>
              </p:nvSpPr>
              <p:spPr bwMode="gray">
                <a:xfrm flipV="1">
                  <a:off x="6680912"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0" name="Ellipse 596"/>
                <p:cNvSpPr/>
                <p:nvPr/>
              </p:nvSpPr>
              <p:spPr bwMode="gray">
                <a:xfrm flipV="1">
                  <a:off x="6680912"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1" name="Ellipse 597"/>
                <p:cNvSpPr/>
                <p:nvPr/>
              </p:nvSpPr>
              <p:spPr bwMode="gray">
                <a:xfrm flipV="1">
                  <a:off x="6680912"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2" name="Ellipse 598"/>
                <p:cNvSpPr/>
                <p:nvPr/>
              </p:nvSpPr>
              <p:spPr bwMode="gray">
                <a:xfrm flipV="1">
                  <a:off x="6680912"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3" name="Ellipse 599"/>
                <p:cNvSpPr/>
                <p:nvPr/>
              </p:nvSpPr>
              <p:spPr bwMode="gray">
                <a:xfrm flipV="1">
                  <a:off x="6680912"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4" name="Ellipse 600"/>
                <p:cNvSpPr/>
                <p:nvPr/>
              </p:nvSpPr>
              <p:spPr bwMode="gray">
                <a:xfrm flipV="1">
                  <a:off x="6522282"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5" name="Ellipse 601"/>
                <p:cNvSpPr/>
                <p:nvPr/>
              </p:nvSpPr>
              <p:spPr bwMode="gray">
                <a:xfrm flipV="1">
                  <a:off x="6522282" y="310012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6" name="Ellipse 602"/>
                <p:cNvSpPr/>
                <p:nvPr/>
              </p:nvSpPr>
              <p:spPr bwMode="gray">
                <a:xfrm flipV="1">
                  <a:off x="6841223"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7" name="Ellipse 603"/>
                <p:cNvSpPr/>
                <p:nvPr/>
              </p:nvSpPr>
              <p:spPr bwMode="gray">
                <a:xfrm flipV="1">
                  <a:off x="6522282"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8" name="Ellipse 604"/>
                <p:cNvSpPr/>
                <p:nvPr/>
              </p:nvSpPr>
              <p:spPr bwMode="gray">
                <a:xfrm flipV="1">
                  <a:off x="6522282"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09" name="Ellipse 605"/>
                <p:cNvSpPr/>
                <p:nvPr/>
              </p:nvSpPr>
              <p:spPr bwMode="gray">
                <a:xfrm flipV="1">
                  <a:off x="6522282"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0" name="Ellipse 606"/>
                <p:cNvSpPr/>
                <p:nvPr/>
              </p:nvSpPr>
              <p:spPr bwMode="gray">
                <a:xfrm flipV="1">
                  <a:off x="6522282" y="421582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1" name="Ellipse 607"/>
                <p:cNvSpPr/>
                <p:nvPr/>
              </p:nvSpPr>
              <p:spPr bwMode="gray">
                <a:xfrm flipV="1">
                  <a:off x="6522282"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2" name="Ellipse 608"/>
                <p:cNvSpPr/>
                <p:nvPr/>
              </p:nvSpPr>
              <p:spPr bwMode="gray">
                <a:xfrm flipV="1">
                  <a:off x="6522282"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3" name="Ellipse 609"/>
                <p:cNvSpPr/>
                <p:nvPr/>
              </p:nvSpPr>
              <p:spPr bwMode="gray">
                <a:xfrm flipV="1">
                  <a:off x="6370164" y="437487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4" name="Ellipse 610"/>
                <p:cNvSpPr/>
                <p:nvPr/>
              </p:nvSpPr>
              <p:spPr bwMode="gray">
                <a:xfrm flipV="1">
                  <a:off x="6370164" y="4531570"/>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5" name="Ellipse 611"/>
                <p:cNvSpPr/>
                <p:nvPr/>
              </p:nvSpPr>
              <p:spPr bwMode="gray">
                <a:xfrm flipV="1">
                  <a:off x="6370164" y="389880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6" name="Ellipse 612"/>
                <p:cNvSpPr/>
                <p:nvPr/>
              </p:nvSpPr>
              <p:spPr bwMode="gray">
                <a:xfrm flipV="1">
                  <a:off x="6370164"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7" name="Ellipse 613"/>
                <p:cNvSpPr/>
                <p:nvPr/>
              </p:nvSpPr>
              <p:spPr bwMode="gray">
                <a:xfrm flipV="1">
                  <a:off x="6370164"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8" name="Ellipse 614"/>
                <p:cNvSpPr/>
                <p:nvPr/>
              </p:nvSpPr>
              <p:spPr bwMode="gray">
                <a:xfrm flipV="1">
                  <a:off x="6370164"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19" name="Ellipse 615"/>
                <p:cNvSpPr/>
                <p:nvPr/>
              </p:nvSpPr>
              <p:spPr bwMode="gray">
                <a:xfrm flipV="1">
                  <a:off x="6370164"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0" name="Ellipse 616"/>
                <p:cNvSpPr/>
                <p:nvPr/>
              </p:nvSpPr>
              <p:spPr bwMode="gray">
                <a:xfrm flipV="1">
                  <a:off x="6201727"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1" name="Ellipse 617"/>
                <p:cNvSpPr/>
                <p:nvPr/>
              </p:nvSpPr>
              <p:spPr bwMode="gray">
                <a:xfrm flipV="1">
                  <a:off x="6201727" y="342013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2" name="Ellipse 618"/>
                <p:cNvSpPr/>
                <p:nvPr/>
              </p:nvSpPr>
              <p:spPr bwMode="gray">
                <a:xfrm flipV="1">
                  <a:off x="6201727"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3" name="Ellipse 619"/>
                <p:cNvSpPr/>
                <p:nvPr/>
              </p:nvSpPr>
              <p:spPr bwMode="gray">
                <a:xfrm flipV="1">
                  <a:off x="6201727"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4" name="Ellipse 620"/>
                <p:cNvSpPr/>
                <p:nvPr/>
              </p:nvSpPr>
              <p:spPr bwMode="gray">
                <a:xfrm flipV="1">
                  <a:off x="6201727" y="389880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5" name="Ellipse 621"/>
                <p:cNvSpPr/>
                <p:nvPr/>
              </p:nvSpPr>
              <p:spPr bwMode="gray">
                <a:xfrm flipV="1">
                  <a:off x="6049318" y="3258147"/>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6" name="Ellipse 622"/>
                <p:cNvSpPr/>
                <p:nvPr/>
              </p:nvSpPr>
              <p:spPr bwMode="gray">
                <a:xfrm flipV="1">
                  <a:off x="5884973" y="325814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7" name="Ellipse 623"/>
                <p:cNvSpPr/>
                <p:nvPr/>
              </p:nvSpPr>
              <p:spPr bwMode="gray">
                <a:xfrm flipV="1">
                  <a:off x="5884973" y="358075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8" name="Ellipse 624"/>
                <p:cNvSpPr/>
                <p:nvPr/>
              </p:nvSpPr>
              <p:spPr bwMode="gray">
                <a:xfrm flipV="1">
                  <a:off x="5884973"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29" name="Ellipse 625"/>
                <p:cNvSpPr/>
                <p:nvPr/>
              </p:nvSpPr>
              <p:spPr bwMode="gray">
                <a:xfrm flipV="1">
                  <a:off x="5884973" y="4057562"/>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0" name="Ellipse 626"/>
                <p:cNvSpPr/>
                <p:nvPr/>
              </p:nvSpPr>
              <p:spPr bwMode="gray">
                <a:xfrm flipV="1">
                  <a:off x="6049318"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1" name="Ellipse 627"/>
                <p:cNvSpPr/>
                <p:nvPr/>
              </p:nvSpPr>
              <p:spPr bwMode="gray">
                <a:xfrm flipV="1">
                  <a:off x="6049318" y="4215828"/>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2" name="Ellipse 628"/>
                <p:cNvSpPr/>
                <p:nvPr/>
              </p:nvSpPr>
              <p:spPr bwMode="gray">
                <a:xfrm flipV="1">
                  <a:off x="6049318" y="4374878"/>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3" name="Ellipse 629"/>
                <p:cNvSpPr/>
                <p:nvPr/>
              </p:nvSpPr>
              <p:spPr bwMode="gray">
                <a:xfrm flipV="1">
                  <a:off x="5723768" y="358075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634" name="Ellipse 630"/>
                <p:cNvSpPr/>
                <p:nvPr/>
              </p:nvSpPr>
              <p:spPr bwMode="gray">
                <a:xfrm flipV="1">
                  <a:off x="5723768" y="3898807"/>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635" name="Ellipse 631"/>
                <p:cNvSpPr/>
                <p:nvPr/>
              </p:nvSpPr>
              <p:spPr bwMode="gray">
                <a:xfrm flipV="1">
                  <a:off x="5723768" y="4057562"/>
                  <a:ext cx="64134" cy="64155"/>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636" name="Ellipse 632"/>
                <p:cNvSpPr/>
                <p:nvPr/>
              </p:nvSpPr>
              <p:spPr bwMode="gray">
                <a:xfrm flipV="1">
                  <a:off x="5723768" y="3738635"/>
                  <a:ext cx="64134" cy="64155"/>
                </a:xfrm>
                <a:prstGeom prst="ellipse">
                  <a:avLst/>
                </a:prstGeom>
                <a:solidFill>
                  <a:srgbClr val="9BAFBE"/>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solidFill>
                      <a:schemeClr val="accent5"/>
                    </a:solidFill>
                    <a:latin typeface="+mj-lt"/>
                  </a:endParaRPr>
                </a:p>
              </p:txBody>
            </p:sp>
            <p:sp>
              <p:nvSpPr>
                <p:cNvPr id="637" name="Ellipse 633"/>
                <p:cNvSpPr/>
                <p:nvPr/>
              </p:nvSpPr>
              <p:spPr bwMode="gray">
                <a:xfrm flipV="1">
                  <a:off x="11643945" y="3909365"/>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sp>
              <p:nvSpPr>
                <p:cNvPr id="638" name="Ellipse 634"/>
                <p:cNvSpPr/>
                <p:nvPr/>
              </p:nvSpPr>
              <p:spPr bwMode="gray">
                <a:xfrm flipV="1">
                  <a:off x="11643945" y="3591310"/>
                  <a:ext cx="42757" cy="42771"/>
                </a:xfrm>
                <a:prstGeom prst="ellipse">
                  <a:avLst/>
                </a:prstGeom>
                <a:solidFill>
                  <a:schemeClr val="accent5"/>
                </a:solidFill>
                <a:ln w="12700">
                  <a:noFill/>
                </a:ln>
                <a:effectLst/>
                <a:extLst/>
              </p:spPr>
              <p:txBody>
                <a:bodyPr wrap="square" lIns="107944" tIns="53972" rIns="107944" bIns="53972" numCol="1" spcCol="72000" rtlCol="0" anchor="ctr">
                  <a:noAutofit/>
                </a:bodyPr>
                <a:lstStyle/>
                <a:p>
                  <a:pPr algn="ctr">
                    <a:spcBef>
                      <a:spcPct val="0"/>
                    </a:spcBef>
                    <a:buFont typeface="Wingdings" charset="0"/>
                    <a:buNone/>
                  </a:pPr>
                  <a:endParaRPr lang="en-US" sz="1299" b="1" dirty="0">
                    <a:latin typeface="+mj-lt"/>
                  </a:endParaRPr>
                </a:p>
              </p:txBody>
            </p:sp>
          </p:grpSp>
        </p:grpSp>
        <p:sp>
          <p:nvSpPr>
            <p:cNvPr id="385" name="Freeform 673"/>
            <p:cNvSpPr>
              <a:spLocks noEditPoints="1"/>
            </p:cNvSpPr>
            <p:nvPr/>
          </p:nvSpPr>
          <p:spPr bwMode="gray">
            <a:xfrm>
              <a:off x="7635967" y="2755725"/>
              <a:ext cx="248847" cy="348382"/>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5"/>
            </a:solidFill>
            <a:ln>
              <a:noFill/>
            </a:ln>
          </p:spPr>
          <p:txBody>
            <a:bodyPr vert="horz" wrap="square" lIns="91392" tIns="45696" rIns="91392" bIns="45696" numCol="1" anchor="t" anchorCtr="0" compatLnSpc="1">
              <a:prstTxWarp prst="textNoShape">
                <a:avLst/>
              </a:prstTxWarp>
            </a:bodyPr>
            <a:lstStyle/>
            <a:p>
              <a:endParaRPr lang="en-US" sz="1299" dirty="0">
                <a:latin typeface="+mj-lt"/>
              </a:endParaRPr>
            </a:p>
          </p:txBody>
        </p:sp>
      </p:grpSp>
      <p:cxnSp>
        <p:nvCxnSpPr>
          <p:cNvPr id="4" name="Gewinkelte Verbindung 3"/>
          <p:cNvCxnSpPr>
            <a:stCxn id="380" idx="0"/>
            <a:endCxn id="378" idx="0"/>
          </p:cNvCxnSpPr>
          <p:nvPr/>
        </p:nvCxnSpPr>
        <p:spPr bwMode="auto">
          <a:xfrm rot="16200000" flipV="1">
            <a:off x="4444927" y="2359383"/>
            <a:ext cx="216052" cy="4640339"/>
          </a:xfrm>
          <a:prstGeom prst="bentConnector3">
            <a:avLst>
              <a:gd name="adj1" fmla="val 205808"/>
            </a:avLst>
          </a:prstGeom>
          <a:solidFill>
            <a:schemeClr val="tx2"/>
          </a:solidFill>
          <a:ln w="28575" cap="flat" cmpd="sng" algn="ctr">
            <a:solidFill>
              <a:srgbClr val="647D2D"/>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p:nvCxnSpPr>
        <p:spPr bwMode="auto">
          <a:xfrm flipH="1" flipV="1">
            <a:off x="2098591" y="3470896"/>
            <a:ext cx="5096" cy="1100631"/>
          </a:xfrm>
          <a:prstGeom prst="line">
            <a:avLst/>
          </a:prstGeom>
          <a:solidFill>
            <a:schemeClr val="tx2"/>
          </a:solidFill>
          <a:ln w="28575" cap="flat" cmpd="sng" algn="ctr">
            <a:solidFill>
              <a:srgbClr val="647D2D"/>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winkelte Verbindung 21"/>
          <p:cNvCxnSpPr>
            <a:stCxn id="391" idx="1"/>
            <a:endCxn id="378" idx="3"/>
          </p:cNvCxnSpPr>
          <p:nvPr/>
        </p:nvCxnSpPr>
        <p:spPr bwMode="auto">
          <a:xfrm rot="5400000">
            <a:off x="2958834" y="2810587"/>
            <a:ext cx="2208371" cy="2386406"/>
          </a:xfrm>
          <a:prstGeom prst="bentConnector2">
            <a:avLst/>
          </a:prstGeom>
          <a:solidFill>
            <a:schemeClr val="tx2"/>
          </a:solidFill>
          <a:ln w="28575" cap="flat" cmpd="sng" algn="ctr">
            <a:solidFill>
              <a:srgbClr val="879BAA"/>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a:stCxn id="375" idx="3"/>
            <a:endCxn id="641" idx="0"/>
          </p:cNvCxnSpPr>
          <p:nvPr/>
        </p:nvCxnSpPr>
        <p:spPr bwMode="auto">
          <a:xfrm flipV="1">
            <a:off x="2865007" y="2412970"/>
            <a:ext cx="1864869" cy="18093"/>
          </a:xfrm>
          <a:prstGeom prst="line">
            <a:avLst/>
          </a:prstGeom>
          <a:solidFill>
            <a:schemeClr val="tx2"/>
          </a:solidFill>
          <a:ln w="28575" cap="flat" cmpd="sng" algn="ctr">
            <a:solidFill>
              <a:srgbClr val="879BAA"/>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720721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86258" y="2564904"/>
            <a:ext cx="11731194" cy="1728000"/>
            <a:chOff x="186355" y="2389673"/>
            <a:chExt cx="11737304" cy="1728000"/>
          </a:xfrm>
        </p:grpSpPr>
        <p:sp>
          <p:nvSpPr>
            <p:cNvPr id="10" name="Rechteck 9"/>
            <p:cNvSpPr/>
            <p:nvPr>
              <p:custDataLst>
                <p:tags r:id="rId3"/>
              </p:custDataLst>
            </p:nvPr>
          </p:nvSpPr>
          <p:spPr bwMode="auto">
            <a:xfrm>
              <a:off x="186355" y="2389673"/>
              <a:ext cx="11737304" cy="1728000"/>
            </a:xfrm>
            <a:prstGeom prst="rect">
              <a:avLst/>
            </a:prstGeom>
            <a:solidFill>
              <a:schemeClr val="bg1">
                <a:alpha val="75000"/>
              </a:schemeClr>
            </a:solidFill>
            <a:ln>
              <a:noFill/>
            </a:ln>
            <a:effectLst/>
            <a:extLst/>
          </p:spPr>
          <p:txBody>
            <a:bodyPr wrap="square" lIns="1908000" tIns="54000" rIns="2160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Enables connectivity for almost every asset (Siemens and 3rd party) </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Requires only a small number of system resources</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Secure connectivity from an onsite device to the MindSphere platform (e.g. authentication, encryption) </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Firewall-friendly communication via </a:t>
              </a:r>
              <a:r>
                <a:rPr lang="en-US" sz="1400" dirty="0" err="1">
                  <a:solidFill>
                    <a:schemeClr val="tx1"/>
                  </a:solidFill>
                </a:rPr>
                <a:t>RESTfull</a:t>
              </a:r>
              <a:r>
                <a:rPr lang="en-US" sz="1400" dirty="0">
                  <a:solidFill>
                    <a:schemeClr val="tx1"/>
                  </a:solidFill>
                </a:rPr>
                <a:t> API</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Logical workflows: Implement triggers to specify the calls that initiate a run of your data collection, integration and transfer processes</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File transfer functionality</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Local data buffering possible</a:t>
              </a:r>
            </a:p>
          </p:txBody>
        </p:sp>
        <p:sp>
          <p:nvSpPr>
            <p:cNvPr id="31" name="Textfeld 30"/>
            <p:cNvSpPr txBox="1"/>
            <p:nvPr/>
          </p:nvSpPr>
          <p:spPr>
            <a:xfrm>
              <a:off x="932035" y="3158445"/>
              <a:ext cx="1260000"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Benefits</a:t>
              </a:r>
            </a:p>
          </p:txBody>
        </p:sp>
        <p:grpSp>
          <p:nvGrpSpPr>
            <p:cNvPr id="20" name="Group 19"/>
            <p:cNvGrpSpPr/>
            <p:nvPr/>
          </p:nvGrpSpPr>
          <p:grpSpPr>
            <a:xfrm>
              <a:off x="296120" y="2992401"/>
              <a:ext cx="504000" cy="513204"/>
              <a:chOff x="296120" y="2992401"/>
              <a:chExt cx="504000" cy="513204"/>
            </a:xfrm>
          </p:grpSpPr>
          <p:sp>
            <p:nvSpPr>
              <p:cNvPr id="22" name="Freeform 20"/>
              <p:cNvSpPr>
                <a:spLocks/>
              </p:cNvSpPr>
              <p:nvPr/>
            </p:nvSpPr>
            <p:spPr bwMode="gray">
              <a:xfrm>
                <a:off x="449688" y="2992401"/>
                <a:ext cx="350432" cy="513204"/>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1"/>
              <p:cNvSpPr>
                <a:spLocks/>
              </p:cNvSpPr>
              <p:nvPr/>
            </p:nvSpPr>
            <p:spPr bwMode="gray">
              <a:xfrm>
                <a:off x="296120" y="3228898"/>
                <a:ext cx="123125" cy="249446"/>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9" name="Rechteck 8"/>
          <p:cNvSpPr/>
          <p:nvPr/>
        </p:nvSpPr>
        <p:spPr bwMode="auto">
          <a:xfrm>
            <a:off x="186258" y="1437894"/>
            <a:ext cx="11731194" cy="792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a:lnSpc>
                <a:spcPct val="110000"/>
              </a:lnSpc>
              <a:spcBef>
                <a:spcPct val="0"/>
              </a:spcBef>
            </a:pPr>
            <a:r>
              <a:rPr lang="en-US" sz="1400" dirty="0" err="1">
                <a:solidFill>
                  <a:schemeClr val="tx1"/>
                </a:solidFill>
              </a:rPr>
              <a:t>MindConnect</a:t>
            </a:r>
            <a:r>
              <a:rPr lang="en-US" sz="1400" dirty="0">
                <a:solidFill>
                  <a:schemeClr val="tx1"/>
                </a:solidFill>
              </a:rPr>
              <a:t> </a:t>
            </a:r>
            <a:r>
              <a:rPr lang="en-US" sz="1400" dirty="0" smtClean="0">
                <a:solidFill>
                  <a:schemeClr val="tx1"/>
                </a:solidFill>
              </a:rPr>
              <a:t>LIB </a:t>
            </a:r>
            <a:r>
              <a:rPr lang="en-US" sz="1400" dirty="0">
                <a:solidFill>
                  <a:schemeClr val="tx1"/>
                </a:solidFill>
              </a:rPr>
              <a:t>is a software development kit (SDK) which enables self programming of customer or use case specific connectivity agents by interacting with the MindSphere southbound APIs. It supports encrypted transmission of onsite data to MindSphere through a secure internet connection, to enable cloud-based applications and services</a:t>
            </a:r>
          </a:p>
        </p:txBody>
      </p:sp>
      <p:sp>
        <p:nvSpPr>
          <p:cNvPr id="2" name="Titel 1"/>
          <p:cNvSpPr>
            <a:spLocks noGrp="1"/>
          </p:cNvSpPr>
          <p:nvPr>
            <p:ph type="title"/>
          </p:nvPr>
        </p:nvSpPr>
        <p:spPr/>
        <p:txBody>
          <a:bodyPr/>
          <a:lstStyle/>
          <a:p>
            <a:r>
              <a:rPr lang="en-US" dirty="0" smtClean="0"/>
              <a:t>MindSphere Connectivity Suite</a:t>
            </a:r>
            <a:br>
              <a:rPr lang="en-US" dirty="0" smtClean="0"/>
            </a:br>
            <a:r>
              <a:rPr lang="en-US" b="0" dirty="0" err="1"/>
              <a:t>MindConnect</a:t>
            </a:r>
            <a:r>
              <a:rPr lang="en-US" b="0" dirty="0"/>
              <a:t> </a:t>
            </a:r>
            <a:r>
              <a:rPr lang="en-US" b="0" dirty="0" smtClean="0"/>
              <a:t>LIB</a:t>
            </a:r>
            <a:endParaRPr lang="en-US" b="0" dirty="0"/>
          </a:p>
        </p:txBody>
      </p:sp>
      <p:sp>
        <p:nvSpPr>
          <p:cNvPr id="8" name="Textfeld 7"/>
          <p:cNvSpPr txBox="1"/>
          <p:nvPr/>
        </p:nvSpPr>
        <p:spPr>
          <a:xfrm>
            <a:off x="931550" y="1739912"/>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Description</a:t>
            </a:r>
          </a:p>
        </p:txBody>
      </p:sp>
      <p:pic>
        <p:nvPicPr>
          <p:cNvPr id="24"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8978"/>
          <a:stretch/>
        </p:blipFill>
        <p:spPr bwMode="auto">
          <a:xfrm>
            <a:off x="9910437" y="2584670"/>
            <a:ext cx="1837315" cy="13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 2"/>
          <p:cNvGrpSpPr/>
          <p:nvPr/>
        </p:nvGrpSpPr>
        <p:grpSpPr>
          <a:xfrm>
            <a:off x="186258" y="5517232"/>
            <a:ext cx="11731194" cy="720000"/>
            <a:chOff x="186355" y="5517232"/>
            <a:chExt cx="11737304" cy="720000"/>
          </a:xfrm>
        </p:grpSpPr>
        <p:sp>
          <p:nvSpPr>
            <p:cNvPr id="19" name="Rechteck 18"/>
            <p:cNvSpPr/>
            <p:nvPr/>
          </p:nvSpPr>
          <p:spPr bwMode="auto">
            <a:xfrm>
              <a:off x="186355" y="5517232"/>
              <a:ext cx="11737304" cy="72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reading cycle: Depending on each use case, up to 250 data points per second for the first released version</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transfer cycle: Every 10 seconds</a:t>
              </a:r>
            </a:p>
          </p:txBody>
        </p:sp>
        <p:sp>
          <p:nvSpPr>
            <p:cNvPr id="36" name="Textfeld 35"/>
            <p:cNvSpPr txBox="1"/>
            <p:nvPr/>
          </p:nvSpPr>
          <p:spPr>
            <a:xfrm>
              <a:off x="932035" y="5775180"/>
              <a:ext cx="1260000"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Performance</a:t>
              </a:r>
            </a:p>
          </p:txBody>
        </p:sp>
        <p:pic>
          <p:nvPicPr>
            <p:cNvPr id="18" name="Bild 42"/>
            <p:cNvPicPr>
              <a:picLocks noChangeAspect="1"/>
            </p:cNvPicPr>
            <p:nvPr/>
          </p:nvPicPr>
          <p:blipFill>
            <a:blip r:embed="rId7">
              <a:duotone>
                <a:schemeClr val="accent5">
                  <a:shade val="45000"/>
                  <a:satMod val="135000"/>
                </a:schemeClr>
                <a:prstClr val="white"/>
              </a:duotone>
            </a:blip>
            <a:stretch>
              <a:fillRect/>
            </a:stretch>
          </p:blipFill>
          <p:spPr>
            <a:xfrm>
              <a:off x="278120" y="5617173"/>
              <a:ext cx="540000" cy="513443"/>
            </a:xfrm>
            <a:prstGeom prst="rect">
              <a:avLst/>
            </a:prstGeom>
          </p:spPr>
        </p:pic>
      </p:grpSp>
      <p:pic>
        <p:nvPicPr>
          <p:cNvPr id="25" name="general-information.png"/>
          <p:cNvPicPr>
            <a:picLocks noChangeAspect="1"/>
          </p:cNvPicPr>
          <p:nvPr>
            <p:custDataLst>
              <p:tags r:id="rId1"/>
            </p:custDataLst>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31947" y="1625478"/>
            <a:ext cx="431775" cy="432000"/>
          </a:xfrm>
          <a:prstGeom prst="rect">
            <a:avLst/>
          </a:prstGeom>
        </p:spPr>
      </p:pic>
      <p:grpSp>
        <p:nvGrpSpPr>
          <p:cNvPr id="4" name="Group 3"/>
          <p:cNvGrpSpPr/>
          <p:nvPr/>
        </p:nvGrpSpPr>
        <p:grpSpPr>
          <a:xfrm>
            <a:off x="215371" y="4545244"/>
            <a:ext cx="11731194" cy="1080000"/>
            <a:chOff x="215483" y="4298005"/>
            <a:chExt cx="11737304" cy="1080000"/>
          </a:xfrm>
        </p:grpSpPr>
        <p:sp>
          <p:nvSpPr>
            <p:cNvPr id="14" name="Rechteck 13"/>
            <p:cNvSpPr/>
            <p:nvPr/>
          </p:nvSpPr>
          <p:spPr bwMode="auto">
            <a:xfrm>
              <a:off x="215483" y="4298005"/>
              <a:ext cx="11737304" cy="108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1588" lvl="1">
                <a:lnSpc>
                  <a:spcPct val="110000"/>
                </a:lnSpc>
                <a:spcBef>
                  <a:spcPts val="0"/>
                </a:spcBef>
                <a:buClr>
                  <a:schemeClr val="accent1"/>
                </a:buClr>
              </a:pPr>
              <a:r>
                <a:rPr lang="en-US" sz="1400" dirty="0">
                  <a:solidFill>
                    <a:schemeClr val="tx1"/>
                  </a:solidFill>
                </a:rPr>
                <a:t>Depends on your local </a:t>
              </a:r>
              <a:r>
                <a:rPr lang="en-US" sz="1400" dirty="0" smtClean="0">
                  <a:solidFill>
                    <a:schemeClr val="tx1"/>
                  </a:solidFill>
                </a:rPr>
                <a:t>decision as to </a:t>
              </a:r>
              <a:r>
                <a:rPr lang="en-US" sz="1400" dirty="0">
                  <a:solidFill>
                    <a:schemeClr val="tx1"/>
                  </a:solidFill>
                </a:rPr>
                <a:t>where the </a:t>
              </a:r>
              <a:r>
                <a:rPr lang="en-US" sz="1400" dirty="0" err="1">
                  <a:solidFill>
                    <a:schemeClr val="tx1"/>
                  </a:solidFill>
                </a:rPr>
                <a:t>MindConnect</a:t>
              </a:r>
              <a:r>
                <a:rPr lang="en-US" sz="1400" dirty="0">
                  <a:solidFill>
                    <a:schemeClr val="tx1"/>
                  </a:solidFill>
                </a:rPr>
                <a:t> </a:t>
              </a:r>
              <a:r>
                <a:rPr lang="en-US" sz="1400" dirty="0" smtClean="0">
                  <a:solidFill>
                    <a:schemeClr val="tx1"/>
                  </a:solidFill>
                </a:rPr>
                <a:t>LIB </a:t>
              </a:r>
              <a:r>
                <a:rPr lang="en-US" sz="1400" dirty="0">
                  <a:solidFill>
                    <a:schemeClr val="tx1"/>
                  </a:solidFill>
                </a:rPr>
                <a:t>is going to be used, including interface to custom data parser at the platform backend for non </a:t>
              </a:r>
              <a:r>
                <a:rPr lang="en-US" sz="1400" dirty="0" err="1">
                  <a:solidFill>
                    <a:schemeClr val="tx1"/>
                  </a:solidFill>
                </a:rPr>
                <a:t>timeseries</a:t>
              </a:r>
              <a:r>
                <a:rPr lang="en-US" sz="1400" dirty="0">
                  <a:solidFill>
                    <a:schemeClr val="tx1"/>
                  </a:solidFill>
                </a:rPr>
                <a:t> data. Generally speaking: Any field protocol could be supported (with development into the Custom Agent)</a:t>
              </a:r>
            </a:p>
          </p:txBody>
        </p:sp>
        <p:sp>
          <p:nvSpPr>
            <p:cNvPr id="35" name="Textfeld 34"/>
            <p:cNvSpPr txBox="1"/>
            <p:nvPr/>
          </p:nvSpPr>
          <p:spPr>
            <a:xfrm>
              <a:off x="932035" y="4597334"/>
              <a:ext cx="1260000" cy="473976"/>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Supporting</a:t>
              </a:r>
              <a:r>
                <a:rPr lang="en-US" sz="1400" b="1" dirty="0">
                  <a:solidFill>
                    <a:srgbClr val="0F8287"/>
                  </a:solidFill>
                </a:rPr>
                <a:t> </a:t>
              </a:r>
              <a:r>
                <a:rPr lang="en-US" sz="1400" b="1" dirty="0">
                  <a:solidFill>
                    <a:srgbClr val="00646E"/>
                  </a:solidFill>
                </a:rPr>
                <a:t>Protocols</a:t>
              </a:r>
            </a:p>
          </p:txBody>
        </p:sp>
        <p:pic>
          <p:nvPicPr>
            <p:cNvPr id="26" name="general_communication.png"/>
            <p:cNvPicPr>
              <a:picLocks noChangeAspect="1"/>
            </p:cNvPicPr>
            <p:nvPr>
              <p:custDataLst>
                <p:tags r:id="rId2"/>
              </p:custDataLst>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60120" y="4530970"/>
              <a:ext cx="576000" cy="576000"/>
            </a:xfrm>
            <a:prstGeom prst="rect">
              <a:avLst/>
            </a:prstGeom>
          </p:spPr>
        </p:pic>
      </p:grpSp>
      <p:sp>
        <p:nvSpPr>
          <p:cNvPr id="21" name="Textfeld 84"/>
          <p:cNvSpPr txBox="1"/>
          <p:nvPr/>
        </p:nvSpPr>
        <p:spPr>
          <a:xfrm>
            <a:off x="547834" y="126637"/>
            <a:ext cx="2842449" cy="218586"/>
          </a:xfrm>
          <a:prstGeom prst="rect">
            <a:avLst/>
          </a:prstGeom>
          <a:noFill/>
        </p:spPr>
        <p:txBody>
          <a:bodyPr wrap="square" lIns="0" tIns="0" rIns="0" bIns="0" rtlCol="0">
            <a:spAutoFit/>
          </a:bodyPr>
          <a:lstStyle/>
          <a:p>
            <a:pPr algn="l">
              <a:lnSpc>
                <a:spcPct val="110000"/>
              </a:lnSpc>
              <a:spcBef>
                <a:spcPts val="0"/>
              </a:spcBef>
            </a:pPr>
            <a:r>
              <a:rPr lang="en-US" sz="1400" b="1" dirty="0" smtClean="0">
                <a:solidFill>
                  <a:srgbClr val="004669"/>
                </a:solidFill>
              </a:rPr>
              <a:t>Software Gateway</a:t>
            </a:r>
            <a:endParaRPr lang="en-US" sz="1400" dirty="0" smtClean="0">
              <a:solidFill>
                <a:srgbClr val="004669"/>
              </a:solidFill>
            </a:endParaRPr>
          </a:p>
        </p:txBody>
      </p:sp>
      <p:sp>
        <p:nvSpPr>
          <p:cNvPr id="27" name="Oval 17"/>
          <p:cNvSpPr/>
          <p:nvPr/>
        </p:nvSpPr>
        <p:spPr bwMode="gray">
          <a:xfrm>
            <a:off x="124173" y="126637"/>
            <a:ext cx="252000" cy="252000"/>
          </a:xfrm>
          <a:prstGeom prst="ellipse">
            <a:avLst/>
          </a:prstGeom>
          <a:solidFill>
            <a:srgbClr val="006487"/>
          </a:solidFill>
          <a:ln>
            <a:solidFill>
              <a:srgbClr val="006487"/>
            </a:solidFill>
          </a:ln>
          <a:extLst/>
        </p:spPr>
        <p:txBody>
          <a:bodyPr lIns="0" tIns="0" rIns="0" bIns="0" rtlCol="0" anchor="ctr" anchorCtr="0"/>
          <a:lstStyle/>
          <a:p>
            <a:pPr marL="0" indent="0" algn="ctr">
              <a:spcBef>
                <a:spcPts val="0"/>
              </a:spcBef>
            </a:pPr>
            <a:r>
              <a:rPr lang="en-US" sz="1200" b="1" dirty="0" smtClean="0">
                <a:solidFill>
                  <a:srgbClr val="FFFFFF"/>
                </a:solidFill>
              </a:rPr>
              <a:t>3</a:t>
            </a:r>
          </a:p>
        </p:txBody>
      </p:sp>
    </p:spTree>
    <p:extLst>
      <p:ext uri="{BB962C8B-B14F-4D97-AF65-F5344CB8AC3E}">
        <p14:creationId xmlns:p14="http://schemas.microsoft.com/office/powerpoint/2010/main" val="11613990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5190"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3373"/>
                        <a:ext cx="1586" cy="158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Connectivity </a:t>
            </a:r>
            <a:br>
              <a:rPr lang="en-US" dirty="0" smtClean="0"/>
            </a:br>
            <a:r>
              <a:rPr lang="en-US" dirty="0" smtClean="0"/>
              <a:t>MindConnect </a:t>
            </a:r>
            <a:r>
              <a:rPr lang="en-US" dirty="0" err="1" smtClean="0"/>
              <a:t>IoT</a:t>
            </a:r>
            <a:r>
              <a:rPr lang="en-US" dirty="0" smtClean="0"/>
              <a:t> Extension (3.0)</a:t>
            </a:r>
            <a:endParaRPr lang="en-US" dirty="0"/>
          </a:p>
        </p:txBody>
      </p:sp>
      <p:sp>
        <p:nvSpPr>
          <p:cNvPr id="10" name="Rechteck 9"/>
          <p:cNvSpPr>
            <a:spLocks/>
          </p:cNvSpPr>
          <p:nvPr>
            <p:custDataLst>
              <p:tags r:id="rId3"/>
            </p:custDataLst>
          </p:nvPr>
        </p:nvSpPr>
        <p:spPr bwMode="gray">
          <a:xfrm>
            <a:off x="6959647" y="1269538"/>
            <a:ext cx="4750005" cy="5038283"/>
          </a:xfrm>
          <a:prstGeom prst="rect">
            <a:avLst/>
          </a:prstGeom>
          <a:solidFill>
            <a:srgbClr val="EBF0F5"/>
          </a:solidFill>
          <a:ln>
            <a:noFill/>
          </a:ln>
          <a:effectLst/>
          <a:extLst/>
        </p:spPr>
        <p:txBody>
          <a:bodyPr wrap="square" lIns="107944" tIns="71963" rIns="107944" bIns="71963" numCol="1" spcCol="72000" rtlCol="0" anchor="t">
            <a:noAutofit/>
          </a:bodyPr>
          <a:lstStyle>
            <a:lvl1pPr marL="179388" indent="-177800" algn="l" rtl="0" fontAlgn="base">
              <a:buClr>
                <a:schemeClr val="accent1"/>
              </a:buClr>
              <a:buChar char="•"/>
            </a:lvl1pPr>
            <a:lvl2pPr marL="179388" indent="-177800" algn="l" rtl="0" fontAlgn="base">
              <a:buClr>
                <a:schemeClr val="accent1"/>
              </a:buClr>
              <a:buChar char="•"/>
            </a:lvl2pPr>
            <a:lvl3pPr marL="358775" indent="-177800" algn="l" rtl="0" fontAlgn="base">
              <a:buClr>
                <a:schemeClr val="accent1"/>
              </a:buClr>
              <a:buChar char="•"/>
            </a:lvl3pPr>
            <a:lvl4pPr marL="538163" indent="-177800" algn="l" rtl="0" fontAlgn="base">
              <a:buClr>
                <a:schemeClr val="accent1"/>
              </a:buClr>
              <a:buChar char="•"/>
            </a:lvl4pPr>
            <a:lvl5pPr marL="717550" indent="-177800" algn="l" rtl="0" fontAlgn="base">
              <a:buClr>
                <a:schemeClr val="accent1"/>
              </a:buClr>
              <a:buChar char="•"/>
            </a:lvl5pPr>
            <a:lvl6pPr marL="1220788" indent="-188913" algn="l" rtl="0" eaLnBrk="1" fontAlgn="base" hangingPunct="1">
              <a:buClr>
                <a:schemeClr val="accent1"/>
              </a:buClr>
              <a:buFont typeface="Wingdings" charset="0"/>
              <a:buChar char="§"/>
            </a:lvl6pPr>
            <a:lvl7pPr marL="1677988" indent="-188913" algn="l" rtl="0" eaLnBrk="1" fontAlgn="base" hangingPunct="1">
              <a:buClr>
                <a:schemeClr val="accent1"/>
              </a:buClr>
              <a:buFont typeface="Wingdings" charset="0"/>
              <a:buChar char="§"/>
            </a:lvl7pPr>
            <a:lvl8pPr marL="2135188" indent="-188913" algn="l" rtl="0" eaLnBrk="1" fontAlgn="base" hangingPunct="1">
              <a:buClr>
                <a:schemeClr val="accent1"/>
              </a:buClr>
              <a:buFont typeface="Wingdings" charset="0"/>
              <a:buChar char="§"/>
            </a:lvl8pPr>
            <a:lvl9pPr marL="2592388" indent="-188913" algn="l" rtl="0" eaLnBrk="1" fontAlgn="base" hangingPunct="1">
              <a:buClr>
                <a:schemeClr val="accent1"/>
              </a:buClr>
              <a:buFont typeface="Wingdings" charset="0"/>
              <a:buChar char="§"/>
            </a:lvl9pPr>
          </a:lstStyle>
          <a:p>
            <a:pPr>
              <a:spcBef>
                <a:spcPts val="300"/>
              </a:spcBef>
              <a:buClr>
                <a:srgbClr val="3C464B"/>
              </a:buClr>
              <a:buNone/>
            </a:pPr>
            <a:r>
              <a:rPr lang="en-US" sz="1399" b="1" dirty="0" err="1">
                <a:ea typeface="Arial Unicode MS"/>
              </a:rPr>
              <a:t>MindConnect</a:t>
            </a:r>
            <a:r>
              <a:rPr lang="en-US" sz="1399" b="1" dirty="0">
                <a:ea typeface="Arial Unicode MS"/>
              </a:rPr>
              <a:t> </a:t>
            </a:r>
            <a:r>
              <a:rPr lang="en-US" sz="1399" b="1" dirty="0" err="1">
                <a:ea typeface="Arial Unicode MS"/>
              </a:rPr>
              <a:t>IoT</a:t>
            </a:r>
            <a:r>
              <a:rPr lang="en-US" sz="1399" b="1" dirty="0">
                <a:ea typeface="Arial Unicode MS"/>
              </a:rPr>
              <a:t> Extension</a:t>
            </a:r>
            <a:r>
              <a:rPr lang="en-US" sz="1399" b="1" baseline="30000" dirty="0">
                <a:ea typeface="Arial Unicode MS" panose="020B0604020202020204" pitchFamily="34" charset="-128"/>
                <a:cs typeface="Arial Unicode MS" panose="020B0604020202020204" pitchFamily="34" charset="-128"/>
              </a:rPr>
              <a:t>1)</a:t>
            </a:r>
            <a:r>
              <a:rPr lang="en-US" sz="1399" dirty="0">
                <a:ea typeface="Arial Unicode MS"/>
              </a:rPr>
              <a:t/>
            </a:r>
            <a:br>
              <a:rPr lang="en-US" sz="1399" dirty="0">
                <a:ea typeface="Arial Unicode MS"/>
              </a:rPr>
            </a:br>
            <a:r>
              <a:rPr lang="en-US" sz="1399" dirty="0">
                <a:ea typeface="Arial Unicode MS"/>
              </a:rPr>
              <a:t/>
            </a:r>
            <a:br>
              <a:rPr lang="en-US" sz="1399" dirty="0">
                <a:ea typeface="Arial Unicode MS"/>
              </a:rPr>
            </a:br>
            <a:r>
              <a:rPr lang="en-US" sz="1399" i="1" dirty="0">
                <a:ea typeface="Arial Unicode MS"/>
              </a:rPr>
              <a:t>Expand MindSphere connectivity to all machines across the production floor</a:t>
            </a:r>
          </a:p>
          <a:p>
            <a:pPr marL="285607" indent="-285607">
              <a:buFont typeface="Arial" panose="020B0604020202020204" pitchFamily="34" charset="0"/>
              <a:buChar char="•"/>
            </a:pPr>
            <a:r>
              <a:rPr lang="en-US" sz="1399" b="1" dirty="0">
                <a:ea typeface="Arial Unicode MS" panose="020B0604020202020204" pitchFamily="34" charset="-128"/>
                <a:cs typeface="Arial Unicode MS" panose="020B0604020202020204" pitchFamily="34" charset="-128"/>
              </a:rPr>
              <a:t>SW Agents</a:t>
            </a:r>
            <a:r>
              <a:rPr lang="en-US" sz="1399" dirty="0">
                <a:ea typeface="Arial Unicode MS" panose="020B0604020202020204" pitchFamily="34" charset="-128"/>
                <a:cs typeface="Arial Unicode MS" panose="020B0604020202020204" pitchFamily="34" charset="-128"/>
              </a:rPr>
              <a:t>: </a:t>
            </a:r>
            <a:r>
              <a:rPr lang="en-US" sz="1399" dirty="0"/>
              <a:t>MQTT Agent, Java Agent, C++ Agent</a:t>
            </a:r>
          </a:p>
          <a:p>
            <a:pPr marL="285607" indent="-285607">
              <a:buFont typeface="Arial" panose="020B0604020202020204" pitchFamily="34" charset="0"/>
              <a:buChar char="•"/>
            </a:pPr>
            <a:r>
              <a:rPr lang="en-US" sz="1399" b="1" dirty="0"/>
              <a:t>Agent Development</a:t>
            </a:r>
            <a:r>
              <a:rPr lang="en-US" sz="1399" dirty="0"/>
              <a:t>: REST API</a:t>
            </a:r>
          </a:p>
          <a:p>
            <a:pPr marL="285607" indent="-285607">
              <a:buFont typeface="Arial" panose="020B0604020202020204" pitchFamily="34" charset="0"/>
              <a:buChar char="•"/>
            </a:pPr>
            <a:r>
              <a:rPr lang="en-US" sz="1399" b="1" dirty="0"/>
              <a:t>Field protocols</a:t>
            </a:r>
            <a:r>
              <a:rPr lang="en-US" sz="1399" dirty="0"/>
              <a:t>: HTTP/HTTPS, TCP, VNC, MQTT / MQTT+TLS, REST, SmartRest 1.0 / 2.0, OPC-UA, Modbus/RTU, Modbus/TCP, CAN bus,</a:t>
            </a:r>
            <a:r>
              <a:rPr lang="en-US" sz="1399" dirty="0">
                <a:solidFill>
                  <a:srgbClr val="031315"/>
                </a:solidFill>
                <a:latin typeface="Helvetica"/>
                <a:ea typeface="Calibri"/>
              </a:rPr>
              <a:t> MMC, SPI, I2C, McASP, device specific protocols </a:t>
            </a:r>
            <a:endParaRPr lang="en-US" sz="1399" dirty="0"/>
          </a:p>
          <a:p>
            <a:pPr marL="285607" indent="-285607">
              <a:buFont typeface="Arial" panose="020B0604020202020204" pitchFamily="34" charset="0"/>
              <a:buChar char="•"/>
            </a:pPr>
            <a:r>
              <a:rPr lang="en-US" sz="1399" b="1" dirty="0"/>
              <a:t>Devices</a:t>
            </a:r>
            <a:r>
              <a:rPr lang="en-US" sz="1399" dirty="0"/>
              <a:t>: Adeunis LoRAWAN, BeagleBone Black, Cinterion Java Modules, CloudGate, Dell Edge Gateway, INSYS Smart Devices – INSYS OS, INSYS Smart Devices – icom OS, Janz Tec emPC A/RPI, Libelium-Mesehlium, Mbed u-blox C027, Meitrack, Netcomm, PCUA Java Gateway, OWA3x, QuecLink, RaspberryPi, Red Lion RAM, SMARTBox, Robustel, SIGFOX, SMARTBox IO, SMARTBox Mini, TC3G, Telic, TinkerForge, Tixi</a:t>
            </a:r>
          </a:p>
          <a:p>
            <a:pPr marL="285607" indent="-285607">
              <a:buFont typeface="Arial" panose="020B0604020202020204" pitchFamily="34" charset="0"/>
              <a:buChar char="•"/>
            </a:pPr>
            <a:endParaRPr lang="en-US" sz="1399" dirty="0"/>
          </a:p>
          <a:p>
            <a:pPr marL="285607" indent="-285607">
              <a:buFont typeface="Arial" panose="020B0604020202020204" pitchFamily="34" charset="0"/>
              <a:buChar char="•"/>
            </a:pPr>
            <a:endParaRPr lang="en-US" sz="1399" dirty="0"/>
          </a:p>
          <a:p>
            <a:pPr marL="285607" indent="-285607">
              <a:buFont typeface="Arial" panose="020B0604020202020204" pitchFamily="34" charset="0"/>
              <a:buChar char="•"/>
            </a:pPr>
            <a:endParaRPr lang="en-US" sz="1399" dirty="0"/>
          </a:p>
          <a:p>
            <a:pPr marL="285607" indent="-285607">
              <a:buFont typeface="Arial" panose="020B0604020202020204" pitchFamily="34" charset="0"/>
              <a:buChar char="•"/>
            </a:pPr>
            <a:endParaRPr lang="en-US" sz="1399" dirty="0"/>
          </a:p>
          <a:p>
            <a:pPr marL="1587" indent="0">
              <a:spcBef>
                <a:spcPts val="300"/>
              </a:spcBef>
              <a:buNone/>
            </a:pPr>
            <a:endParaRPr lang="en-US" sz="1799" i="1" dirty="0">
              <a:ea typeface="Arial Unicode MS"/>
            </a:endParaRPr>
          </a:p>
          <a:p>
            <a:pPr>
              <a:spcBef>
                <a:spcPts val="300"/>
              </a:spcBef>
              <a:buClr>
                <a:srgbClr val="3C464B"/>
              </a:buClr>
              <a:buNone/>
            </a:pPr>
            <a:endParaRPr lang="en-US" sz="1799" i="1" dirty="0">
              <a:ea typeface="Arial Unicode MS"/>
            </a:endParaRPr>
          </a:p>
        </p:txBody>
      </p:sp>
      <p:pic>
        <p:nvPicPr>
          <p:cNvPr id="194576" name="Picture 1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6738" y="1269538"/>
            <a:ext cx="6188968" cy="5038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71"/>
          <p:cNvSpPr txBox="1"/>
          <p:nvPr/>
        </p:nvSpPr>
        <p:spPr>
          <a:xfrm>
            <a:off x="7355485" y="6172469"/>
            <a:ext cx="2129282" cy="135352"/>
          </a:xfrm>
          <a:prstGeom prst="rect">
            <a:avLst/>
          </a:prstGeom>
          <a:noFill/>
        </p:spPr>
        <p:txBody>
          <a:bodyPr wrap="none" lIns="0" tIns="0" rIns="0" bIns="0" rtlCol="0" anchor="ctr" anchorCtr="0">
            <a:spAutoFit/>
          </a:bodyPr>
          <a:lstStyle/>
          <a:p>
            <a:pPr>
              <a:lnSpc>
                <a:spcPct val="110000"/>
              </a:lnSpc>
            </a:pPr>
            <a:r>
              <a:rPr lang="en-US" sz="800" dirty="0">
                <a:ea typeface="Arial Unicode MS" panose="020B0604020202020204" pitchFamily="34" charset="-128"/>
                <a:cs typeface="Arial Unicode MS" panose="020B0604020202020204" pitchFamily="34" charset="-128"/>
              </a:rPr>
              <a:t>1) Limited to small files and time series  values</a:t>
            </a:r>
            <a:endParaRPr lang="en-US" sz="11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672981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6214"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3373"/>
                        <a:ext cx="1586" cy="158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Connectivity</a:t>
            </a:r>
            <a:br>
              <a:rPr lang="en-US" dirty="0" smtClean="0"/>
            </a:br>
            <a:r>
              <a:rPr lang="en-US" dirty="0" err="1" smtClean="0"/>
              <a:t>MindConnect</a:t>
            </a:r>
            <a:r>
              <a:rPr lang="en-US" dirty="0" smtClean="0"/>
              <a:t> </a:t>
            </a:r>
            <a:r>
              <a:rPr lang="en-US" dirty="0"/>
              <a:t>Integration </a:t>
            </a:r>
            <a:r>
              <a:rPr lang="en-US" dirty="0" smtClean="0"/>
              <a:t>(3.0)</a:t>
            </a:r>
            <a:endParaRPr lang="en-US" dirty="0"/>
          </a:p>
        </p:txBody>
      </p:sp>
      <p:sp>
        <p:nvSpPr>
          <p:cNvPr id="10" name="Rechteck 9"/>
          <p:cNvSpPr>
            <a:spLocks/>
          </p:cNvSpPr>
          <p:nvPr>
            <p:custDataLst>
              <p:tags r:id="rId3"/>
            </p:custDataLst>
          </p:nvPr>
        </p:nvSpPr>
        <p:spPr bwMode="gray">
          <a:xfrm>
            <a:off x="6959647" y="1269539"/>
            <a:ext cx="4750005" cy="5034290"/>
          </a:xfrm>
          <a:prstGeom prst="rect">
            <a:avLst/>
          </a:prstGeom>
          <a:solidFill>
            <a:srgbClr val="EBF0F5"/>
          </a:solidFill>
          <a:ln>
            <a:noFill/>
          </a:ln>
          <a:effectLst/>
          <a:extLst/>
        </p:spPr>
        <p:txBody>
          <a:bodyPr wrap="square" lIns="107944" tIns="71963" rIns="107944" bIns="71963" numCol="1" spcCol="72000" rtlCol="0" anchor="t">
            <a:noAutofit/>
          </a:bodyPr>
          <a:lstStyle>
            <a:lvl1pPr marL="179388" indent="-177800" algn="l" rtl="0" fontAlgn="base">
              <a:buClr>
                <a:schemeClr val="accent1"/>
              </a:buClr>
              <a:buChar char="•"/>
            </a:lvl1pPr>
            <a:lvl2pPr marL="179388" indent="-177800" algn="l" rtl="0" fontAlgn="base">
              <a:buClr>
                <a:schemeClr val="accent1"/>
              </a:buClr>
              <a:buChar char="•"/>
            </a:lvl2pPr>
            <a:lvl3pPr marL="358775" indent="-177800" algn="l" rtl="0" fontAlgn="base">
              <a:buClr>
                <a:schemeClr val="accent1"/>
              </a:buClr>
              <a:buChar char="•"/>
            </a:lvl3pPr>
            <a:lvl4pPr marL="538163" indent="-177800" algn="l" rtl="0" fontAlgn="base">
              <a:buClr>
                <a:schemeClr val="accent1"/>
              </a:buClr>
              <a:buChar char="•"/>
            </a:lvl4pPr>
            <a:lvl5pPr marL="717550" indent="-177800" algn="l" rtl="0" fontAlgn="base">
              <a:buClr>
                <a:schemeClr val="accent1"/>
              </a:buClr>
              <a:buChar char="•"/>
            </a:lvl5pPr>
            <a:lvl6pPr marL="1220788" indent="-188913" algn="l" rtl="0" eaLnBrk="1" fontAlgn="base" hangingPunct="1">
              <a:buClr>
                <a:schemeClr val="accent1"/>
              </a:buClr>
              <a:buFont typeface="Wingdings" charset="0"/>
              <a:buChar char="§"/>
            </a:lvl6pPr>
            <a:lvl7pPr marL="1677988" indent="-188913" algn="l" rtl="0" eaLnBrk="1" fontAlgn="base" hangingPunct="1">
              <a:buClr>
                <a:schemeClr val="accent1"/>
              </a:buClr>
              <a:buFont typeface="Wingdings" charset="0"/>
              <a:buChar char="§"/>
            </a:lvl7pPr>
            <a:lvl8pPr marL="2135188" indent="-188913" algn="l" rtl="0" eaLnBrk="1" fontAlgn="base" hangingPunct="1">
              <a:buClr>
                <a:schemeClr val="accent1"/>
              </a:buClr>
              <a:buFont typeface="Wingdings" charset="0"/>
              <a:buChar char="§"/>
            </a:lvl8pPr>
            <a:lvl9pPr marL="2592388" indent="-188913" algn="l" rtl="0" eaLnBrk="1" fontAlgn="base" hangingPunct="1">
              <a:buClr>
                <a:schemeClr val="accent1"/>
              </a:buClr>
              <a:buFont typeface="Wingdings" charset="0"/>
              <a:buChar char="§"/>
            </a:lvl9pPr>
          </a:lstStyle>
          <a:p>
            <a:pPr>
              <a:spcBef>
                <a:spcPts val="300"/>
              </a:spcBef>
              <a:buClr>
                <a:srgbClr val="3C464B"/>
              </a:buClr>
              <a:buNone/>
            </a:pPr>
            <a:r>
              <a:rPr lang="en-US" sz="1399" b="1" dirty="0" err="1">
                <a:ea typeface="Arial Unicode MS"/>
              </a:rPr>
              <a:t>MindConnect</a:t>
            </a:r>
            <a:r>
              <a:rPr lang="en-US" sz="1399" b="1" dirty="0">
                <a:ea typeface="Arial Unicode MS"/>
              </a:rPr>
              <a:t> Integration</a:t>
            </a:r>
            <a:r>
              <a:rPr lang="en-US" sz="1399" b="1" baseline="30000" dirty="0">
                <a:ea typeface="Arial Unicode MS" panose="020B0604020202020204" pitchFamily="34" charset="-128"/>
                <a:cs typeface="Arial Unicode MS" panose="020B0604020202020204" pitchFamily="34" charset="-128"/>
              </a:rPr>
              <a:t>1)</a:t>
            </a:r>
            <a:r>
              <a:rPr lang="en-US" sz="1399" dirty="0">
                <a:ea typeface="Arial Unicode MS"/>
              </a:rPr>
              <a:t/>
            </a:r>
            <a:br>
              <a:rPr lang="en-US" sz="1399" dirty="0">
                <a:ea typeface="Arial Unicode MS"/>
              </a:rPr>
            </a:br>
            <a:r>
              <a:rPr lang="en-US" sz="1399" dirty="0">
                <a:ea typeface="Arial Unicode MS"/>
              </a:rPr>
              <a:t/>
            </a:r>
            <a:br>
              <a:rPr lang="en-US" sz="1399" dirty="0">
                <a:ea typeface="Arial Unicode MS"/>
              </a:rPr>
            </a:br>
            <a:r>
              <a:rPr lang="en-US" sz="1399" i="1" dirty="0">
                <a:ea typeface="Arial Unicode MS"/>
              </a:rPr>
              <a:t>Establish connectivity with existing databases and enterprise systems to open new avenues of analysis</a:t>
            </a:r>
            <a:endParaRPr lang="en-US" sz="1799" i="1" dirty="0">
              <a:ea typeface="Arial Unicode MS"/>
            </a:endParaRPr>
          </a:p>
          <a:p>
            <a:pPr marL="285607" indent="-285607">
              <a:buFont typeface="Arial" panose="020B0604020202020204" pitchFamily="34" charset="0"/>
              <a:buChar char="•"/>
            </a:pPr>
            <a:r>
              <a:rPr lang="en-US" sz="1399" b="1" dirty="0">
                <a:ea typeface="Arial Unicode MS" panose="020B0604020202020204" pitchFamily="34" charset="-128"/>
                <a:cs typeface="Arial Unicode MS" panose="020B0604020202020204" pitchFamily="34" charset="-128"/>
              </a:rPr>
              <a:t>Cloud connectors: </a:t>
            </a:r>
            <a:r>
              <a:rPr lang="en-US" sz="1399" dirty="0"/>
              <a:t>FTP(S), SOAP, REST, OData 2.0, OData 4.0,</a:t>
            </a:r>
            <a:r>
              <a:rPr lang="en-US" sz="1399" b="1" dirty="0"/>
              <a:t> </a:t>
            </a:r>
            <a:r>
              <a:rPr lang="en-US" sz="1399" dirty="0"/>
              <a:t>Alfabet, Cumulocity, Apps, BigQuery, Calendar, Cloud Storage, Contacts, Drive, Cloud Pub/Sub, Sheets,S3, SNS, SQS, Apache Solr, AvaTax, Concur, Coupa, Magento, Marketo, Microsoft Dynamics, NetSuite, SAP cloud, SAP Hana Marketing Cloud, Salesforce, Salesforce CRM, ServiceNow, Slack, StrikeIron, SuccesFactors, SugarCRM, Zendesk</a:t>
            </a:r>
            <a:endParaRPr lang="en-US" sz="1799" dirty="0">
              <a:ea typeface="Arial Unicode MS" panose="020B0604020202020204" pitchFamily="34" charset="-128"/>
              <a:cs typeface="Arial Unicode MS" panose="020B0604020202020204" pitchFamily="34" charset="-128"/>
            </a:endParaRPr>
          </a:p>
          <a:p>
            <a:pPr marL="285607" indent="-285607">
              <a:buFont typeface="Arial" panose="020B0604020202020204" pitchFamily="34" charset="0"/>
              <a:buChar char="•"/>
            </a:pPr>
            <a:r>
              <a:rPr lang="en-US" sz="1399" b="1" dirty="0">
                <a:ea typeface="Arial Unicode MS" panose="020B0604020202020204" pitchFamily="34" charset="-128"/>
                <a:cs typeface="Arial Unicode MS" panose="020B0604020202020204" pitchFamily="34" charset="-128"/>
              </a:rPr>
              <a:t>On premise connectors: </a:t>
            </a:r>
            <a:r>
              <a:rPr lang="en-US" sz="1399" dirty="0"/>
              <a:t>Ariba, OnRamp, LotusNotes, OFTP, Oracle, PeopleSoft, Remedy, SAP, SAP XI, Siebel, AS/400, JavaBeans, JDBC, Apache HIVE, MongoDB, Cassandra, HDFS, Apache Impala, Apache WebSphereMQ, Tuxedo, MSMQ,  Apache Kafka</a:t>
            </a:r>
          </a:p>
          <a:p>
            <a:pPr>
              <a:spcBef>
                <a:spcPts val="300"/>
              </a:spcBef>
            </a:pPr>
            <a:endParaRPr lang="en-US" sz="1399" b="1" i="1" dirty="0">
              <a:ea typeface="Arial Unicode MS"/>
            </a:endParaRPr>
          </a:p>
        </p:txBody>
      </p:sp>
      <p:pic>
        <p:nvPicPr>
          <p:cNvPr id="21401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6353" y="1269539"/>
            <a:ext cx="6198402" cy="50342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71"/>
          <p:cNvSpPr txBox="1"/>
          <p:nvPr/>
        </p:nvSpPr>
        <p:spPr>
          <a:xfrm>
            <a:off x="7355485" y="6172469"/>
            <a:ext cx="2129282" cy="135352"/>
          </a:xfrm>
          <a:prstGeom prst="rect">
            <a:avLst/>
          </a:prstGeom>
          <a:noFill/>
        </p:spPr>
        <p:txBody>
          <a:bodyPr wrap="none" lIns="0" tIns="0" rIns="0" bIns="0" rtlCol="0" anchor="ctr" anchorCtr="0">
            <a:spAutoFit/>
          </a:bodyPr>
          <a:lstStyle/>
          <a:p>
            <a:pPr>
              <a:lnSpc>
                <a:spcPct val="110000"/>
              </a:lnSpc>
            </a:pPr>
            <a:r>
              <a:rPr lang="en-US" sz="800" dirty="0">
                <a:ea typeface="Arial Unicode MS" panose="020B0604020202020204" pitchFamily="34" charset="-128"/>
                <a:cs typeface="Arial Unicode MS" panose="020B0604020202020204" pitchFamily="34" charset="-128"/>
              </a:rPr>
              <a:t>1) Limited to small files and time series  values</a:t>
            </a:r>
            <a:endParaRPr lang="en-US" sz="11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9586390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solidFill>
                  <a:srgbClr val="00646E"/>
                </a:solidFill>
              </a:rPr>
              <a:t>MindConnect</a:t>
            </a:r>
            <a:r>
              <a:rPr lang="de-DE" dirty="0" smtClean="0">
                <a:solidFill>
                  <a:srgbClr val="00646E"/>
                </a:solidFill>
              </a:rPr>
              <a:t> Device Training</a:t>
            </a:r>
            <a:r>
              <a:rPr lang="de-DE" dirty="0">
                <a:solidFill>
                  <a:srgbClr val="00646E"/>
                </a:solidFill>
              </a:rPr>
              <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286031"/>
            <a:ext cx="4732072"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err="1" smtClean="0"/>
              <a:t>MindConnect</a:t>
            </a:r>
            <a:r>
              <a:rPr lang="en-US" sz="2000" b="0" dirty="0" smtClean="0"/>
              <a:t> concept</a:t>
            </a:r>
          </a:p>
          <a:p>
            <a:pPr marL="324000" indent="-285750">
              <a:buFont typeface="Arial" panose="020B0604020202020204" pitchFamily="34" charset="0"/>
              <a:buChar char="•"/>
            </a:pPr>
            <a:r>
              <a:rPr lang="en-US" sz="2000" b="0" dirty="0" smtClean="0"/>
              <a:t>Evaluate </a:t>
            </a:r>
            <a:r>
              <a:rPr lang="en-US" sz="2000" b="0" dirty="0"/>
              <a:t>the connectivity </a:t>
            </a:r>
            <a:r>
              <a:rPr lang="en-US" sz="2000" b="0" dirty="0" smtClean="0"/>
              <a:t>requirements</a:t>
            </a:r>
          </a:p>
          <a:p>
            <a:pPr marL="324000" indent="-285750">
              <a:buFont typeface="Arial" panose="020B0604020202020204" pitchFamily="34" charset="0"/>
              <a:buChar char="•"/>
            </a:pPr>
            <a:r>
              <a:rPr lang="en-US" sz="2000" b="0" dirty="0" smtClean="0"/>
              <a:t>Select </a:t>
            </a:r>
            <a:r>
              <a:rPr lang="en-US" sz="2000" b="0" dirty="0"/>
              <a:t>the most suitable </a:t>
            </a:r>
            <a:r>
              <a:rPr lang="en-US" sz="2000" b="0" dirty="0" err="1"/>
              <a:t>MindConnect</a:t>
            </a:r>
            <a:r>
              <a:rPr lang="en-US" sz="2000" b="0" dirty="0"/>
              <a:t> option </a:t>
            </a:r>
            <a:endParaRPr lang="en-US" sz="2000" b="0" dirty="0" smtClean="0"/>
          </a:p>
          <a:p>
            <a:pPr marL="324000" indent="-285750">
              <a:buFont typeface="Arial" panose="020B0604020202020204" pitchFamily="34" charset="0"/>
              <a:buChar char="•"/>
            </a:pPr>
            <a:r>
              <a:rPr lang="en-US" sz="2000" b="0" dirty="0" smtClean="0"/>
              <a:t>Configure </a:t>
            </a:r>
            <a:r>
              <a:rPr lang="en-US" sz="2000" b="0" dirty="0" err="1"/>
              <a:t>MindConnect</a:t>
            </a:r>
            <a:r>
              <a:rPr lang="en-US" sz="2000" b="0" dirty="0"/>
              <a:t> elements in TIA-Portal using S7/ OPC UA protocols, OPC UA server and MindSphere</a:t>
            </a:r>
          </a:p>
        </p:txBody>
      </p:sp>
      <p:sp>
        <p:nvSpPr>
          <p:cNvPr id="5" name="Line Callout 2 4"/>
          <p:cNvSpPr/>
          <p:nvPr/>
        </p:nvSpPr>
        <p:spPr bwMode="auto">
          <a:xfrm flipH="1">
            <a:off x="626737" y="1680633"/>
            <a:ext cx="3391810" cy="1806845"/>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a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are</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the</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MindConnect</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elements</a:t>
            </a: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 </a:t>
            </a:r>
            <a:endParaRPr lang="de-DE" b="1" dirty="0" smtClean="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err="1" smtClean="0">
                <a:solidFill>
                  <a:srgbClr val="FFFFFF"/>
                </a:solidFill>
                <a:ea typeface="Arial Unicode MS" panose="020B0604020202020204" pitchFamily="34" charset="-128"/>
                <a:cs typeface="Arial Unicode MS" panose="020B0604020202020204" pitchFamily="34" charset="-128"/>
              </a:rPr>
              <a:t>how</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to</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get</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connected</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to</a:t>
            </a:r>
            <a:r>
              <a:rPr lang="de-DE" b="1" dirty="0" smtClean="0">
                <a:solidFill>
                  <a:srgbClr val="FFFFFF"/>
                </a:solidFill>
                <a:ea typeface="Arial Unicode MS" panose="020B0604020202020204" pitchFamily="34" charset="-128"/>
                <a:cs typeface="Arial Unicode MS" panose="020B0604020202020204" pitchFamily="34" charset="-128"/>
              </a:rPr>
              <a:t> MindSphere?</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98588842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3"/>
          <p:cNvSpPr txBox="1">
            <a:spLocks/>
          </p:cNvSpPr>
          <p:nvPr/>
        </p:nvSpPr>
        <p:spPr bwMode="auto">
          <a:xfrm>
            <a:off x="626755" y="419168"/>
            <a:ext cx="8203065" cy="852756"/>
          </a:xfrm>
          <a:prstGeom prst="rect">
            <a:avLst/>
          </a:prstGeom>
          <a:noFill/>
          <a:ln w="9525">
            <a:noFill/>
            <a:miter lim="800000"/>
            <a:headEnd/>
            <a:tailEnd/>
          </a:ln>
        </p:spPr>
        <p:txBody>
          <a:bodyPr vert="horz" wrap="square" lIns="0" tIns="0" rIns="0" bIns="233878" numCol="1" anchor="b" anchorCtr="0" compatLnSpc="1">
            <a:prstTxWarp prst="textNoShape">
              <a:avLst/>
            </a:prstTxWarp>
            <a:noAutofit/>
          </a:bodyPr>
          <a:lstStyle>
            <a:lvl1pPr algn="l" rtl="0" fontAlgn="base">
              <a:spcBef>
                <a:spcPct val="0"/>
              </a:spcBef>
              <a:spcAft>
                <a:spcPct val="0"/>
              </a:spcAft>
              <a:defRPr sz="2000" b="1" baseline="0">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1999" dirty="0" smtClean="0">
                <a:solidFill>
                  <a:srgbClr val="00646E"/>
                </a:solidFill>
              </a:rPr>
              <a:t>Connecting </a:t>
            </a:r>
            <a:r>
              <a:rPr lang="en-US" sz="1999" dirty="0">
                <a:solidFill>
                  <a:srgbClr val="00646E"/>
                </a:solidFill>
              </a:rPr>
              <a:t>Assets to MindSphere: </a:t>
            </a:r>
            <a:r>
              <a:rPr lang="en-US" sz="1999" dirty="0" err="1">
                <a:solidFill>
                  <a:srgbClr val="00646E"/>
                </a:solidFill>
              </a:rPr>
              <a:t>MindConnect</a:t>
            </a:r>
            <a:endParaRPr lang="en-US" sz="1999" dirty="0">
              <a:solidFill>
                <a:srgbClr val="00646E"/>
              </a:solidFill>
            </a:endParaRPr>
          </a:p>
        </p:txBody>
      </p:sp>
      <p:cxnSp>
        <p:nvCxnSpPr>
          <p:cNvPr id="67" name="Gerade Verbindung 66"/>
          <p:cNvCxnSpPr/>
          <p:nvPr/>
        </p:nvCxnSpPr>
        <p:spPr bwMode="auto">
          <a:xfrm>
            <a:off x="633031" y="2315912"/>
            <a:ext cx="10614472" cy="0"/>
          </a:xfrm>
          <a:prstGeom prst="line">
            <a:avLst/>
          </a:prstGeom>
          <a:solidFill>
            <a:schemeClr val="tx2"/>
          </a:solidFill>
          <a:ln w="19050" cap="flat" cmpd="sng" algn="ctr">
            <a:solidFill>
              <a:srgbClr val="2387AA"/>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60" name="Grafik 59"/>
          <p:cNvPicPr>
            <a:picLocks noChangeAspect="1"/>
          </p:cNvPicPr>
          <p:nvPr/>
        </p:nvPicPr>
        <p:blipFill rotWithShape="1">
          <a:blip r:embed="rId4" cstate="print">
            <a:extLst>
              <a:ext uri="{28A0092B-C50C-407E-A947-70E740481C1C}">
                <a14:useLocalDpi xmlns:a14="http://schemas.microsoft.com/office/drawing/2010/main" val="0"/>
              </a:ext>
            </a:extLst>
          </a:blip>
          <a:srcRect l="20456" r="20456"/>
          <a:stretch/>
        </p:blipFill>
        <p:spPr>
          <a:xfrm>
            <a:off x="1011833" y="2521554"/>
            <a:ext cx="640974" cy="611681"/>
          </a:xfrm>
          <a:prstGeom prst="rect">
            <a:avLst/>
          </a:prstGeom>
        </p:spPr>
      </p:pic>
      <p:sp>
        <p:nvSpPr>
          <p:cNvPr id="73" name="Textfeld 72"/>
          <p:cNvSpPr txBox="1"/>
          <p:nvPr/>
        </p:nvSpPr>
        <p:spPr>
          <a:xfrm>
            <a:off x="2097432" y="2374462"/>
            <a:ext cx="9428138" cy="904392"/>
          </a:xfrm>
          <a:prstGeom prst="rect">
            <a:avLst/>
          </a:prstGeom>
          <a:noFill/>
        </p:spPr>
        <p:txBody>
          <a:bodyPr vert="horz" wrap="square" lIns="0" tIns="0" rIns="0" bIns="0" rtlCol="0">
            <a:spAutoFit/>
          </a:bodyPr>
          <a:lstStyle/>
          <a:p>
            <a:pPr fontAlgn="base">
              <a:spcAft>
                <a:spcPts val="600"/>
              </a:spcAft>
            </a:pPr>
            <a:r>
              <a:rPr lang="en-US" sz="1599" b="1" dirty="0">
                <a:solidFill>
                  <a:srgbClr val="3C464B"/>
                </a:solidFill>
                <a:latin typeface="Arial"/>
                <a:ea typeface="Arial Unicode MS" panose="020B0604020202020204" pitchFamily="34" charset="-128"/>
                <a:cs typeface="Arial Unicode MS" panose="020B0604020202020204" pitchFamily="34" charset="-128"/>
              </a:rPr>
              <a:t>MindConnect API/LIB</a:t>
            </a:r>
          </a:p>
          <a:p>
            <a:pPr marL="0" lvl="1">
              <a:lnSpc>
                <a:spcPct val="90000"/>
              </a:lnSpc>
            </a:pPr>
            <a:r>
              <a:rPr lang="en-US" sz="1399" dirty="0">
                <a:solidFill>
                  <a:srgbClr val="3C464B"/>
                </a:solidFill>
              </a:rPr>
              <a:t>For assets which can not be </a:t>
            </a:r>
            <a:r>
              <a:rPr lang="en-US" sz="1399" dirty="0" err="1">
                <a:solidFill>
                  <a:srgbClr val="3C464B"/>
                </a:solidFill>
              </a:rPr>
              <a:t>onboarded</a:t>
            </a:r>
            <a:r>
              <a:rPr lang="en-US" sz="1399" dirty="0">
                <a:solidFill>
                  <a:srgbClr val="3C464B"/>
                </a:solidFill>
              </a:rPr>
              <a:t> from scratch, the MindConnect API enables self programming of own connectivity agents and use further modules like Agent Management, Firmware Updates, etc. The MindConnect LIB provides an application example to facilitate the development of connectivity agents using the MindConnect API.</a:t>
            </a:r>
            <a:endParaRPr lang="en-US" sz="1399" b="1" dirty="0">
              <a:solidFill>
                <a:srgbClr val="3C464B"/>
              </a:solidFill>
              <a:latin typeface="Arial"/>
              <a:ea typeface="Arial Unicode MS" panose="020B0604020202020204" pitchFamily="34" charset="-128"/>
              <a:cs typeface="Arial Unicode MS" panose="020B0604020202020204" pitchFamily="34" charset="-128"/>
            </a:endParaRPr>
          </a:p>
        </p:txBody>
      </p:sp>
      <p:cxnSp>
        <p:nvCxnSpPr>
          <p:cNvPr id="68" name="Gerade Verbindung 67"/>
          <p:cNvCxnSpPr/>
          <p:nvPr/>
        </p:nvCxnSpPr>
        <p:spPr bwMode="auto">
          <a:xfrm>
            <a:off x="633031" y="3338877"/>
            <a:ext cx="10614472" cy="0"/>
          </a:xfrm>
          <a:prstGeom prst="line">
            <a:avLst/>
          </a:prstGeom>
          <a:solidFill>
            <a:schemeClr val="tx2"/>
          </a:solidFill>
          <a:ln w="19050" cap="flat" cmpd="sng" algn="ctr">
            <a:solidFill>
              <a:srgbClr val="2387AA"/>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6" name="Grafik 55"/>
          <p:cNvPicPr>
            <a:picLocks noChangeAspect="1"/>
          </p:cNvPicPr>
          <p:nvPr/>
        </p:nvPicPr>
        <p:blipFill rotWithShape="1">
          <a:blip r:embed="rId5" cstate="print">
            <a:extLst>
              <a:ext uri="{28A0092B-C50C-407E-A947-70E740481C1C}">
                <a14:useLocalDpi xmlns:a14="http://schemas.microsoft.com/office/drawing/2010/main" val="0"/>
              </a:ext>
            </a:extLst>
          </a:blip>
          <a:srcRect l="16696" r="16696"/>
          <a:stretch/>
        </p:blipFill>
        <p:spPr>
          <a:xfrm>
            <a:off x="966253" y="3544519"/>
            <a:ext cx="722541" cy="611681"/>
          </a:xfrm>
          <a:prstGeom prst="rect">
            <a:avLst/>
          </a:prstGeom>
        </p:spPr>
      </p:pic>
      <p:sp>
        <p:nvSpPr>
          <p:cNvPr id="74" name="Textfeld 73"/>
          <p:cNvSpPr txBox="1"/>
          <p:nvPr/>
        </p:nvSpPr>
        <p:spPr>
          <a:xfrm>
            <a:off x="2097432" y="3477092"/>
            <a:ext cx="7916757" cy="753660"/>
          </a:xfrm>
          <a:prstGeom prst="rect">
            <a:avLst/>
          </a:prstGeom>
          <a:noFill/>
        </p:spPr>
        <p:txBody>
          <a:bodyPr vert="horz" wrap="square" lIns="0" tIns="0" rIns="0" bIns="0" rtlCol="0">
            <a:spAutoFit/>
          </a:bodyPr>
          <a:lstStyle/>
          <a:p>
            <a:pPr fontAlgn="base">
              <a:spcAft>
                <a:spcPts val="600"/>
              </a:spcAft>
            </a:pPr>
            <a:r>
              <a:rPr lang="en-US" sz="1599" b="1" dirty="0">
                <a:solidFill>
                  <a:srgbClr val="3C464B"/>
                </a:solidFill>
                <a:latin typeface="Arial"/>
                <a:ea typeface="Arial Unicode MS" panose="020B0604020202020204" pitchFamily="34" charset="-128"/>
                <a:cs typeface="Arial Unicode MS" panose="020B0604020202020204" pitchFamily="34" charset="-128"/>
              </a:rPr>
              <a:t>MindConnect Edge Analytics</a:t>
            </a:r>
          </a:p>
          <a:p>
            <a:pPr marL="0" lvl="1"/>
            <a:r>
              <a:rPr lang="en-US" sz="1399" dirty="0">
                <a:solidFill>
                  <a:srgbClr val="3C464B"/>
                </a:solidFill>
              </a:rPr>
              <a:t>Collect data at higher sampling rates and utilizing X-Tools as a collector and pre-processor for high dynamic signals.</a:t>
            </a:r>
            <a:endParaRPr lang="en-US" sz="1399" b="1" dirty="0">
              <a:solidFill>
                <a:srgbClr val="3C464B"/>
              </a:solidFill>
              <a:latin typeface="Arial"/>
              <a:ea typeface="Arial Unicode MS" panose="020B0604020202020204" pitchFamily="34" charset="-128"/>
              <a:cs typeface="Arial Unicode MS" panose="020B0604020202020204" pitchFamily="34" charset="-128"/>
            </a:endParaRPr>
          </a:p>
        </p:txBody>
      </p:sp>
      <p:cxnSp>
        <p:nvCxnSpPr>
          <p:cNvPr id="69" name="Gerade Verbindung 68"/>
          <p:cNvCxnSpPr/>
          <p:nvPr/>
        </p:nvCxnSpPr>
        <p:spPr bwMode="auto">
          <a:xfrm>
            <a:off x="633031" y="4361842"/>
            <a:ext cx="10614472" cy="0"/>
          </a:xfrm>
          <a:prstGeom prst="line">
            <a:avLst/>
          </a:prstGeom>
          <a:solidFill>
            <a:schemeClr val="tx2"/>
          </a:solidFill>
          <a:ln w="19050" cap="flat" cmpd="sng" algn="ctr">
            <a:solidFill>
              <a:srgbClr val="2387AA"/>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4" name="Picture 2" descr="U:\CS_VS\DS_TS\22_Marketing\01______OBD\01_CREATIVE\02_UI\Icons\01_Icons\01_In Verwendung\MindConnect_Extension\Extension StoreStyle-128.png"/>
          <p:cNvPicPr>
            <a:picLocks noChangeAspect="1" noChangeArrowheads="1"/>
          </p:cNvPicPr>
          <p:nvPr/>
        </p:nvPicPr>
        <p:blipFill rotWithShape="1">
          <a:blip r:embed="rId6">
            <a:extLst>
              <a:ext uri="{28A0092B-C50C-407E-A947-70E740481C1C}">
                <a14:useLocalDpi xmlns:a14="http://schemas.microsoft.com/office/drawing/2010/main" val="0"/>
              </a:ext>
            </a:extLst>
          </a:blip>
          <a:srcRect t="10189" b="13724"/>
          <a:stretch/>
        </p:blipFill>
        <p:spPr bwMode="auto">
          <a:xfrm>
            <a:off x="1028203" y="4567484"/>
            <a:ext cx="611681" cy="465410"/>
          </a:xfrm>
          <a:prstGeom prst="rect">
            <a:avLst/>
          </a:prstGeom>
          <a:noFill/>
          <a:extLst>
            <a:ext uri="{909E8E84-426E-40DD-AFC4-6F175D3DCCD1}">
              <a14:hiddenFill xmlns:a14="http://schemas.microsoft.com/office/drawing/2010/main">
                <a:solidFill>
                  <a:srgbClr val="FFFFFF"/>
                </a:solidFill>
              </a14:hiddenFill>
            </a:ext>
          </a:extLst>
        </p:spPr>
      </p:pic>
      <p:sp>
        <p:nvSpPr>
          <p:cNvPr id="75" name="Textfeld 74"/>
          <p:cNvSpPr txBox="1"/>
          <p:nvPr/>
        </p:nvSpPr>
        <p:spPr>
          <a:xfrm>
            <a:off x="2097433" y="4425708"/>
            <a:ext cx="9140255" cy="753660"/>
          </a:xfrm>
          <a:prstGeom prst="rect">
            <a:avLst/>
          </a:prstGeom>
          <a:noFill/>
        </p:spPr>
        <p:txBody>
          <a:bodyPr vert="horz" wrap="square" lIns="0" tIns="0" rIns="0" bIns="0" rtlCol="0">
            <a:spAutoFit/>
          </a:bodyPr>
          <a:lstStyle/>
          <a:p>
            <a:pPr fontAlgn="base">
              <a:spcAft>
                <a:spcPts val="600"/>
              </a:spcAft>
            </a:pPr>
            <a:r>
              <a:rPr lang="en-US" sz="1599" b="1" dirty="0">
                <a:solidFill>
                  <a:srgbClr val="3C464B"/>
                </a:solidFill>
                <a:latin typeface="Arial"/>
                <a:ea typeface="Arial Unicode MS" panose="020B0604020202020204" pitchFamily="34" charset="-128"/>
                <a:cs typeface="Arial Unicode MS" panose="020B0604020202020204" pitchFamily="34" charset="-128"/>
              </a:rPr>
              <a:t>MindConnect IoT Extension</a:t>
            </a:r>
          </a:p>
          <a:p>
            <a:r>
              <a:rPr lang="en-US" sz="1399" dirty="0">
                <a:solidFill>
                  <a:srgbClr val="3C464B"/>
                </a:solidFill>
              </a:rPr>
              <a:t>Extend the range of IoT devices that can easily be connected to MindSphere (e.g. Raspberry Pi, SIGFOX, Dell Edge GW) or use further adaptable software-agents (e.g. MQTT, Java, C++ agents) on your custom device.</a:t>
            </a:r>
          </a:p>
        </p:txBody>
      </p:sp>
      <p:cxnSp>
        <p:nvCxnSpPr>
          <p:cNvPr id="70" name="Gerade Verbindung 69"/>
          <p:cNvCxnSpPr/>
          <p:nvPr/>
        </p:nvCxnSpPr>
        <p:spPr bwMode="auto">
          <a:xfrm>
            <a:off x="633031" y="5238536"/>
            <a:ext cx="10614472" cy="0"/>
          </a:xfrm>
          <a:prstGeom prst="line">
            <a:avLst/>
          </a:prstGeom>
          <a:solidFill>
            <a:schemeClr val="tx2"/>
          </a:solidFill>
          <a:ln w="19050" cap="flat" cmpd="sng" algn="ctr">
            <a:solidFill>
              <a:srgbClr val="2387AA"/>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2" name="Picture 3" descr="U:\CS_VS\DS_TS\22_Marketing\01______OBD\01_CREATIVE\02_UI\Icons\01_Icons\01_In Verwendung\MindConnect_Integration\Integration StoreStyle-12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8203" y="5444175"/>
            <a:ext cx="611681" cy="611681"/>
          </a:xfrm>
          <a:prstGeom prst="rect">
            <a:avLst/>
          </a:prstGeom>
          <a:noFill/>
          <a:extLst>
            <a:ext uri="{909E8E84-426E-40DD-AFC4-6F175D3DCCD1}">
              <a14:hiddenFill xmlns:a14="http://schemas.microsoft.com/office/drawing/2010/main">
                <a:solidFill>
                  <a:srgbClr val="FFFFFF"/>
                </a:solidFill>
              </a14:hiddenFill>
            </a:ext>
          </a:extLst>
        </p:spPr>
      </p:pic>
      <p:sp>
        <p:nvSpPr>
          <p:cNvPr id="76" name="Textfeld 75"/>
          <p:cNvSpPr txBox="1"/>
          <p:nvPr/>
        </p:nvSpPr>
        <p:spPr>
          <a:xfrm>
            <a:off x="2065651" y="5355818"/>
            <a:ext cx="8780403" cy="968983"/>
          </a:xfrm>
          <a:prstGeom prst="rect">
            <a:avLst/>
          </a:prstGeom>
          <a:noFill/>
        </p:spPr>
        <p:txBody>
          <a:bodyPr vert="horz" wrap="square" lIns="0" tIns="0" rIns="0" bIns="0" rtlCol="0">
            <a:spAutoFit/>
          </a:bodyPr>
          <a:lstStyle/>
          <a:p>
            <a:pPr fontAlgn="base">
              <a:spcAft>
                <a:spcPts val="600"/>
              </a:spcAft>
            </a:pPr>
            <a:r>
              <a:rPr lang="en-US" sz="1599" b="1" dirty="0">
                <a:solidFill>
                  <a:srgbClr val="3C464B"/>
                </a:solidFill>
                <a:latin typeface="Arial"/>
                <a:ea typeface="Arial Unicode MS" panose="020B0604020202020204" pitchFamily="34" charset="-128"/>
                <a:cs typeface="Arial Unicode MS" panose="020B0604020202020204" pitchFamily="34" charset="-128"/>
              </a:rPr>
              <a:t>MindConnect Integration</a:t>
            </a:r>
          </a:p>
          <a:p>
            <a:r>
              <a:rPr lang="en-US" sz="1399" dirty="0">
                <a:solidFill>
                  <a:srgbClr val="3C464B"/>
                </a:solidFill>
              </a:rPr>
              <a:t>Integrate cloud-based </a:t>
            </a:r>
            <a:r>
              <a:rPr lang="en-US" sz="1399" dirty="0" smtClean="0">
                <a:solidFill>
                  <a:srgbClr val="3C464B"/>
                </a:solidFill>
              </a:rPr>
              <a:t>(e.g. Salesforce.com and </a:t>
            </a:r>
            <a:r>
              <a:rPr lang="en-US" sz="1399" dirty="0" err="1">
                <a:solidFill>
                  <a:srgbClr val="3C464B"/>
                </a:solidFill>
              </a:rPr>
              <a:t>on-premise</a:t>
            </a:r>
            <a:r>
              <a:rPr lang="en-US" sz="1399" dirty="0">
                <a:solidFill>
                  <a:srgbClr val="3C464B"/>
                </a:solidFill>
              </a:rPr>
              <a:t> based enterprise and data (e.g. historian server or SCADA systems) systems to MindSphere and enrich your data model with an extensive range of additional context </a:t>
            </a:r>
            <a:r>
              <a:rPr lang="en-US" sz="1399" dirty="0" smtClean="0">
                <a:solidFill>
                  <a:srgbClr val="3C464B"/>
                </a:solidFill>
              </a:rPr>
              <a:t>data.</a:t>
            </a:r>
            <a:endParaRPr lang="en-US" sz="1399" dirty="0">
              <a:solidFill>
                <a:srgbClr val="3C464B"/>
              </a:solidFill>
            </a:endParaRPr>
          </a:p>
        </p:txBody>
      </p:sp>
      <p:cxnSp>
        <p:nvCxnSpPr>
          <p:cNvPr id="77" name="Gerade Verbindung 76"/>
          <p:cNvCxnSpPr/>
          <p:nvPr/>
        </p:nvCxnSpPr>
        <p:spPr bwMode="auto">
          <a:xfrm>
            <a:off x="633031" y="1276735"/>
            <a:ext cx="10614472" cy="0"/>
          </a:xfrm>
          <a:prstGeom prst="line">
            <a:avLst/>
          </a:prstGeom>
          <a:solidFill>
            <a:schemeClr val="tx2"/>
          </a:solidFill>
          <a:ln w="19050" cap="flat" cmpd="sng" algn="ctr">
            <a:solidFill>
              <a:srgbClr val="2387AA"/>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1" name="Textfeld 70"/>
          <p:cNvSpPr txBox="1"/>
          <p:nvPr/>
        </p:nvSpPr>
        <p:spPr>
          <a:xfrm>
            <a:off x="2097433" y="1386560"/>
            <a:ext cx="9284196" cy="753660"/>
          </a:xfrm>
          <a:prstGeom prst="rect">
            <a:avLst/>
          </a:prstGeom>
          <a:noFill/>
        </p:spPr>
        <p:txBody>
          <a:bodyPr vert="horz" wrap="square" lIns="0" tIns="0" rIns="0" bIns="0" rtlCol="0">
            <a:spAutoFit/>
          </a:bodyPr>
          <a:lstStyle/>
          <a:p>
            <a:pPr fontAlgn="base">
              <a:spcAft>
                <a:spcPts val="600"/>
              </a:spcAft>
            </a:pPr>
            <a:r>
              <a:rPr lang="en-US" sz="1599" b="1" dirty="0">
                <a:solidFill>
                  <a:srgbClr val="3C464B"/>
                </a:solidFill>
                <a:latin typeface="Arial"/>
                <a:ea typeface="Arial Unicode MS" panose="020B0604020202020204" pitchFamily="34" charset="-128"/>
                <a:cs typeface="Arial Unicode MS" panose="020B0604020202020204" pitchFamily="34" charset="-128"/>
              </a:rPr>
              <a:t>MindConnect Nano and MindConnect IoT2040</a:t>
            </a:r>
          </a:p>
          <a:p>
            <a:pPr marL="0" lvl="1"/>
            <a:r>
              <a:rPr lang="en-US" sz="1399" dirty="0">
                <a:solidFill>
                  <a:srgbClr val="3C464B"/>
                </a:solidFill>
              </a:rPr>
              <a:t>Establish a plug and play connection to MindSphere and collect and buffer data from multiple field devices using dedicated IoT connectors like the MindConnect Nano or the MindConnect IoT2040 (for an entry level).</a:t>
            </a:r>
            <a:endParaRPr lang="en-US" sz="1399" b="1" dirty="0">
              <a:solidFill>
                <a:srgbClr val="3C464B"/>
              </a:solidFill>
              <a:latin typeface="Arial"/>
              <a:ea typeface="Arial Unicode MS" panose="020B0604020202020204" pitchFamily="34" charset="-128"/>
              <a:cs typeface="Arial Unicode MS" panose="020B0604020202020204" pitchFamily="34" charset="-128"/>
            </a:endParaRPr>
          </a:p>
        </p:txBody>
      </p:sp>
      <p:grpSp>
        <p:nvGrpSpPr>
          <p:cNvPr id="9" name="Gruppieren 8"/>
          <p:cNvGrpSpPr/>
          <p:nvPr/>
        </p:nvGrpSpPr>
        <p:grpSpPr>
          <a:xfrm>
            <a:off x="543390" y="1452402"/>
            <a:ext cx="1482072" cy="611681"/>
            <a:chOff x="223843" y="1412776"/>
            <a:chExt cx="1482844" cy="612000"/>
          </a:xfrm>
        </p:grpSpPr>
        <p:pic>
          <p:nvPicPr>
            <p:cNvPr id="62" name="Grafik 61"/>
            <p:cNvPicPr>
              <a:picLocks noChangeAspect="1"/>
            </p:cNvPicPr>
            <p:nvPr/>
          </p:nvPicPr>
          <p:blipFill rotWithShape="1">
            <a:blip r:embed="rId8" cstate="print">
              <a:extLst>
                <a:ext uri="{28A0092B-C50C-407E-A947-70E740481C1C}">
                  <a14:useLocalDpi xmlns:a14="http://schemas.microsoft.com/office/drawing/2010/main" val="0"/>
                </a:ext>
              </a:extLst>
            </a:blip>
            <a:srcRect l="10181" r="10172"/>
            <a:stretch/>
          </p:blipFill>
          <p:spPr>
            <a:xfrm>
              <a:off x="842262" y="1412776"/>
              <a:ext cx="864425" cy="612000"/>
            </a:xfrm>
            <a:prstGeom prst="rect">
              <a:avLst/>
            </a:prstGeom>
          </p:spPr>
        </p:pic>
        <p:pic>
          <p:nvPicPr>
            <p:cNvPr id="64" name="Grafik 63"/>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9387" r="7063"/>
            <a:stretch/>
          </p:blipFill>
          <p:spPr>
            <a:xfrm>
              <a:off x="223843" y="1412776"/>
              <a:ext cx="906780" cy="612000"/>
            </a:xfrm>
            <a:prstGeom prst="rect">
              <a:avLst/>
            </a:prstGeom>
          </p:spPr>
        </p:pic>
      </p:grpSp>
    </p:spTree>
    <p:custDataLst>
      <p:tags r:id="rId1"/>
    </p:custDataLst>
    <p:extLst>
      <p:ext uri="{BB962C8B-B14F-4D97-AF65-F5344CB8AC3E}">
        <p14:creationId xmlns:p14="http://schemas.microsoft.com/office/powerpoint/2010/main" val="919831868"/>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rgbClr val="00646E"/>
                </a:solidFill>
              </a:rPr>
              <a:t>MindSphere </a:t>
            </a:r>
            <a:r>
              <a:rPr lang="de-DE" dirty="0" err="1" smtClean="0">
                <a:solidFill>
                  <a:srgbClr val="00646E"/>
                </a:solidFill>
              </a:rPr>
              <a:t>Introduction</a:t>
            </a:r>
            <a:r>
              <a:rPr lang="de-DE" dirty="0" smtClean="0">
                <a:solidFill>
                  <a:srgbClr val="00646E"/>
                </a:solidFill>
              </a:rPr>
              <a:t/>
            </a:r>
            <a:br>
              <a:rPr lang="de-DE" dirty="0" smtClean="0">
                <a:solidFill>
                  <a:srgbClr val="00646E"/>
                </a:solidFill>
              </a:rPr>
            </a:br>
            <a:r>
              <a:rPr lang="en-US" b="0" dirty="0" smtClean="0">
                <a:solidFill>
                  <a:srgbClr val="00646E"/>
                </a:solidFill>
              </a:rPr>
              <a:t>Learning </a:t>
            </a:r>
            <a:r>
              <a:rPr lang="en-US" b="0" dirty="0">
                <a:solidFill>
                  <a:srgbClr val="00646E"/>
                </a:solidFill>
              </a:rPr>
              <a:t>Goals</a:t>
            </a:r>
            <a:endParaRPr lang="en-US" dirty="0">
              <a:solidFill>
                <a:srgbClr val="00646E"/>
              </a:solidFill>
            </a:endParaRPr>
          </a:p>
        </p:txBody>
      </p:sp>
      <p:sp>
        <p:nvSpPr>
          <p:cNvPr id="5" name="Line Callout 2 4"/>
          <p:cNvSpPr/>
          <p:nvPr/>
        </p:nvSpPr>
        <p:spPr bwMode="auto">
          <a:xfrm flipH="1">
            <a:off x="594987" y="1680633"/>
            <a:ext cx="3391810" cy="19769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oe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he</a:t>
            </a:r>
            <a:r>
              <a:rPr lang="de-DE" dirty="0">
                <a:solidFill>
                  <a:srgbClr val="FFFFFF"/>
                </a:solidFill>
                <a:ea typeface="Arial Unicode MS" panose="020B0604020202020204" pitchFamily="34" charset="-128"/>
                <a:cs typeface="Arial Unicode MS" panose="020B0604020202020204" pitchFamily="34" charset="-128"/>
              </a:rPr>
              <a:t> MindSphere </a:t>
            </a:r>
            <a:r>
              <a:rPr lang="de-DE" dirty="0" err="1">
                <a:solidFill>
                  <a:srgbClr val="FFFFFF"/>
                </a:solidFill>
                <a:ea typeface="Arial Unicode MS" panose="020B0604020202020204" pitchFamily="34" charset="-128"/>
                <a:cs typeface="Arial Unicode MS" panose="020B0604020202020204" pitchFamily="34" charset="-128"/>
              </a:rPr>
              <a:t>ecosystem</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look</a:t>
            </a:r>
            <a:r>
              <a:rPr lang="de-DE" dirty="0">
                <a:solidFill>
                  <a:srgbClr val="FFFFFF"/>
                </a:solidFill>
                <a:ea typeface="Arial Unicode MS" panose="020B0604020202020204" pitchFamily="34" charset="-128"/>
                <a:cs typeface="Arial Unicode MS" panose="020B0604020202020204" pitchFamily="34" charset="-128"/>
              </a:rPr>
              <a:t> like</a:t>
            </a:r>
            <a:r>
              <a:rPr lang="de-DE" dirty="0" smtClean="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rgbClr val="FFFFFF"/>
                </a:solidFill>
                <a:ea typeface="Arial Unicode MS" panose="020B0604020202020204" pitchFamily="34" charset="-128"/>
                <a:cs typeface="Arial Unicode MS" panose="020B0604020202020204" pitchFamily="34" charset="-128"/>
              </a:rPr>
              <a:t>Open </a:t>
            </a:r>
            <a:r>
              <a:rPr lang="de-DE" b="1" dirty="0" err="1">
                <a:solidFill>
                  <a:srgbClr val="FFFFFF"/>
                </a:solidFill>
                <a:ea typeface="Arial Unicode MS" panose="020B0604020202020204" pitchFamily="34" charset="-128"/>
                <a:cs typeface="Arial Unicode MS" panose="020B0604020202020204" pitchFamily="34" charset="-128"/>
              </a:rPr>
              <a:t>and</a:t>
            </a:r>
            <a:r>
              <a:rPr lang="de-DE" b="1" dirty="0">
                <a:solidFill>
                  <a:srgbClr val="FFFFFF"/>
                </a:solidFill>
                <a:ea typeface="Arial Unicode MS" panose="020B0604020202020204" pitchFamily="34" charset="-128"/>
                <a:cs typeface="Arial Unicode MS" panose="020B0604020202020204" pitchFamily="34" charset="-128"/>
              </a:rPr>
              <a:t> </a:t>
            </a:r>
            <a:r>
              <a:rPr lang="de-DE" b="1" dirty="0" smtClean="0">
                <a:solidFill>
                  <a:srgbClr val="FFFFFF"/>
                </a:solidFill>
                <a:ea typeface="Arial Unicode MS" panose="020B0604020202020204" pitchFamily="34" charset="-128"/>
                <a:cs typeface="Arial Unicode MS" panose="020B0604020202020204" pitchFamily="34" charset="-128"/>
              </a:rPr>
              <a:t>larg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caling</a:t>
            </a:r>
            <a:r>
              <a:rPr lang="de-DE" b="1" dirty="0">
                <a:solidFill>
                  <a:srgbClr val="FFFFFF"/>
                </a:solidFill>
                <a:ea typeface="Arial Unicode MS" panose="020B0604020202020204" pitchFamily="34" charset="-128"/>
                <a:cs typeface="Arial Unicode MS" panose="020B0604020202020204" pitchFamily="34" charset="-128"/>
              </a:rPr>
              <a:t> </a:t>
            </a:r>
            <a:r>
              <a:rPr lang="de-DE" b="1" dirty="0" smtClean="0">
                <a:solidFill>
                  <a:srgbClr val="FFFFFF"/>
                </a:solidFill>
                <a:ea typeface="Arial Unicode MS" panose="020B0604020202020204" pitchFamily="34" charset="-128"/>
                <a:cs typeface="Arial Unicode MS" panose="020B0604020202020204" pitchFamily="34" charset="-128"/>
              </a:rPr>
              <a:t>fast; </a:t>
            </a:r>
            <a:r>
              <a:rPr lang="de-DE" b="1" dirty="0" err="1" smtClean="0">
                <a:solidFill>
                  <a:srgbClr val="FFFFFF"/>
                </a:solidFill>
                <a:ea typeface="Arial Unicode MS" panose="020B0604020202020204" pitchFamily="34" charset="-128"/>
                <a:cs typeface="Arial Unicode MS" panose="020B0604020202020204" pitchFamily="34" charset="-128"/>
              </a:rPr>
              <a:t>contains</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a:solidFill>
                  <a:srgbClr val="FFFFFF"/>
                </a:solidFill>
                <a:ea typeface="Arial Unicode MS" panose="020B0604020202020204" pitchFamily="34" charset="-128"/>
                <a:cs typeface="Arial Unicode MS" panose="020B0604020202020204" pitchFamily="34" charset="-128"/>
              </a:rPr>
              <a:t>large </a:t>
            </a:r>
            <a:r>
              <a:rPr lang="de-DE" b="1" dirty="0" err="1">
                <a:solidFill>
                  <a:srgbClr val="FFFFFF"/>
                </a:solidFill>
                <a:ea typeface="Arial Unicode MS" panose="020B0604020202020204" pitchFamily="34" charset="-128"/>
                <a:cs typeface="Arial Unicode MS" panose="020B0604020202020204" pitchFamily="34" charset="-128"/>
              </a:rPr>
              <a:t>and</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mall</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partner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of</a:t>
            </a:r>
            <a:r>
              <a:rPr lang="de-DE" b="1" dirty="0">
                <a:solidFill>
                  <a:srgbClr val="FFFFFF"/>
                </a:solidFill>
                <a:ea typeface="Arial Unicode MS" panose="020B0604020202020204" pitchFamily="34" charset="-128"/>
                <a:cs typeface="Arial Unicode MS" panose="020B0604020202020204" pitchFamily="34" charset="-128"/>
              </a:rPr>
              <a:t> different </a:t>
            </a:r>
            <a:r>
              <a:rPr lang="de-DE" b="1" dirty="0" err="1">
                <a:solidFill>
                  <a:srgbClr val="FFFFFF"/>
                </a:solidFill>
                <a:ea typeface="Arial Unicode MS" panose="020B0604020202020204" pitchFamily="34" charset="-128"/>
                <a:cs typeface="Arial Unicode MS" panose="020B0604020202020204" pitchFamily="34" charset="-128"/>
              </a:rPr>
              <a:t>sectors</a:t>
            </a:r>
            <a:endParaRPr lang="en-US" b="1" dirty="0">
              <a:solidFill>
                <a:srgbClr val="FFFFFF"/>
              </a:solidFill>
              <a:ea typeface="Arial Unicode MS" panose="020B0604020202020204" pitchFamily="34" charset="-128"/>
              <a:cs typeface="Arial Unicode MS" panose="020B0604020202020204" pitchFamily="34" charset="-128"/>
            </a:endParaRPr>
          </a:p>
        </p:txBody>
      </p:sp>
      <p:sp>
        <p:nvSpPr>
          <p:cNvPr id="6" name="Line Callout 2 5"/>
          <p:cNvSpPr/>
          <p:nvPr/>
        </p:nvSpPr>
        <p:spPr bwMode="auto">
          <a:xfrm flipH="1">
            <a:off x="1370644" y="4158034"/>
            <a:ext cx="3391810" cy="2458666"/>
          </a:xfrm>
          <a:prstGeom prst="borderCallout2">
            <a:avLst>
              <a:gd name="adj1" fmla="val 51247"/>
              <a:gd name="adj2" fmla="val 181"/>
              <a:gd name="adj3" fmla="val 51248"/>
              <a:gd name="adj4" fmla="val -17022"/>
              <a:gd name="adj5" fmla="val 86310"/>
              <a:gd name="adj6" fmla="val -43760"/>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Wha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r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he</a:t>
            </a:r>
            <a:r>
              <a:rPr lang="de-DE" dirty="0">
                <a:solidFill>
                  <a:srgbClr val="FFFFFF"/>
                </a:solidFill>
                <a:ea typeface="Arial Unicode MS" panose="020B0604020202020204" pitchFamily="34" charset="-128"/>
                <a:cs typeface="Arial Unicode MS" panose="020B0604020202020204" pitchFamily="34" charset="-128"/>
              </a:rPr>
              <a:t> </a:t>
            </a:r>
            <a:r>
              <a:rPr lang="de-DE" dirty="0" err="1" smtClean="0">
                <a:solidFill>
                  <a:srgbClr val="FFFFFF"/>
                </a:solidFill>
                <a:ea typeface="Arial Unicode MS" panose="020B0604020202020204" pitchFamily="34" charset="-128"/>
                <a:cs typeface="Arial Unicode MS" panose="020B0604020202020204" pitchFamily="34" charset="-128"/>
              </a:rPr>
              <a:t>gateways</a:t>
            </a:r>
            <a:r>
              <a:rPr lang="de-DE" dirty="0" smtClean="0">
                <a:solidFill>
                  <a:srgbClr val="FFFFFF"/>
                </a:solidFill>
                <a:ea typeface="Arial Unicode MS" panose="020B0604020202020204" pitchFamily="34" charset="-128"/>
                <a:cs typeface="Arial Unicode MS" panose="020B0604020202020204" pitchFamily="34" charset="-128"/>
              </a:rPr>
              <a:t> </a:t>
            </a:r>
            <a:r>
              <a:rPr lang="de-DE" dirty="0" err="1" smtClean="0">
                <a:solidFill>
                  <a:srgbClr val="FFFFFF"/>
                </a:solidFill>
                <a:ea typeface="Arial Unicode MS" panose="020B0604020202020204" pitchFamily="34" charset="-128"/>
                <a:cs typeface="Arial Unicode MS" panose="020B0604020202020204" pitchFamily="34" charset="-128"/>
              </a:rPr>
              <a:t>of</a:t>
            </a:r>
            <a:r>
              <a:rPr lang="de-DE" dirty="0" smtClean="0">
                <a:solidFill>
                  <a:srgbClr val="FFFFFF"/>
                </a:solidFill>
                <a:ea typeface="Arial Unicode MS" panose="020B0604020202020204" pitchFamily="34" charset="-128"/>
                <a:cs typeface="Arial Unicode MS" panose="020B0604020202020204" pitchFamily="34" charset="-128"/>
              </a:rPr>
              <a:t> MindSphere?</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rgbClr val="FFFFFF"/>
                </a:solidFill>
                <a:ea typeface="Arial Unicode MS" panose="020B0604020202020204" pitchFamily="34" charset="-128"/>
                <a:cs typeface="Arial Unicode MS" panose="020B0604020202020204" pitchFamily="34" charset="-128"/>
              </a:rPr>
              <a:t>Hardware Gateway </a:t>
            </a:r>
            <a:r>
              <a:rPr lang="de-DE" b="1" dirty="0" err="1">
                <a:solidFill>
                  <a:srgbClr val="FFFFFF"/>
                </a:solidFill>
                <a:ea typeface="Arial Unicode MS" panose="020B0604020202020204" pitchFamily="34" charset="-128"/>
                <a:cs typeface="Arial Unicode MS" panose="020B0604020202020204" pitchFamily="34" charset="-128"/>
              </a:rPr>
              <a:t>wit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MindConnect</a:t>
            </a:r>
            <a:r>
              <a:rPr lang="de-DE" b="1" dirty="0">
                <a:solidFill>
                  <a:srgbClr val="FFFFFF"/>
                </a:solidFill>
                <a:ea typeface="Arial Unicode MS" panose="020B0604020202020204" pitchFamily="34" charset="-128"/>
                <a:cs typeface="Arial Unicode MS" panose="020B0604020202020204" pitchFamily="34" charset="-128"/>
              </a:rPr>
              <a:t> Nano/ IoT2040, Integrated Gateway </a:t>
            </a:r>
            <a:r>
              <a:rPr lang="de-DE" b="1" dirty="0" err="1">
                <a:solidFill>
                  <a:srgbClr val="FFFFFF"/>
                </a:solidFill>
                <a:ea typeface="Arial Unicode MS" panose="020B0604020202020204" pitchFamily="34" charset="-128"/>
                <a:cs typeface="Arial Unicode MS" panose="020B0604020202020204" pitchFamily="34" charset="-128"/>
              </a:rPr>
              <a:t>with</a:t>
            </a:r>
            <a:r>
              <a:rPr lang="de-DE" b="1" dirty="0">
                <a:solidFill>
                  <a:srgbClr val="FFFFFF"/>
                </a:solidFill>
                <a:ea typeface="Arial Unicode MS" panose="020B0604020202020204" pitchFamily="34" charset="-128"/>
                <a:cs typeface="Arial Unicode MS" panose="020B0604020202020204" pitchFamily="34" charset="-128"/>
              </a:rPr>
              <a:t> S7 1500 </a:t>
            </a:r>
            <a:r>
              <a:rPr lang="de-DE" b="1" dirty="0" err="1">
                <a:solidFill>
                  <a:srgbClr val="FFFFFF"/>
                </a:solidFill>
                <a:ea typeface="Arial Unicode MS" panose="020B0604020202020204" pitchFamily="34" charset="-128"/>
                <a:cs typeface="Arial Unicode MS" panose="020B0604020202020204" pitchFamily="34" charset="-128"/>
              </a:rPr>
              <a:t>or</a:t>
            </a:r>
            <a:r>
              <a:rPr lang="de-DE" b="1" dirty="0">
                <a:solidFill>
                  <a:srgbClr val="FFFFFF"/>
                </a:solidFill>
                <a:ea typeface="Arial Unicode MS" panose="020B0604020202020204" pitchFamily="34" charset="-128"/>
                <a:cs typeface="Arial Unicode MS" panose="020B0604020202020204" pitchFamily="34" charset="-128"/>
              </a:rPr>
              <a:t> Software Gateway </a:t>
            </a:r>
            <a:r>
              <a:rPr lang="de-DE" b="1" dirty="0" err="1">
                <a:solidFill>
                  <a:srgbClr val="FFFFFF"/>
                </a:solidFill>
                <a:ea typeface="Arial Unicode MS" panose="020B0604020202020204" pitchFamily="34" charset="-128"/>
                <a:cs typeface="Arial Unicode MS" panose="020B0604020202020204" pitchFamily="34" charset="-128"/>
              </a:rPr>
              <a:t>wit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MindConnect</a:t>
            </a:r>
            <a:r>
              <a:rPr lang="de-DE" b="1" dirty="0">
                <a:solidFill>
                  <a:srgbClr val="FFFFFF"/>
                </a:solidFill>
                <a:ea typeface="Arial Unicode MS" panose="020B0604020202020204" pitchFamily="34" charset="-128"/>
                <a:cs typeface="Arial Unicode MS" panose="020B0604020202020204" pitchFamily="34" charset="-128"/>
              </a:rPr>
              <a:t> </a:t>
            </a:r>
            <a:r>
              <a:rPr lang="de-DE" b="1" dirty="0" smtClean="0">
                <a:solidFill>
                  <a:srgbClr val="FFFFFF"/>
                </a:solidFill>
                <a:ea typeface="Arial Unicode MS" panose="020B0604020202020204" pitchFamily="34" charset="-128"/>
                <a:cs typeface="Arial Unicode MS" panose="020B0604020202020204" pitchFamily="34" charset="-128"/>
              </a:rPr>
              <a:t>LIB</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20669261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419303"/>
            <a:ext cx="9297988" cy="1416518"/>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MindSphere</a:t>
            </a:r>
          </a:p>
          <a:p>
            <a:r>
              <a:rPr lang="de-DE" sz="3200" kern="0" dirty="0" err="1" smtClean="0">
                <a:solidFill>
                  <a:schemeClr val="tx1"/>
                </a:solidFill>
              </a:rPr>
              <a:t>Launchpad</a:t>
            </a:r>
            <a:endParaRPr lang="en-US" sz="3200" kern="0" dirty="0">
              <a:solidFill>
                <a:schemeClr val="tx1"/>
              </a:solidFill>
            </a:endParaRPr>
          </a:p>
        </p:txBody>
      </p:sp>
    </p:spTree>
    <p:extLst>
      <p:ext uri="{BB962C8B-B14F-4D97-AF65-F5344CB8AC3E}">
        <p14:creationId xmlns:p14="http://schemas.microsoft.com/office/powerpoint/2010/main" val="2025882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rgbClr val="00646E"/>
                </a:solidFill>
              </a:rPr>
              <a:t>MindSphere </a:t>
            </a:r>
            <a:r>
              <a:rPr lang="de-DE" dirty="0" err="1" smtClean="0">
                <a:solidFill>
                  <a:srgbClr val="00646E"/>
                </a:solidFill>
              </a:rPr>
              <a:t>Launchpad</a:t>
            </a:r>
            <a:r>
              <a:rPr lang="de-DE" dirty="0">
                <a:solidFill>
                  <a:srgbClr val="00646E"/>
                </a:solidFill>
              </a:rPr>
              <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286031"/>
            <a:ext cx="4732072"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smtClean="0"/>
              <a:t>Asset Manager</a:t>
            </a:r>
          </a:p>
          <a:p>
            <a:pPr marL="324000" indent="-285750">
              <a:buFont typeface="Arial" panose="020B0604020202020204" pitchFamily="34" charset="0"/>
              <a:buChar char="•"/>
            </a:pPr>
            <a:r>
              <a:rPr lang="de-DE" sz="2000" b="0" dirty="0" smtClean="0"/>
              <a:t>Fleet Manager</a:t>
            </a:r>
          </a:p>
          <a:p>
            <a:pPr marL="324000" indent="-285750">
              <a:buFont typeface="Arial" panose="020B0604020202020204" pitchFamily="34" charset="0"/>
              <a:buChar char="•"/>
            </a:pPr>
            <a:r>
              <a:rPr lang="de-DE" sz="2000" b="0" dirty="0" err="1" smtClean="0"/>
              <a:t>Application</a:t>
            </a:r>
            <a:r>
              <a:rPr lang="de-DE" sz="2000" b="0" dirty="0" smtClean="0"/>
              <a:t> Manager</a:t>
            </a:r>
          </a:p>
          <a:p>
            <a:pPr marL="324000" indent="-285750">
              <a:buFont typeface="Arial" panose="020B0604020202020204" pitchFamily="34" charset="0"/>
              <a:buChar char="•"/>
            </a:pPr>
            <a:r>
              <a:rPr lang="de-DE" sz="2000" b="0" dirty="0" smtClean="0"/>
              <a:t>Manage </a:t>
            </a:r>
            <a:r>
              <a:rPr lang="de-DE" sz="2000" b="0" dirty="0" err="1" smtClean="0"/>
              <a:t>MyMachines</a:t>
            </a:r>
            <a:endParaRPr lang="en-US" sz="2000" b="0" dirty="0"/>
          </a:p>
        </p:txBody>
      </p:sp>
      <p:sp>
        <p:nvSpPr>
          <p:cNvPr id="5" name="Line Callout 2 4"/>
          <p:cNvSpPr/>
          <p:nvPr/>
        </p:nvSpPr>
        <p:spPr bwMode="auto">
          <a:xfrm flipH="1">
            <a:off x="626737" y="1680633"/>
            <a:ext cx="3391810" cy="1806845"/>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smtClean="0">
                <a:solidFill>
                  <a:srgbClr val="FFFFFF"/>
                </a:solidFill>
                <a:ea typeface="Arial Unicode MS" panose="020B0604020202020204" pitchFamily="34" charset="-128"/>
                <a:cs typeface="Arial Unicode MS" panose="020B0604020202020204" pitchFamily="34" charset="-128"/>
              </a:rPr>
              <a:t>How</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does</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the</a:t>
            </a:r>
            <a:r>
              <a:rPr lang="de-DE" b="1" dirty="0" smtClean="0">
                <a:solidFill>
                  <a:srgbClr val="FFFFFF"/>
                </a:solidFill>
                <a:ea typeface="Arial Unicode MS" panose="020B0604020202020204" pitchFamily="34" charset="-128"/>
                <a:cs typeface="Arial Unicode MS" panose="020B0604020202020204" pitchFamily="34" charset="-128"/>
              </a:rPr>
              <a:t> MindSphere </a:t>
            </a:r>
            <a:r>
              <a:rPr lang="de-DE" b="1" dirty="0" err="1" smtClean="0">
                <a:solidFill>
                  <a:srgbClr val="FFFFFF"/>
                </a:solidFill>
                <a:ea typeface="Arial Unicode MS" panose="020B0604020202020204" pitchFamily="34" charset="-128"/>
                <a:cs typeface="Arial Unicode MS" panose="020B0604020202020204" pitchFamily="34" charset="-128"/>
              </a:rPr>
              <a:t>Launchpad</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look</a:t>
            </a:r>
            <a:r>
              <a:rPr lang="de-DE" b="1" dirty="0" smtClean="0">
                <a:solidFill>
                  <a:srgbClr val="FFFFFF"/>
                </a:solidFill>
                <a:ea typeface="Arial Unicode MS" panose="020B0604020202020204" pitchFamily="34" charset="-128"/>
                <a:cs typeface="Arial Unicode MS" panose="020B0604020202020204" pitchFamily="34" charset="-128"/>
              </a:rPr>
              <a:t> like</a:t>
            </a:r>
            <a:r>
              <a:rPr lang="en-US" b="1" dirty="0" smtClean="0">
                <a:solidFill>
                  <a:srgbClr val="FFFFFF"/>
                </a:solidFill>
                <a:ea typeface="Arial Unicode MS" panose="020B0604020202020204" pitchFamily="34" charset="-128"/>
                <a:cs typeface="Arial Unicode MS" panose="020B0604020202020204" pitchFamily="34" charset="-128"/>
              </a:rPr>
              <a:t>? </a:t>
            </a: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3342459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el 4"/>
          <p:cNvSpPr>
            <a:spLocks noGrp="1"/>
          </p:cNvSpPr>
          <p:nvPr>
            <p:ph type="title"/>
          </p:nvPr>
        </p:nvSpPr>
        <p:spPr>
          <a:xfrm>
            <a:off x="0" y="0"/>
            <a:ext cx="12192000" cy="1440000"/>
          </a:xfrm>
        </p:spPr>
        <p:txBody>
          <a:bodyPr/>
          <a:lstStyle/>
          <a:p>
            <a:r>
              <a:rPr lang="en-US" dirty="0" smtClean="0">
                <a:latin typeface="+mn-lt"/>
              </a:rPr>
              <a:t>MindSphere Launchpad Overview (3.0)</a:t>
            </a:r>
            <a:br>
              <a:rPr lang="en-US" dirty="0" smtClean="0">
                <a:latin typeface="+mn-lt"/>
              </a:rPr>
            </a:br>
            <a:endParaRPr lang="en-US" dirty="0">
              <a:latin typeface="+mn-lt"/>
            </a:endParaRPr>
          </a:p>
        </p:txBody>
      </p:sp>
      <p:pic>
        <p:nvPicPr>
          <p:cNvPr id="3" name="Picture 2"/>
          <p:cNvPicPr>
            <a:picLocks noChangeAspect="1"/>
          </p:cNvPicPr>
          <p:nvPr/>
        </p:nvPicPr>
        <p:blipFill>
          <a:blip r:embed="rId3"/>
          <a:stretch>
            <a:fillRect/>
          </a:stretch>
        </p:blipFill>
        <p:spPr>
          <a:xfrm>
            <a:off x="675649" y="1440000"/>
            <a:ext cx="10935326" cy="4760763"/>
          </a:xfrm>
          <a:prstGeom prst="rect">
            <a:avLst/>
          </a:prstGeom>
        </p:spPr>
      </p:pic>
    </p:spTree>
    <p:extLst>
      <p:ext uri="{BB962C8B-B14F-4D97-AF65-F5344CB8AC3E}">
        <p14:creationId xmlns:p14="http://schemas.microsoft.com/office/powerpoint/2010/main" val="414675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TextBox 7"/>
          <p:cNvSpPr txBox="1"/>
          <p:nvPr/>
        </p:nvSpPr>
        <p:spPr>
          <a:xfrm>
            <a:off x="698151" y="4575690"/>
            <a:ext cx="4796838" cy="1200329"/>
          </a:xfrm>
          <a:prstGeom prst="rect">
            <a:avLst/>
          </a:prstGeom>
          <a:noFill/>
        </p:spPr>
        <p:txBody>
          <a:bodyPr wrap="square" rtlCol="0" anchor="ctr">
            <a:spAutoFit/>
          </a:bodyPr>
          <a:lstStyle/>
          <a:p>
            <a:r>
              <a:rPr lang="en-US" sz="2400" b="1" spc="-70" dirty="0">
                <a:latin typeface="Siemens Sans" charset="0"/>
                <a:ea typeface="Siemens Sans" charset="0"/>
                <a:cs typeface="Siemens Sans" charset="0"/>
              </a:rPr>
              <a:t>The </a:t>
            </a:r>
            <a:r>
              <a:rPr lang="en-US" sz="2400" b="1" spc="-70" dirty="0" smtClean="0">
                <a:latin typeface="Siemens Sans" charset="0"/>
                <a:ea typeface="Siemens Sans" charset="0"/>
                <a:cs typeface="Siemens Sans" charset="0"/>
              </a:rPr>
              <a:t>Asset Manager offers </a:t>
            </a:r>
            <a:r>
              <a:rPr lang="en-US" sz="2400" b="1" spc="-70" dirty="0">
                <a:latin typeface="Siemens Sans" charset="0"/>
                <a:ea typeface="Siemens Sans" charset="0"/>
                <a:cs typeface="Siemens Sans" charset="0"/>
              </a:rPr>
              <a:t>the means </a:t>
            </a:r>
            <a:r>
              <a:rPr lang="en-US" sz="2400" b="1" spc="-70" dirty="0" smtClean="0">
                <a:latin typeface="Siemens Sans" charset="0"/>
                <a:ea typeface="Siemens Sans" charset="0"/>
                <a:cs typeface="Siemens Sans" charset="0"/>
              </a:rPr>
              <a:t>to configure Assets</a:t>
            </a:r>
            <a:r>
              <a:rPr lang="en-US" sz="2400" b="1" spc="-70" dirty="0">
                <a:latin typeface="Siemens Sans" charset="0"/>
                <a:ea typeface="Siemens Sans" charset="0"/>
                <a:cs typeface="Siemens Sans" charset="0"/>
              </a:rPr>
              <a:t>, </a:t>
            </a:r>
            <a:r>
              <a:rPr lang="en-US" sz="2400" b="1" spc="-70" dirty="0" smtClean="0">
                <a:latin typeface="Siemens Sans" charset="0"/>
                <a:ea typeface="Siemens Sans" charset="0"/>
                <a:cs typeface="Siemens Sans" charset="0"/>
              </a:rPr>
              <a:t>Asset type and Aspect type</a:t>
            </a:r>
            <a:endParaRPr lang="en-US" sz="2400" b="1" spc="-70" dirty="0">
              <a:solidFill>
                <a:schemeClr val="tx1"/>
              </a:solidFill>
              <a:latin typeface="Siemens Sans" charset="0"/>
              <a:ea typeface="Siemens Sans" charset="0"/>
              <a:cs typeface="Siemens Sans" charset="0"/>
            </a:endParaRPr>
          </a:p>
        </p:txBody>
      </p:sp>
      <p:sp>
        <p:nvSpPr>
          <p:cNvPr id="9" name="TextBox 8"/>
          <p:cNvSpPr txBox="1"/>
          <p:nvPr/>
        </p:nvSpPr>
        <p:spPr>
          <a:xfrm>
            <a:off x="483242" y="1699457"/>
            <a:ext cx="7136890" cy="1461939"/>
          </a:xfrm>
          <a:prstGeom prst="rect">
            <a:avLst/>
          </a:prstGeom>
          <a:noFill/>
        </p:spPr>
        <p:txBody>
          <a:bodyPr wrap="none" rtlCol="0">
            <a:spAutoFit/>
          </a:bodyPr>
          <a:lstStyle/>
          <a:p>
            <a:pPr algn="ctr"/>
            <a:r>
              <a:rPr lang="en-US" sz="8900" b="1" spc="-700" dirty="0" smtClean="0">
                <a:solidFill>
                  <a:schemeClr val="bg1"/>
                </a:solidFill>
                <a:latin typeface="+mn-lt"/>
                <a:ea typeface="Siemens Sans Black" charset="0"/>
                <a:cs typeface="Siemens Sans Black" charset="0"/>
              </a:rPr>
              <a:t>Asset Manager</a:t>
            </a:r>
            <a:endParaRPr lang="en-US" sz="8900" b="1" spc="-700" dirty="0">
              <a:solidFill>
                <a:schemeClr val="bg1"/>
              </a:solidFill>
              <a:latin typeface="+mn-lt"/>
              <a:ea typeface="Siemens Sans Black" charset="0"/>
              <a:cs typeface="Siemens Sans Black" charset="0"/>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92683" y="193783"/>
            <a:ext cx="1802461" cy="762000"/>
          </a:xfrm>
          <a:prstGeom prst="rect">
            <a:avLst/>
          </a:prstGeom>
        </p:spPr>
      </p:pic>
    </p:spTree>
    <p:extLst>
      <p:ext uri="{BB962C8B-B14F-4D97-AF65-F5344CB8AC3E}">
        <p14:creationId xmlns:p14="http://schemas.microsoft.com/office/powerpoint/2010/main" val="4804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leichschenkliges Dreieck 5"/>
          <p:cNvSpPr/>
          <p:nvPr/>
        </p:nvSpPr>
        <p:spPr bwMode="auto">
          <a:xfrm rot="5400000">
            <a:off x="6394488" y="3604930"/>
            <a:ext cx="3895874" cy="337618"/>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9" name="Titel 4"/>
          <p:cNvSpPr>
            <a:spLocks noGrp="1"/>
          </p:cNvSpPr>
          <p:nvPr>
            <p:ph type="title"/>
          </p:nvPr>
        </p:nvSpPr>
        <p:spPr>
          <a:xfrm>
            <a:off x="0" y="0"/>
            <a:ext cx="12192000" cy="1440000"/>
          </a:xfrm>
        </p:spPr>
        <p:txBody>
          <a:bodyPr/>
          <a:lstStyle/>
          <a:p>
            <a:r>
              <a:rPr lang="en-US" dirty="0" smtClean="0">
                <a:latin typeface="+mn-lt"/>
              </a:rPr>
              <a:t>MindSphere 3.0</a:t>
            </a:r>
            <a:br>
              <a:rPr lang="en-US" dirty="0" smtClean="0">
                <a:latin typeface="+mn-lt"/>
              </a:rPr>
            </a:br>
            <a:r>
              <a:rPr lang="en-US" b="0" dirty="0" smtClean="0">
                <a:latin typeface="+mn-lt"/>
              </a:rPr>
              <a:t>Asset Manager</a:t>
            </a:r>
            <a:endParaRPr lang="en-US" b="0" dirty="0">
              <a:latin typeface="+mn-lt"/>
            </a:endParaRPr>
          </a:p>
        </p:txBody>
      </p:sp>
      <p:sp>
        <p:nvSpPr>
          <p:cNvPr id="4" name="Textfeld 2"/>
          <p:cNvSpPr txBox="1"/>
          <p:nvPr/>
        </p:nvSpPr>
        <p:spPr>
          <a:xfrm>
            <a:off x="8511234" y="1848065"/>
            <a:ext cx="3528366" cy="3813464"/>
          </a:xfrm>
          <a:prstGeom prst="rect">
            <a:avLst/>
          </a:prstGeom>
          <a:solidFill>
            <a:schemeClr val="bg1"/>
          </a:solidFill>
        </p:spPr>
        <p:txBody>
          <a:bodyPr wrap="square" lIns="180000" tIns="72000" rIns="0" bIns="0" rtlCol="0">
            <a:noAutofit/>
          </a:bodyPr>
          <a:lstStyle/>
          <a:p>
            <a:pPr>
              <a:lnSpc>
                <a:spcPct val="110000"/>
              </a:lnSpc>
            </a:pPr>
            <a:r>
              <a:rPr lang="en-US" sz="1600" b="1" dirty="0">
                <a:ea typeface="Arial Unicode MS" panose="020B0604020202020204" pitchFamily="34" charset="-128"/>
                <a:cs typeface="Arial Unicode MS" panose="020B0604020202020204" pitchFamily="34" charset="-128"/>
              </a:rPr>
              <a:t>IoT Data Modeler is </a:t>
            </a:r>
            <a:r>
              <a:rPr lang="en-US" sz="1600" b="1" dirty="0" smtClean="0">
                <a:ea typeface="Arial Unicode MS" panose="020B0604020202020204" pitchFamily="34" charset="-128"/>
                <a:cs typeface="Arial Unicode MS" panose="020B0604020202020204" pitchFamily="34" charset="-128"/>
              </a:rPr>
              <a:t>replaced by Asset Manager.</a:t>
            </a:r>
          </a:p>
          <a:p>
            <a:pPr>
              <a:lnSpc>
                <a:spcPct val="110000"/>
              </a:lnSpc>
            </a:pPr>
            <a:endParaRPr lang="en-US" sz="1600" dirty="0" smtClean="0">
              <a:ea typeface="Arial Unicode MS" panose="020B0604020202020204" pitchFamily="34" charset="-128"/>
              <a:cs typeface="Arial Unicode MS" panose="020B0604020202020204" pitchFamily="34" charset="-128"/>
            </a:endParaRPr>
          </a:p>
          <a:p>
            <a:r>
              <a:rPr lang="en-US" sz="1600" dirty="0" smtClean="0"/>
              <a:t>• </a:t>
            </a:r>
            <a:r>
              <a:rPr lang="en-US" sz="1600" b="1" dirty="0" smtClean="0"/>
              <a:t>Asset:</a:t>
            </a:r>
            <a:r>
              <a:rPr lang="en-US" sz="1600" dirty="0" smtClean="0"/>
              <a:t> assets </a:t>
            </a:r>
            <a:r>
              <a:rPr lang="en-US" sz="1600" dirty="0"/>
              <a:t>can be created, </a:t>
            </a:r>
            <a:r>
              <a:rPr lang="en-US" sz="1600" dirty="0" err="1"/>
              <a:t>onboarded</a:t>
            </a:r>
            <a:r>
              <a:rPr lang="en-US" sz="1600" dirty="0"/>
              <a:t>, modified, cloned, moved, deleted or </a:t>
            </a:r>
            <a:r>
              <a:rPr lang="en-US" sz="1600" dirty="0" err="1"/>
              <a:t>offboarded</a:t>
            </a:r>
            <a:r>
              <a:rPr lang="en-US" sz="1600" dirty="0"/>
              <a:t>.</a:t>
            </a:r>
          </a:p>
          <a:p>
            <a:r>
              <a:rPr lang="en-US" sz="1600" dirty="0"/>
              <a:t>• </a:t>
            </a:r>
            <a:r>
              <a:rPr lang="en-US" sz="1600" b="1" dirty="0" smtClean="0"/>
              <a:t>Assets Types: </a:t>
            </a:r>
            <a:r>
              <a:rPr lang="en-US" sz="1600" dirty="0"/>
              <a:t>administration </a:t>
            </a:r>
            <a:r>
              <a:rPr lang="en-US" sz="1600" dirty="0" smtClean="0"/>
              <a:t>of Assets Types/Templates.</a:t>
            </a:r>
            <a:endParaRPr lang="en-US" sz="1600" dirty="0"/>
          </a:p>
          <a:p>
            <a:r>
              <a:rPr lang="en-US" sz="1600" dirty="0"/>
              <a:t>• </a:t>
            </a:r>
            <a:r>
              <a:rPr lang="en-US" sz="1600" b="1" dirty="0" smtClean="0"/>
              <a:t>Aspect Types: </a:t>
            </a:r>
            <a:r>
              <a:rPr lang="en-US" sz="1600" dirty="0"/>
              <a:t>administration </a:t>
            </a:r>
            <a:r>
              <a:rPr lang="en-US" sz="1600" dirty="0" smtClean="0"/>
              <a:t>of Aspect Types/Templates</a:t>
            </a:r>
            <a:r>
              <a:rPr lang="en-US" sz="1600" dirty="0"/>
              <a:t>.</a:t>
            </a:r>
            <a:endParaRPr lang="en-US" sz="1600" b="1" dirty="0">
              <a:ea typeface="Arial Unicode MS" panose="020B0604020202020204" pitchFamily="34" charset="-128"/>
              <a:cs typeface="Arial Unicode MS" panose="020B0604020202020204" pitchFamily="34" charset="-128"/>
            </a:endParaRPr>
          </a:p>
        </p:txBody>
      </p:sp>
      <p:pic>
        <p:nvPicPr>
          <p:cNvPr id="2" name="Picture 1"/>
          <p:cNvPicPr>
            <a:picLocks noChangeAspect="1"/>
          </p:cNvPicPr>
          <p:nvPr/>
        </p:nvPicPr>
        <p:blipFill>
          <a:blip r:embed="rId3"/>
          <a:stretch>
            <a:fillRect/>
          </a:stretch>
        </p:blipFill>
        <p:spPr>
          <a:xfrm>
            <a:off x="106248" y="1885950"/>
            <a:ext cx="8067368" cy="3775579"/>
          </a:xfrm>
          <a:prstGeom prst="rect">
            <a:avLst/>
          </a:prstGeom>
          <a:ln w="9525">
            <a:solidFill>
              <a:schemeClr val="tx1"/>
            </a:solidFill>
            <a:miter lim="800000"/>
            <a:headEnd/>
            <a:tailEnd/>
          </a:ln>
          <a:effectLst>
            <a:outerShdw dist="35921" dir="2700000" algn="ctr" rotWithShape="0">
              <a:schemeClr val="bg2"/>
            </a:outerShdw>
          </a:effectLst>
        </p:spPr>
      </p:pic>
    </p:spTree>
    <p:extLst>
      <p:ext uri="{BB962C8B-B14F-4D97-AF65-F5344CB8AC3E}">
        <p14:creationId xmlns:p14="http://schemas.microsoft.com/office/powerpoint/2010/main" val="98796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3.0</a:t>
            </a:r>
            <a:br>
              <a:rPr lang="en-US" dirty="0"/>
            </a:br>
            <a:r>
              <a:rPr lang="en-US" b="0" dirty="0"/>
              <a:t>Asset Manager</a:t>
            </a:r>
            <a:endParaRPr lang="de-DE" dirty="0"/>
          </a:p>
        </p:txBody>
      </p:sp>
      <p:sp>
        <p:nvSpPr>
          <p:cNvPr id="3" name="Rectangle 2"/>
          <p:cNvSpPr/>
          <p:nvPr/>
        </p:nvSpPr>
        <p:spPr>
          <a:xfrm>
            <a:off x="561278" y="1594624"/>
            <a:ext cx="10155044" cy="2308324"/>
          </a:xfrm>
          <a:prstGeom prst="rect">
            <a:avLst/>
          </a:prstGeom>
        </p:spPr>
        <p:txBody>
          <a:bodyPr wrap="square">
            <a:spAutoFit/>
          </a:bodyPr>
          <a:lstStyle/>
          <a:p>
            <a:pPr>
              <a:buFont typeface="Arial" panose="020B0604020202020204" pitchFamily="34" charset="0"/>
              <a:buChar char="•"/>
            </a:pPr>
            <a:r>
              <a:rPr lang="en-US" b="1" dirty="0">
                <a:latin typeface="Siemens Sans regular"/>
              </a:rPr>
              <a:t>Assets</a:t>
            </a:r>
            <a:r>
              <a:rPr lang="en-US" dirty="0">
                <a:latin typeface="Siemens Sans regular"/>
              </a:rPr>
              <a:t/>
            </a:r>
            <a:br>
              <a:rPr lang="en-US" dirty="0">
                <a:latin typeface="Siemens Sans regular"/>
              </a:rPr>
            </a:br>
            <a:r>
              <a:rPr lang="en-US" dirty="0">
                <a:latin typeface="Siemens Sans regular"/>
              </a:rPr>
              <a:t>Creates an asset in the three main topics: device types, agent types and hierarchy types. You can configure, read and manage an asset or the root asset. An asset is accessed by its ID</a:t>
            </a:r>
            <a:r>
              <a:rPr lang="en-US" dirty="0" smtClean="0">
                <a:latin typeface="Siemens Sans regular"/>
              </a:rPr>
              <a:t>.</a:t>
            </a:r>
          </a:p>
          <a:p>
            <a:pPr>
              <a:buFont typeface="Arial" panose="020B0604020202020204" pitchFamily="34" charset="0"/>
              <a:buChar char="•"/>
            </a:pPr>
            <a:endParaRPr lang="en-US" dirty="0">
              <a:latin typeface="Siemens Sans regular"/>
            </a:endParaRPr>
          </a:p>
          <a:p>
            <a:pPr>
              <a:buFont typeface="Arial" panose="020B0604020202020204" pitchFamily="34" charset="0"/>
              <a:buChar char="•"/>
            </a:pPr>
            <a:r>
              <a:rPr lang="en-US" b="1" dirty="0">
                <a:latin typeface="Siemens Sans regular"/>
              </a:rPr>
              <a:t>Aspects</a:t>
            </a:r>
            <a:r>
              <a:rPr lang="en-US" dirty="0">
                <a:latin typeface="Siemens Sans regular"/>
              </a:rPr>
              <a:t/>
            </a:r>
            <a:br>
              <a:rPr lang="en-US" dirty="0">
                <a:latin typeface="Siemens Sans regular"/>
              </a:rPr>
            </a:br>
            <a:r>
              <a:rPr lang="en-US" dirty="0">
                <a:latin typeface="Siemens Sans regular"/>
              </a:rPr>
              <a:t>You can manage all aspects of an asset. An aspect is the representation of the data sources of an agent. The measured time series data are stored for aspects. An aspect can contain multiple variables.</a:t>
            </a:r>
            <a:endParaRPr lang="en-US" b="0" i="0" dirty="0">
              <a:effectLst/>
              <a:latin typeface="Siemens Sans regular"/>
            </a:endParaRPr>
          </a:p>
        </p:txBody>
      </p:sp>
    </p:spTree>
    <p:extLst>
      <p:ext uri="{BB962C8B-B14F-4D97-AF65-F5344CB8AC3E}">
        <p14:creationId xmlns:p14="http://schemas.microsoft.com/office/powerpoint/2010/main" val="72490015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Picture 116"/>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351815" y="4990974"/>
            <a:ext cx="2830788" cy="1281543"/>
          </a:xfrm>
          <a:prstGeom prst="rect">
            <a:avLst/>
          </a:prstGeom>
        </p:spPr>
      </p:pic>
      <p:pic>
        <p:nvPicPr>
          <p:cNvPr id="115" name="Picture 114"/>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3234959" y="5028578"/>
            <a:ext cx="2830788" cy="1281543"/>
          </a:xfrm>
          <a:prstGeom prst="rect">
            <a:avLst/>
          </a:prstGeom>
        </p:spPr>
      </p:pic>
      <p:sp>
        <p:nvSpPr>
          <p:cNvPr id="2" name="Title 1"/>
          <p:cNvSpPr>
            <a:spLocks noGrp="1"/>
          </p:cNvSpPr>
          <p:nvPr>
            <p:ph type="title"/>
          </p:nvPr>
        </p:nvSpPr>
        <p:spPr/>
        <p:txBody>
          <a:bodyPr/>
          <a:lstStyle/>
          <a:p>
            <a:r>
              <a:rPr lang="en-US" dirty="0"/>
              <a:t>MindSphere 3.0</a:t>
            </a:r>
            <a:br>
              <a:rPr lang="en-US" dirty="0"/>
            </a:br>
            <a:r>
              <a:rPr lang="en-US" b="0" dirty="0"/>
              <a:t>Asset </a:t>
            </a:r>
            <a:r>
              <a:rPr lang="en-US" b="0" dirty="0" smtClean="0"/>
              <a:t>and Hierarchy</a:t>
            </a:r>
            <a:endParaRPr lang="de-DE" dirty="0"/>
          </a:p>
        </p:txBody>
      </p:sp>
      <p:sp>
        <p:nvSpPr>
          <p:cNvPr id="3" name="Rectangle 2"/>
          <p:cNvSpPr/>
          <p:nvPr/>
        </p:nvSpPr>
        <p:spPr bwMode="auto">
          <a:xfrm>
            <a:off x="5832219" y="1299911"/>
            <a:ext cx="1441146" cy="648079"/>
          </a:xfrm>
          <a:prstGeom prst="rect">
            <a:avLst/>
          </a:prstGeom>
          <a:solidFill>
            <a:schemeClr val="bg2"/>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Asset</a:t>
            </a:r>
            <a:endParaRPr lang="de-DE" sz="1200" dirty="0">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1088482" y="2786319"/>
            <a:ext cx="1260369"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Hierarchy</a:t>
            </a:r>
            <a:endParaRPr lang="de-DE" sz="1200" dirty="0">
              <a:ea typeface="Arial Unicode MS" panose="020B0604020202020204" pitchFamily="34" charset="-128"/>
              <a:cs typeface="Arial Unicode MS" panose="020B0604020202020204" pitchFamily="34" charset="-128"/>
            </a:endParaRPr>
          </a:p>
        </p:txBody>
      </p:sp>
      <p:cxnSp>
        <p:nvCxnSpPr>
          <p:cNvPr id="7" name="Elbow Connector 6"/>
          <p:cNvCxnSpPr>
            <a:stCxn id="3" idx="2"/>
            <a:endCxn id="4" idx="0"/>
          </p:cNvCxnSpPr>
          <p:nvPr/>
        </p:nvCxnSpPr>
        <p:spPr bwMode="auto">
          <a:xfrm rot="5400000">
            <a:off x="3716566" y="-49908"/>
            <a:ext cx="838329" cy="4834125"/>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Elbow Connector 8"/>
          <p:cNvCxnSpPr>
            <a:stCxn id="3" idx="2"/>
            <a:endCxn id="5" idx="0"/>
          </p:cNvCxnSpPr>
          <p:nvPr/>
        </p:nvCxnSpPr>
        <p:spPr bwMode="auto">
          <a:xfrm rot="16200000" flipH="1">
            <a:off x="6139978" y="2360803"/>
            <a:ext cx="825629" cy="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Rectangle 10"/>
          <p:cNvSpPr/>
          <p:nvPr/>
        </p:nvSpPr>
        <p:spPr bwMode="auto">
          <a:xfrm>
            <a:off x="96604" y="3950281"/>
            <a:ext cx="1292174"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RootHierarchy</a:t>
            </a:r>
            <a:endParaRPr lang="de-DE" sz="12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2639671" y="4767820"/>
            <a:ext cx="1010374"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Area</a:t>
            </a:r>
            <a:endParaRPr lang="de-DE" sz="12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1524585" y="4755315"/>
            <a:ext cx="1010374"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Site</a:t>
            </a:r>
            <a:endParaRPr lang="de-DE" sz="12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42254" y="4767820"/>
            <a:ext cx="1386271" cy="521533"/>
          </a:xfrm>
          <a:prstGeom prst="rect">
            <a:avLst/>
          </a:prstGeom>
          <a:solidFill>
            <a:srgbClr val="FFC00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Enterprise</a:t>
            </a:r>
            <a:endParaRPr lang="de-DE" sz="12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4133292" y="4755317"/>
            <a:ext cx="1252514"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Nano</a:t>
            </a:r>
          </a:p>
        </p:txBody>
      </p:sp>
      <p:sp>
        <p:nvSpPr>
          <p:cNvPr id="17" name="Rectangle 16"/>
          <p:cNvSpPr/>
          <p:nvPr/>
        </p:nvSpPr>
        <p:spPr bwMode="auto">
          <a:xfrm>
            <a:off x="5484218" y="4767812"/>
            <a:ext cx="1195107"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IoT2040</a:t>
            </a:r>
          </a:p>
        </p:txBody>
      </p:sp>
      <p:sp>
        <p:nvSpPr>
          <p:cNvPr id="18" name="Rectangle 17"/>
          <p:cNvSpPr/>
          <p:nvPr/>
        </p:nvSpPr>
        <p:spPr bwMode="auto">
          <a:xfrm>
            <a:off x="6777737" y="4755316"/>
            <a:ext cx="1172874"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FB 1500</a:t>
            </a:r>
          </a:p>
        </p:txBody>
      </p:sp>
      <p:sp>
        <p:nvSpPr>
          <p:cNvPr id="19" name="Rectangle 18"/>
          <p:cNvSpPr/>
          <p:nvPr/>
        </p:nvSpPr>
        <p:spPr bwMode="auto">
          <a:xfrm>
            <a:off x="9342540" y="4767812"/>
            <a:ext cx="1227156"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Integration</a:t>
            </a:r>
          </a:p>
        </p:txBody>
      </p:sp>
      <p:sp>
        <p:nvSpPr>
          <p:cNvPr id="20" name="Rectangle 19"/>
          <p:cNvSpPr/>
          <p:nvPr/>
        </p:nvSpPr>
        <p:spPr bwMode="auto">
          <a:xfrm>
            <a:off x="8049023" y="4755315"/>
            <a:ext cx="1195105"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MindConnect</a:t>
            </a:r>
            <a:r>
              <a:rPr lang="de-DE" sz="1200" dirty="0">
                <a:ea typeface="Arial Unicode MS" panose="020B0604020202020204" pitchFamily="34" charset="-128"/>
                <a:cs typeface="Arial Unicode MS" panose="020B0604020202020204" pitchFamily="34" charset="-128"/>
              </a:rPr>
              <a:t> LIB</a:t>
            </a:r>
          </a:p>
        </p:txBody>
      </p:sp>
      <p:cxnSp>
        <p:nvCxnSpPr>
          <p:cNvPr id="22" name="Elbow Connector 21"/>
          <p:cNvCxnSpPr>
            <a:stCxn id="3" idx="2"/>
            <a:endCxn id="21" idx="0"/>
          </p:cNvCxnSpPr>
          <p:nvPr/>
        </p:nvCxnSpPr>
        <p:spPr bwMode="auto">
          <a:xfrm rot="16200000" flipH="1">
            <a:off x="8228067" y="272715"/>
            <a:ext cx="825629" cy="4176178"/>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Elbow Connector 32"/>
          <p:cNvCxnSpPr>
            <a:stCxn id="4" idx="2"/>
            <a:endCxn id="11" idx="0"/>
          </p:cNvCxnSpPr>
          <p:nvPr/>
        </p:nvCxnSpPr>
        <p:spPr bwMode="auto">
          <a:xfrm rot="5400000">
            <a:off x="909465" y="3141078"/>
            <a:ext cx="642429" cy="975976"/>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Elbow Connector 34"/>
          <p:cNvCxnSpPr>
            <a:stCxn id="11" idx="2"/>
            <a:endCxn id="14" idx="0"/>
          </p:cNvCxnSpPr>
          <p:nvPr/>
        </p:nvCxnSpPr>
        <p:spPr bwMode="auto">
          <a:xfrm rot="5400000">
            <a:off x="591038" y="4616167"/>
            <a:ext cx="296006" cy="730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Elbow Connector 38"/>
          <p:cNvCxnSpPr>
            <a:stCxn id="4" idx="2"/>
            <a:endCxn id="13" idx="0"/>
          </p:cNvCxnSpPr>
          <p:nvPr/>
        </p:nvCxnSpPr>
        <p:spPr bwMode="auto">
          <a:xfrm rot="16200000" flipH="1">
            <a:off x="1150488" y="3876030"/>
            <a:ext cx="1447463" cy="311105"/>
          </a:xfrm>
          <a:prstGeom prst="bentConnector3">
            <a:avLst>
              <a:gd name="adj1" fmla="val 22266"/>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Elbow Connector 40"/>
          <p:cNvCxnSpPr>
            <a:stCxn id="4" idx="2"/>
            <a:endCxn id="12" idx="0"/>
          </p:cNvCxnSpPr>
          <p:nvPr/>
        </p:nvCxnSpPr>
        <p:spPr bwMode="auto">
          <a:xfrm rot="16200000" flipH="1">
            <a:off x="1701778" y="3324740"/>
            <a:ext cx="1459968" cy="1426191"/>
          </a:xfrm>
          <a:prstGeom prst="bentConnector3">
            <a:avLst>
              <a:gd name="adj1" fmla="val 2250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Elbow Connector 52"/>
          <p:cNvCxnSpPr>
            <a:stCxn id="5" idx="2"/>
            <a:endCxn id="17" idx="0"/>
          </p:cNvCxnSpPr>
          <p:nvPr/>
        </p:nvCxnSpPr>
        <p:spPr bwMode="auto">
          <a:xfrm rot="5400000">
            <a:off x="5580953" y="3795972"/>
            <a:ext cx="1472660" cy="47102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Elbow Connector 54"/>
          <p:cNvCxnSpPr>
            <a:stCxn id="5" idx="2"/>
            <a:endCxn id="18" idx="0"/>
          </p:cNvCxnSpPr>
          <p:nvPr/>
        </p:nvCxnSpPr>
        <p:spPr bwMode="auto">
          <a:xfrm rot="16200000" flipH="1">
            <a:off x="6228401" y="3619543"/>
            <a:ext cx="1460164" cy="811381"/>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Elbow Connector 56"/>
          <p:cNvCxnSpPr>
            <a:stCxn id="5" idx="2"/>
            <a:endCxn id="20" idx="0"/>
          </p:cNvCxnSpPr>
          <p:nvPr/>
        </p:nvCxnSpPr>
        <p:spPr bwMode="auto">
          <a:xfrm rot="16200000" flipH="1">
            <a:off x="6869603" y="2978341"/>
            <a:ext cx="1460163" cy="2093783"/>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Elbow Connector 58"/>
          <p:cNvCxnSpPr>
            <a:stCxn id="5" idx="2"/>
            <a:endCxn id="15" idx="0"/>
          </p:cNvCxnSpPr>
          <p:nvPr/>
        </p:nvCxnSpPr>
        <p:spPr bwMode="auto">
          <a:xfrm rot="5400000">
            <a:off x="4926089" y="3128612"/>
            <a:ext cx="1460165" cy="1793244"/>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Elbow Connector 60"/>
          <p:cNvCxnSpPr>
            <a:stCxn id="5" idx="2"/>
            <a:endCxn id="19" idx="0"/>
          </p:cNvCxnSpPr>
          <p:nvPr/>
        </p:nvCxnSpPr>
        <p:spPr bwMode="auto">
          <a:xfrm rot="16200000" flipH="1">
            <a:off x="7518125" y="2329819"/>
            <a:ext cx="1472660" cy="3403325"/>
          </a:xfrm>
          <a:prstGeom prst="bentConnector3">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14" name="Picture 113"/>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9227289" y="3047085"/>
            <a:ext cx="2830788" cy="1281543"/>
          </a:xfrm>
          <a:prstGeom prst="rect">
            <a:avLst/>
          </a:prstGeom>
        </p:spPr>
      </p:pic>
      <p:sp>
        <p:nvSpPr>
          <p:cNvPr id="21" name="Rectangle 20"/>
          <p:cNvSpPr/>
          <p:nvPr/>
        </p:nvSpPr>
        <p:spPr bwMode="auto">
          <a:xfrm>
            <a:off x="10179293" y="2773619"/>
            <a:ext cx="1099354" cy="521533"/>
          </a:xfrm>
          <a:prstGeom prst="rect">
            <a:avLst/>
          </a:prstGeom>
          <a:solidFill>
            <a:schemeClr val="accent5">
              <a:lumMod val="40000"/>
              <a:lumOff val="60000"/>
            </a:schemeClr>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a:ea typeface="Arial Unicode MS" panose="020B0604020202020204" pitchFamily="34" charset="-128"/>
                <a:cs typeface="Arial Unicode MS" panose="020B0604020202020204" pitchFamily="34" charset="-128"/>
              </a:rPr>
              <a:t>BasicDevice</a:t>
            </a:r>
            <a:endParaRPr lang="de-DE" sz="1200" dirty="0">
              <a:ea typeface="Arial Unicode MS" panose="020B0604020202020204" pitchFamily="34" charset="-128"/>
              <a:cs typeface="Arial Unicode MS" panose="020B0604020202020204" pitchFamily="34" charset="-128"/>
            </a:endParaRPr>
          </a:p>
        </p:txBody>
      </p:sp>
      <p:pic>
        <p:nvPicPr>
          <p:cNvPr id="116" name="Picture 115"/>
          <p:cNvPicPr>
            <a:picLocks noChangeAspect="1"/>
          </p:cNvPicPr>
          <p:nvPr/>
        </p:nvPicPr>
        <p:blipFill rotWithShape="1">
          <a:blip r:embed="rId2" cstate="print">
            <a:extLst>
              <a:ext uri="{28A0092B-C50C-407E-A947-70E740481C1C}">
                <a14:useLocalDpi xmlns:a14="http://schemas.microsoft.com/office/drawing/2010/main" val="0"/>
              </a:ext>
            </a:extLst>
          </a:blip>
          <a:srcRect l="20146" t="7155" r="20425" b="56260"/>
          <a:stretch/>
        </p:blipFill>
        <p:spPr>
          <a:xfrm>
            <a:off x="5055165" y="3046879"/>
            <a:ext cx="2830788" cy="1281543"/>
          </a:xfrm>
          <a:prstGeom prst="rect">
            <a:avLst/>
          </a:prstGeom>
        </p:spPr>
      </p:pic>
      <p:sp>
        <p:nvSpPr>
          <p:cNvPr id="5" name="Rectangle 4"/>
          <p:cNvSpPr/>
          <p:nvPr/>
        </p:nvSpPr>
        <p:spPr bwMode="auto">
          <a:xfrm>
            <a:off x="6047606" y="2773619"/>
            <a:ext cx="1010374" cy="521533"/>
          </a:xfrm>
          <a:prstGeom prst="rect">
            <a:avLst/>
          </a:prstGeom>
          <a:solidFill>
            <a:srgbClr val="92D050"/>
          </a:solidFill>
          <a:ln>
            <a:noFill/>
          </a:ln>
          <a:effectLst/>
          <a:scene3d>
            <a:camera prst="orthographicFron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dirty="0" err="1" smtClean="0">
                <a:solidFill>
                  <a:schemeClr val="tx1"/>
                </a:solidFill>
                <a:latin typeface="+mn-lt"/>
                <a:ea typeface="Arial Unicode MS" panose="020B0604020202020204" pitchFamily="34" charset="-128"/>
                <a:cs typeface="Arial Unicode MS" panose="020B0604020202020204" pitchFamily="34" charset="-128"/>
              </a:rPr>
              <a:t>BasicAgent</a:t>
            </a:r>
            <a:endParaRPr lang="de-DE" sz="12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685862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6"/>
                                        </p:tgtEl>
                                        <p:attrNameLst>
                                          <p:attrName>style.visibility</p:attrName>
                                        </p:attrNameLst>
                                      </p:cBhvr>
                                      <p:to>
                                        <p:strVal val="visible"/>
                                      </p:to>
                                    </p:set>
                                    <p:animEffect transition="in" filter="fade">
                                      <p:cBhvr>
                                        <p:cTn id="12" dur="500"/>
                                        <p:tgtEl>
                                          <p:spTgt spid="1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5"/>
                                        </p:tgtEl>
                                        <p:attrNameLst>
                                          <p:attrName>style.visibility</p:attrName>
                                        </p:attrNameLst>
                                      </p:cBhvr>
                                      <p:to>
                                        <p:strVal val="visible"/>
                                      </p:to>
                                    </p:set>
                                    <p:animEffect transition="in" filter="fade">
                                      <p:cBhvr>
                                        <p:cTn id="17" dur="500"/>
                                        <p:tgtEl>
                                          <p:spTgt spid="1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7"/>
                                        </p:tgtEl>
                                        <p:attrNameLst>
                                          <p:attrName>style.visibility</p:attrName>
                                        </p:attrNameLst>
                                      </p:cBhvr>
                                      <p:to>
                                        <p:strVal val="visible"/>
                                      </p:to>
                                    </p:set>
                                    <p:animEffect transition="in" filter="fade">
                                      <p:cBhvr>
                                        <p:cTn id="22"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4" y="1785"/>
            <a:ext cx="12185653" cy="6854430"/>
          </a:xfrm>
          <a:prstGeom prst="rect">
            <a:avLst/>
          </a:prstGeom>
        </p:spPr>
      </p:pic>
      <p:sp>
        <p:nvSpPr>
          <p:cNvPr id="6" name="TextBox 5"/>
          <p:cNvSpPr txBox="1"/>
          <p:nvPr/>
        </p:nvSpPr>
        <p:spPr>
          <a:xfrm>
            <a:off x="764715" y="1029611"/>
            <a:ext cx="2398767" cy="1461178"/>
          </a:xfrm>
          <a:prstGeom prst="rect">
            <a:avLst/>
          </a:prstGeom>
          <a:noFill/>
        </p:spPr>
        <p:txBody>
          <a:bodyPr wrap="none" rtlCol="0">
            <a:spAutoFit/>
          </a:bodyPr>
          <a:lstStyle/>
          <a:p>
            <a:pPr algn="ctr"/>
            <a:r>
              <a:rPr lang="en-US" sz="8896" b="1" spc="-700" dirty="0">
                <a:solidFill>
                  <a:schemeClr val="bg1"/>
                </a:solidFill>
                <a:ea typeface="Siemens Sans Black" charset="0"/>
                <a:cs typeface="Siemens Sans Black" charset="0"/>
              </a:rPr>
              <a:t>Fleet</a:t>
            </a:r>
          </a:p>
        </p:txBody>
      </p:sp>
      <p:sp>
        <p:nvSpPr>
          <p:cNvPr id="7" name="TextBox 6"/>
          <p:cNvSpPr txBox="1"/>
          <p:nvPr/>
        </p:nvSpPr>
        <p:spPr>
          <a:xfrm>
            <a:off x="1470828" y="1967824"/>
            <a:ext cx="6259993" cy="1461178"/>
          </a:xfrm>
          <a:prstGeom prst="rect">
            <a:avLst/>
          </a:prstGeom>
          <a:noFill/>
        </p:spPr>
        <p:txBody>
          <a:bodyPr wrap="none" rtlCol="0">
            <a:spAutoFit/>
          </a:bodyPr>
          <a:lstStyle/>
          <a:p>
            <a:pPr algn="ctr"/>
            <a:r>
              <a:rPr lang="en-US" sz="8896" b="1" spc="-700" dirty="0">
                <a:solidFill>
                  <a:schemeClr val="bg1"/>
                </a:solidFill>
                <a:ea typeface="Siemens Sans Black" charset="0"/>
                <a:cs typeface="Siemens Sans Black" charset="0"/>
              </a:rPr>
              <a:t>Management</a:t>
            </a:r>
          </a:p>
        </p:txBody>
      </p:sp>
      <p:sp>
        <p:nvSpPr>
          <p:cNvPr id="8" name="TextBox 7"/>
          <p:cNvSpPr txBox="1"/>
          <p:nvPr/>
        </p:nvSpPr>
        <p:spPr>
          <a:xfrm>
            <a:off x="383975" y="4266764"/>
            <a:ext cx="5255063" cy="1814424"/>
          </a:xfrm>
          <a:prstGeom prst="rect">
            <a:avLst/>
          </a:prstGeom>
          <a:solidFill>
            <a:srgbClr val="FFFFFF">
              <a:alpha val="60000"/>
            </a:srgbClr>
          </a:solidFill>
        </p:spPr>
        <p:txBody>
          <a:bodyPr wrap="square" rtlCol="0">
            <a:spAutoFit/>
          </a:bodyPr>
          <a:lstStyle/>
          <a:p>
            <a:r>
              <a:rPr lang="en-US" sz="2799" b="1" spc="-70" dirty="0">
                <a:ea typeface="Siemens Sans" charset="0"/>
                <a:cs typeface="Siemens Sans" charset="0"/>
              </a:rPr>
              <a:t>Always up to date</a:t>
            </a:r>
          </a:p>
          <a:p>
            <a:r>
              <a:rPr lang="en-US" sz="2799" spc="-70" dirty="0">
                <a:ea typeface="Siemens Sans Roman" charset="0"/>
                <a:cs typeface="Siemens Sans Roman" charset="0"/>
              </a:rPr>
              <a:t>The key data for your connected components and systems</a:t>
            </a:r>
          </a:p>
          <a:p>
            <a:endParaRPr lang="en-US" sz="2799" spc="-70" dirty="0">
              <a:ea typeface="Siemens Sans Roman" charset="0"/>
              <a:cs typeface="Siemens Sans Roman" charset="0"/>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92683" y="195467"/>
            <a:ext cx="1802461" cy="761603"/>
          </a:xfrm>
          <a:prstGeom prst="rect">
            <a:avLst/>
          </a:prstGeom>
        </p:spPr>
      </p:pic>
    </p:spTree>
    <p:extLst>
      <p:ext uri="{BB962C8B-B14F-4D97-AF65-F5344CB8AC3E}">
        <p14:creationId xmlns:p14="http://schemas.microsoft.com/office/powerpoint/2010/main" val="244502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1921710" y="2574943"/>
            <a:ext cx="8528506" cy="1353512"/>
          </a:xfrm>
          <a:prstGeom prst="rect">
            <a:avLst/>
          </a:prstGeom>
          <a:noFill/>
        </p:spPr>
        <p:txBody>
          <a:bodyPr wrap="square" lIns="0" tIns="0" rIns="0" bIns="0" rtlCol="0">
            <a:spAutoFit/>
          </a:bodyPr>
          <a:lstStyle/>
          <a:p>
            <a:r>
              <a:rPr lang="de-DE" sz="8796" dirty="0" err="1" smtClean="0"/>
              <a:t>How</a:t>
            </a:r>
            <a:r>
              <a:rPr lang="de-DE" sz="8796" dirty="0" smtClean="0"/>
              <a:t> </a:t>
            </a:r>
            <a:r>
              <a:rPr lang="de-DE" sz="8796" dirty="0" err="1" smtClean="0"/>
              <a:t>to</a:t>
            </a:r>
            <a:r>
              <a:rPr lang="de-DE" sz="8796" dirty="0" smtClean="0"/>
              <a:t> </a:t>
            </a:r>
            <a:r>
              <a:rPr lang="de-DE" sz="8796" dirty="0" err="1" smtClean="0"/>
              <a:t>connect</a:t>
            </a:r>
            <a:r>
              <a:rPr lang="de-DE" sz="8796" dirty="0" smtClean="0"/>
              <a:t>?</a:t>
            </a:r>
            <a:endParaRPr lang="en-US" sz="8796" dirty="0" err="1"/>
          </a:p>
        </p:txBody>
      </p:sp>
      <p:sp>
        <p:nvSpPr>
          <p:cNvPr id="2" name="Title 1"/>
          <p:cNvSpPr>
            <a:spLocks noGrp="1"/>
          </p:cNvSpPr>
          <p:nvPr>
            <p:ph type="title"/>
          </p:nvPr>
        </p:nvSpPr>
        <p:spPr/>
        <p:txBody>
          <a:bodyPr/>
          <a:lstStyle/>
          <a:p>
            <a:endParaRPr lang="de-DE"/>
          </a:p>
        </p:txBody>
      </p:sp>
    </p:spTree>
    <p:custDataLst>
      <p:tags r:id="rId1"/>
    </p:custDataLst>
    <p:extLst>
      <p:ext uri="{BB962C8B-B14F-4D97-AF65-F5344CB8AC3E}">
        <p14:creationId xmlns:p14="http://schemas.microsoft.com/office/powerpoint/2010/main" val="1650191389"/>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MindSphere 3.0</a:t>
            </a:r>
            <a:br>
              <a:rPr lang="en-US" dirty="0" smtClean="0"/>
            </a:br>
            <a:r>
              <a:rPr lang="en-US" b="0" dirty="0" smtClean="0"/>
              <a:t>Fleet Manager</a:t>
            </a:r>
            <a:endParaRPr lang="en-US" b="0" dirty="0"/>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smtClean="0">
              <a:solidFill>
                <a:srgbClr val="FFFFFF"/>
              </a:solidFill>
            </a:endParaRPr>
          </a:p>
        </p:txBody>
      </p:sp>
      <p:sp>
        <p:nvSpPr>
          <p:cNvPr id="3" name="Rechteck 2"/>
          <p:cNvSpPr/>
          <p:nvPr/>
        </p:nvSpPr>
        <p:spPr bwMode="auto">
          <a:xfrm>
            <a:off x="455237" y="1174783"/>
            <a:ext cx="2123839" cy="68918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smtClean="0">
                <a:solidFill>
                  <a:schemeClr val="bg1"/>
                </a:solidFill>
                <a:latin typeface="+mn-lt"/>
                <a:ea typeface="Arial Unicode MS" panose="020B0604020202020204" pitchFamily="34" charset="-128"/>
                <a:cs typeface="Arial Unicode MS" panose="020B0604020202020204" pitchFamily="34" charset="-128"/>
              </a:rPr>
              <a:t>Transparency</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of</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p>
          <a:p>
            <a:pPr algn="ctr">
              <a:lnSpc>
                <a:spcPct val="110000"/>
              </a:lnSpc>
              <a:spcBef>
                <a:spcPct val="0"/>
              </a:spcBef>
              <a:buFont typeface="Wingdings" charset="0"/>
              <a:buNone/>
            </a:pPr>
            <a:r>
              <a:rPr lang="de-DE" sz="1600" dirty="0" err="1" smtClean="0">
                <a:solidFill>
                  <a:schemeClr val="bg1"/>
                </a:solidFill>
                <a:latin typeface="+mn-lt"/>
                <a:ea typeface="Arial Unicode MS" panose="020B0604020202020204" pitchFamily="34" charset="-128"/>
                <a:cs typeface="Arial Unicode MS" panose="020B0604020202020204" pitchFamily="34" charset="-128"/>
              </a:rPr>
              <a:t>installed</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base</a:t>
            </a:r>
            <a:endParaRPr lang="en-US" sz="1600" dirty="0" smtClean="0">
              <a:solidFill>
                <a:schemeClr val="bg1"/>
              </a:solidFill>
              <a:latin typeface="+mn-lt"/>
              <a:ea typeface="Arial Unicode MS" panose="020B0604020202020204" pitchFamily="34" charset="-128"/>
              <a:cs typeface="Arial Unicode MS" panose="020B0604020202020204" pitchFamily="34" charset="-128"/>
            </a:endParaRPr>
          </a:p>
        </p:txBody>
      </p:sp>
      <p:sp>
        <p:nvSpPr>
          <p:cNvPr id="8" name="Rechteck 7"/>
          <p:cNvSpPr/>
          <p:nvPr/>
        </p:nvSpPr>
        <p:spPr bwMode="auto">
          <a:xfrm>
            <a:off x="2625968" y="1174781"/>
            <a:ext cx="3509705" cy="68918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smtClean="0">
                <a:solidFill>
                  <a:schemeClr val="bg1"/>
                </a:solidFill>
                <a:latin typeface="+mn-lt"/>
                <a:ea typeface="Arial Unicode MS" panose="020B0604020202020204" pitchFamily="34" charset="-128"/>
                <a:cs typeface="Arial Unicode MS" panose="020B0604020202020204" pitchFamily="34" charset="-128"/>
              </a:rPr>
              <a:t>Analysis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for</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each</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ea typeface="Arial Unicode MS" panose="020B0604020202020204" pitchFamily="34" charset="-128"/>
                <a:cs typeface="Arial Unicode MS" panose="020B0604020202020204" pitchFamily="34" charset="-128"/>
              </a:rPr>
              <a:t>a</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sset</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cluster</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of</a:t>
            </a:r>
            <a:r>
              <a:rPr lang="de-DE" sz="1600" dirty="0" smtClean="0">
                <a:solidFill>
                  <a:schemeClr val="bg1"/>
                </a:solidFill>
                <a:latin typeface="+mn-lt"/>
                <a:ea typeface="Arial Unicode MS" panose="020B0604020202020204" pitchFamily="34" charset="-128"/>
                <a:cs typeface="Arial Unicode MS" panose="020B0604020202020204" pitchFamily="34" charset="-128"/>
              </a:rPr>
              <a:t> multiple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data</a:t>
            </a:r>
            <a:r>
              <a:rPr lang="de-DE" sz="1600" dirty="0" smtClean="0">
                <a:solidFill>
                  <a:schemeClr val="bg1"/>
                </a:solidFill>
                <a:latin typeface="+mn-lt"/>
                <a:ea typeface="Arial Unicode MS" panose="020B0604020202020204" pitchFamily="34" charset="-128"/>
                <a:cs typeface="Arial Unicode MS" panose="020B0604020202020204" pitchFamily="34" charset="-128"/>
              </a:rPr>
              <a:t> </a:t>
            </a:r>
            <a:r>
              <a:rPr lang="de-DE" sz="1600" dirty="0" err="1" smtClean="0">
                <a:solidFill>
                  <a:schemeClr val="bg1"/>
                </a:solidFill>
                <a:latin typeface="+mn-lt"/>
                <a:ea typeface="Arial Unicode MS" panose="020B0604020202020204" pitchFamily="34" charset="-128"/>
                <a:cs typeface="Arial Unicode MS" panose="020B0604020202020204" pitchFamily="34" charset="-128"/>
              </a:rPr>
              <a:t>sources</a:t>
            </a:r>
            <a:endParaRPr lang="en-US" sz="1600" dirty="0" smtClean="0">
              <a:solidFill>
                <a:schemeClr val="bg1"/>
              </a:solidFill>
              <a:latin typeface="+mn-lt"/>
              <a:ea typeface="Arial Unicode MS" panose="020B0604020202020204" pitchFamily="34" charset="-128"/>
              <a:cs typeface="Arial Unicode MS" panose="020B0604020202020204" pitchFamily="34" charset="-128"/>
            </a:endParaRPr>
          </a:p>
        </p:txBody>
      </p:sp>
      <p:sp>
        <p:nvSpPr>
          <p:cNvPr id="9" name="Rechteck 8"/>
          <p:cNvSpPr/>
          <p:nvPr/>
        </p:nvSpPr>
        <p:spPr bwMode="auto">
          <a:xfrm>
            <a:off x="6186610" y="1174782"/>
            <a:ext cx="3476382" cy="68918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smtClean="0">
                <a:solidFill>
                  <a:schemeClr val="bg1"/>
                </a:solidFill>
                <a:ea typeface="Arial Unicode MS" panose="020B0604020202020204" pitchFamily="34" charset="-128"/>
                <a:cs typeface="Arial Unicode MS" panose="020B0604020202020204" pitchFamily="34" charset="-128"/>
              </a:rPr>
              <a:t>Request </a:t>
            </a:r>
            <a:r>
              <a:rPr lang="de-DE" sz="1600" dirty="0" err="1" smtClean="0">
                <a:solidFill>
                  <a:schemeClr val="bg1"/>
                </a:solidFill>
                <a:ea typeface="Arial Unicode MS" panose="020B0604020202020204" pitchFamily="34" charset="-128"/>
                <a:cs typeface="Arial Unicode MS" panose="020B0604020202020204" pitchFamily="34" charset="-128"/>
              </a:rPr>
              <a:t>function</a:t>
            </a:r>
            <a:r>
              <a:rPr lang="de-DE" sz="1600" dirty="0" smtClean="0">
                <a:solidFill>
                  <a:schemeClr val="bg1"/>
                </a:solidFill>
                <a:ea typeface="Arial Unicode MS" panose="020B0604020202020204" pitchFamily="34" charset="-128"/>
                <a:cs typeface="Arial Unicode MS" panose="020B0604020202020204" pitchFamily="34" charset="-128"/>
              </a:rPr>
              <a:t>, </a:t>
            </a:r>
            <a:r>
              <a:rPr lang="de-DE" sz="1600" dirty="0" err="1" smtClean="0">
                <a:solidFill>
                  <a:schemeClr val="bg1"/>
                </a:solidFill>
                <a:ea typeface="Arial Unicode MS" panose="020B0604020202020204" pitchFamily="34" charset="-128"/>
                <a:cs typeface="Arial Unicode MS" panose="020B0604020202020204" pitchFamily="34" charset="-128"/>
              </a:rPr>
              <a:t>defining</a:t>
            </a:r>
            <a:r>
              <a:rPr lang="de-DE" sz="1600" dirty="0" smtClean="0">
                <a:solidFill>
                  <a:schemeClr val="bg1"/>
                </a:solidFill>
                <a:ea typeface="Arial Unicode MS" panose="020B0604020202020204" pitchFamily="34" charset="-128"/>
                <a:cs typeface="Arial Unicode MS" panose="020B0604020202020204" pitchFamily="34" charset="-128"/>
              </a:rPr>
              <a:t> </a:t>
            </a:r>
            <a:r>
              <a:rPr lang="de-DE" sz="1600" dirty="0" err="1" smtClean="0">
                <a:solidFill>
                  <a:schemeClr val="bg1"/>
                </a:solidFill>
                <a:ea typeface="Arial Unicode MS" panose="020B0604020202020204" pitchFamily="34" charset="-128"/>
                <a:cs typeface="Arial Unicode MS" panose="020B0604020202020204" pitchFamily="34" charset="-128"/>
              </a:rPr>
              <a:t>actions</a:t>
            </a:r>
            <a:r>
              <a:rPr lang="de-DE" sz="1600" dirty="0" smtClean="0">
                <a:solidFill>
                  <a:schemeClr val="bg1"/>
                </a:solidFill>
                <a:ea typeface="Arial Unicode MS" panose="020B0604020202020204" pitchFamily="34" charset="-128"/>
                <a:cs typeface="Arial Unicode MS" panose="020B0604020202020204" pitchFamily="34" charset="-128"/>
              </a:rPr>
              <a:t> after an </a:t>
            </a:r>
            <a:r>
              <a:rPr lang="de-DE" sz="1600" dirty="0" err="1" smtClean="0">
                <a:solidFill>
                  <a:schemeClr val="bg1"/>
                </a:solidFill>
                <a:ea typeface="Arial Unicode MS" panose="020B0604020202020204" pitchFamily="34" charset="-128"/>
                <a:cs typeface="Arial Unicode MS" panose="020B0604020202020204" pitchFamily="34" charset="-128"/>
              </a:rPr>
              <a:t>occurrence</a:t>
            </a:r>
            <a:r>
              <a:rPr lang="de-DE" sz="1600" dirty="0" smtClean="0">
                <a:solidFill>
                  <a:schemeClr val="bg1"/>
                </a:solidFill>
                <a:ea typeface="Arial Unicode MS" panose="020B0604020202020204" pitchFamily="34" charset="-128"/>
                <a:cs typeface="Arial Unicode MS" panose="020B0604020202020204" pitchFamily="34" charset="-128"/>
              </a:rPr>
              <a:t> </a:t>
            </a:r>
            <a:r>
              <a:rPr lang="de-DE" sz="1600" dirty="0" err="1" smtClean="0">
                <a:solidFill>
                  <a:schemeClr val="bg1"/>
                </a:solidFill>
                <a:ea typeface="Arial Unicode MS" panose="020B0604020202020204" pitchFamily="34" charset="-128"/>
                <a:cs typeface="Arial Unicode MS" panose="020B0604020202020204" pitchFamily="34" charset="-128"/>
              </a:rPr>
              <a:t>of</a:t>
            </a:r>
            <a:r>
              <a:rPr lang="de-DE" sz="1600" dirty="0" smtClean="0">
                <a:solidFill>
                  <a:schemeClr val="bg1"/>
                </a:solidFill>
                <a:ea typeface="Arial Unicode MS" panose="020B0604020202020204" pitchFamily="34" charset="-128"/>
                <a:cs typeface="Arial Unicode MS" panose="020B0604020202020204" pitchFamily="34" charset="-128"/>
              </a:rPr>
              <a:t> an </a:t>
            </a:r>
            <a:r>
              <a:rPr lang="de-DE" sz="1600" dirty="0" err="1" smtClean="0">
                <a:solidFill>
                  <a:schemeClr val="bg1"/>
                </a:solidFill>
                <a:ea typeface="Arial Unicode MS" panose="020B0604020202020204" pitchFamily="34" charset="-128"/>
                <a:cs typeface="Arial Unicode MS" panose="020B0604020202020204" pitchFamily="34" charset="-128"/>
              </a:rPr>
              <a:t>event</a:t>
            </a:r>
            <a:endParaRPr lang="en-US" sz="1600" dirty="0" smtClean="0">
              <a:solidFill>
                <a:schemeClr val="bg1"/>
              </a:solidFill>
              <a:ea typeface="Arial Unicode MS" panose="020B0604020202020204" pitchFamily="34" charset="-128"/>
              <a:cs typeface="Arial Unicode MS" panose="020B0604020202020204" pitchFamily="34" charset="-128"/>
            </a:endParaRPr>
          </a:p>
        </p:txBody>
      </p:sp>
      <p:sp>
        <p:nvSpPr>
          <p:cNvPr id="13" name="Rechteck 12"/>
          <p:cNvSpPr/>
          <p:nvPr/>
        </p:nvSpPr>
        <p:spPr bwMode="auto">
          <a:xfrm>
            <a:off x="9704746" y="1174783"/>
            <a:ext cx="2123839" cy="68918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smtClean="0">
                <a:solidFill>
                  <a:schemeClr val="bg1"/>
                </a:solidFill>
                <a:latin typeface="+mn-lt"/>
                <a:ea typeface="Arial Unicode MS" panose="020B0604020202020204" pitchFamily="34" charset="-128"/>
                <a:cs typeface="Arial Unicode MS" panose="020B0604020202020204" pitchFamily="34" charset="-128"/>
              </a:rPr>
              <a:t>Map</a:t>
            </a:r>
            <a:r>
              <a:rPr lang="de-DE" sz="1600" dirty="0" smtClean="0">
                <a:solidFill>
                  <a:schemeClr val="bg1"/>
                </a:solidFill>
                <a:latin typeface="+mn-lt"/>
                <a:ea typeface="Arial Unicode MS" panose="020B0604020202020204" pitchFamily="34" charset="-128"/>
                <a:cs typeface="Arial Unicode MS" panose="020B0604020202020204" pitchFamily="34" charset="-128"/>
              </a:rPr>
              <a:t> View</a:t>
            </a:r>
            <a:endParaRPr lang="en-US" sz="1600" dirty="0" smtClean="0">
              <a:solidFill>
                <a:schemeClr val="bg1"/>
              </a:solidFill>
              <a:latin typeface="+mn-lt"/>
              <a:ea typeface="Arial Unicode MS" panose="020B0604020202020204" pitchFamily="34" charset="-128"/>
              <a:cs typeface="Arial Unicode MS" panose="020B0604020202020204" pitchFamily="34" charset="-128"/>
            </a:endParaRPr>
          </a:p>
        </p:txBody>
      </p:sp>
      <p:sp>
        <p:nvSpPr>
          <p:cNvPr id="14" name="Gleichschenkliges Dreieck 13"/>
          <p:cNvSpPr/>
          <p:nvPr/>
        </p:nvSpPr>
        <p:spPr bwMode="auto">
          <a:xfrm rot="5400000">
            <a:off x="7334137" y="4067466"/>
            <a:ext cx="4006785" cy="371164"/>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5" name="Rechteck 14"/>
          <p:cNvSpPr/>
          <p:nvPr/>
        </p:nvSpPr>
        <p:spPr>
          <a:xfrm>
            <a:off x="9894277" y="3210455"/>
            <a:ext cx="2016958" cy="2085186"/>
          </a:xfrm>
          <a:prstGeom prst="rect">
            <a:avLst/>
          </a:prstGeom>
        </p:spPr>
        <p:txBody>
          <a:bodyPr wrap="square">
            <a:spAutoFit/>
          </a:bodyPr>
          <a:lstStyle/>
          <a:p>
            <a:pPr marL="180885" lvl="2">
              <a:spcAft>
                <a:spcPts val="300"/>
              </a:spcAft>
              <a:buClr>
                <a:schemeClr val="accent1"/>
              </a:buClr>
              <a:buSzPts val="1400"/>
            </a:pPr>
            <a:r>
              <a:rPr lang="en-US" sz="1600" b="1" dirty="0" smtClean="0"/>
              <a:t>Equipment transparency:</a:t>
            </a:r>
          </a:p>
          <a:p>
            <a:pPr marL="466635" lvl="2" indent="-285750">
              <a:spcAft>
                <a:spcPts val="300"/>
              </a:spcAft>
              <a:buClr>
                <a:schemeClr val="accent1"/>
              </a:buClr>
              <a:buSzPts val="1400"/>
              <a:buFont typeface="Arial" charset="0"/>
              <a:buChar char="•"/>
            </a:pPr>
            <a:r>
              <a:rPr lang="en-US" sz="1500" dirty="0" smtClean="0"/>
              <a:t>Live process data</a:t>
            </a:r>
          </a:p>
          <a:p>
            <a:pPr marL="466635" lvl="2" indent="-285750">
              <a:spcAft>
                <a:spcPts val="300"/>
              </a:spcAft>
              <a:buClr>
                <a:schemeClr val="accent1"/>
              </a:buClr>
              <a:buSzPts val="1400"/>
              <a:buFont typeface="Arial" charset="0"/>
              <a:buChar char="•"/>
            </a:pPr>
            <a:r>
              <a:rPr lang="en-US" sz="1500" dirty="0" smtClean="0"/>
              <a:t>Root cause analysis</a:t>
            </a:r>
          </a:p>
          <a:p>
            <a:pPr marL="466635" lvl="2" indent="-285750">
              <a:spcAft>
                <a:spcPts val="300"/>
              </a:spcAft>
              <a:buClr>
                <a:schemeClr val="accent1"/>
              </a:buClr>
              <a:buSzPts val="1400"/>
              <a:buFont typeface="Arial" charset="0"/>
              <a:buChar char="•"/>
            </a:pPr>
            <a:r>
              <a:rPr lang="en-US" sz="1500" dirty="0" smtClean="0"/>
              <a:t>Rule triggered events</a:t>
            </a:r>
            <a:endParaRPr lang="en-US" sz="1500" dirty="0"/>
          </a:p>
        </p:txBody>
      </p:sp>
      <p:pic>
        <p:nvPicPr>
          <p:cNvPr id="4" name="Picture 3"/>
          <p:cNvPicPr>
            <a:picLocks noChangeAspect="1"/>
          </p:cNvPicPr>
          <p:nvPr/>
        </p:nvPicPr>
        <p:blipFill>
          <a:blip r:embed="rId3"/>
          <a:stretch>
            <a:fillRect/>
          </a:stretch>
        </p:blipFill>
        <p:spPr>
          <a:xfrm>
            <a:off x="343605" y="2249655"/>
            <a:ext cx="8808343" cy="40067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592336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Fleet Manager</a:t>
            </a:r>
            <a:br>
              <a:rPr lang="en-US" dirty="0" smtClean="0"/>
            </a:br>
            <a:r>
              <a:rPr lang="en-US" b="0" dirty="0" smtClean="0"/>
              <a:t>Visual Analyzer</a:t>
            </a:r>
            <a:endParaRPr lang="en-US" b="0" dirty="0"/>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smtClean="0">
              <a:solidFill>
                <a:srgbClr val="FFFFFF"/>
              </a:solidFill>
            </a:endParaRPr>
          </a:p>
        </p:txBody>
      </p:sp>
      <p:sp>
        <p:nvSpPr>
          <p:cNvPr id="14" name="Gleichschenkliges Dreieck 13"/>
          <p:cNvSpPr/>
          <p:nvPr/>
        </p:nvSpPr>
        <p:spPr bwMode="auto">
          <a:xfrm rot="5400000">
            <a:off x="7226066" y="4034147"/>
            <a:ext cx="4186261" cy="334497"/>
          </a:xfrm>
          <a:prstGeom prst="triangle">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5" name="Rechteck 14"/>
          <p:cNvSpPr/>
          <p:nvPr/>
        </p:nvSpPr>
        <p:spPr>
          <a:xfrm>
            <a:off x="9894277" y="3210455"/>
            <a:ext cx="2016958" cy="2085186"/>
          </a:xfrm>
          <a:prstGeom prst="rect">
            <a:avLst/>
          </a:prstGeom>
        </p:spPr>
        <p:txBody>
          <a:bodyPr wrap="square">
            <a:spAutoFit/>
          </a:bodyPr>
          <a:lstStyle/>
          <a:p>
            <a:pPr marL="180885" lvl="2">
              <a:spcAft>
                <a:spcPts val="300"/>
              </a:spcAft>
              <a:buClr>
                <a:schemeClr val="accent1"/>
              </a:buClr>
              <a:buSzPts val="1400"/>
            </a:pPr>
            <a:r>
              <a:rPr lang="en-US" sz="1600" b="1" dirty="0" smtClean="0"/>
              <a:t>Visualize the data:</a:t>
            </a:r>
          </a:p>
          <a:p>
            <a:pPr marL="466635" lvl="2" indent="-285750">
              <a:spcAft>
                <a:spcPts val="300"/>
              </a:spcAft>
              <a:buClr>
                <a:schemeClr val="accent1"/>
              </a:buClr>
              <a:buSzPts val="1400"/>
              <a:buFont typeface="Arial" charset="0"/>
              <a:buChar char="•"/>
            </a:pPr>
            <a:r>
              <a:rPr lang="en-US" sz="1500" dirty="0" smtClean="0"/>
              <a:t>Select visualization</a:t>
            </a:r>
          </a:p>
          <a:p>
            <a:pPr marL="466635" lvl="2" indent="-285750">
              <a:spcAft>
                <a:spcPts val="300"/>
              </a:spcAft>
              <a:buClr>
                <a:schemeClr val="accent1"/>
              </a:buClr>
              <a:buSzPts val="1400"/>
              <a:buFont typeface="Arial" charset="0"/>
              <a:buChar char="•"/>
            </a:pPr>
            <a:r>
              <a:rPr lang="en-US" sz="1500" dirty="0" smtClean="0"/>
              <a:t>Select time frame</a:t>
            </a:r>
          </a:p>
          <a:p>
            <a:pPr marL="466635" lvl="2" indent="-285750">
              <a:spcAft>
                <a:spcPts val="300"/>
              </a:spcAft>
              <a:buClr>
                <a:schemeClr val="accent1"/>
              </a:buClr>
              <a:buSzPts val="1400"/>
              <a:buFont typeface="Arial" charset="0"/>
              <a:buChar char="•"/>
            </a:pPr>
            <a:r>
              <a:rPr lang="en-US" sz="1500" dirty="0" smtClean="0"/>
              <a:t>Save and share current view</a:t>
            </a:r>
            <a:endParaRPr lang="en-US" sz="1500"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792" y="1396448"/>
            <a:ext cx="7319208" cy="41640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86205" y="2295014"/>
            <a:ext cx="3118093" cy="17773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29384" y="4308059"/>
            <a:ext cx="3999012" cy="22744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2372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520000" y="3960000"/>
            <a:ext cx="5976664" cy="2232248"/>
            <a:chOff x="2354759" y="2508565"/>
            <a:chExt cx="5976664" cy="2232248"/>
          </a:xfrm>
          <a:solidFill>
            <a:srgbClr val="2387AA"/>
          </a:solidFill>
        </p:grpSpPr>
        <p:sp>
          <p:nvSpPr>
            <p:cNvPr id="40" name="Abgerundetes Rechteck 2"/>
            <p:cNvSpPr/>
            <p:nvPr/>
          </p:nvSpPr>
          <p:spPr bwMode="auto">
            <a:xfrm>
              <a:off x="2354759"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1" name="Picture 2" descr="http://globaloria.com/wp-content/uploads/bb-plugin/cache/globaloria_Training_Page_Icon_HandsOn-circle.png"/>
            <p:cNvPicPr>
              <a:picLocks noChangeAspect="1" noChangeArrowheads="1"/>
            </p:cNvPicPr>
            <p:nvPr/>
          </p:nvPicPr>
          <p:blipFill>
            <a:blip r:embed="rId5">
              <a:biLevel thresh="25000"/>
              <a:extLst>
                <a:ext uri="{BEBA8EAE-BF5A-486C-A8C5-ECC9F3942E4B}">
                  <a14:imgProps xmlns:a14="http://schemas.microsoft.com/office/drawing/2010/main">
                    <a14:imgLayer r:embed="rId6">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pic>
        <p:nvPicPr>
          <p:cNvPr id="285" name="software_tia-portal_step7.png"/>
          <p:cNvPicPr>
            <a:picLocks noChangeAspect="1"/>
          </p:cNvPicPr>
          <p:nvPr>
            <p:custDataLst>
              <p:tags r:id="rId1"/>
            </p:custDataLst>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91232" y="1552244"/>
            <a:ext cx="3657298" cy="3657298"/>
          </a:xfrm>
          <a:prstGeom prst="rect">
            <a:avLst/>
          </a:prstGeom>
        </p:spPr>
      </p:pic>
      <p:sp>
        <p:nvSpPr>
          <p:cNvPr id="2" name="Titel 1"/>
          <p:cNvSpPr>
            <a:spLocks noGrp="1"/>
          </p:cNvSpPr>
          <p:nvPr>
            <p:ph type="title"/>
          </p:nvPr>
        </p:nvSpPr>
        <p:spPr/>
        <p:txBody>
          <a:bodyPr/>
          <a:lstStyle/>
          <a:p>
            <a:r>
              <a:rPr lang="de-DE" dirty="0" smtClean="0"/>
              <a:t>MindSphere </a:t>
            </a:r>
            <a:r>
              <a:rPr lang="de-DE" dirty="0" err="1" smtClean="0"/>
              <a:t>Applications</a:t>
            </a:r>
            <a:r>
              <a:rPr lang="de-DE" dirty="0" smtClean="0"/>
              <a:t/>
            </a:r>
            <a:br>
              <a:rPr lang="de-DE" dirty="0" smtClean="0"/>
            </a:br>
            <a:r>
              <a:rPr lang="en-US" b="0" i="1" u="sng" dirty="0" smtClean="0"/>
              <a:t>Hands-On Exercise 1</a:t>
            </a:r>
            <a:endParaRPr lang="en-US" b="0" i="1" u="sng" dirty="0"/>
          </a:p>
        </p:txBody>
      </p:sp>
      <p:sp>
        <p:nvSpPr>
          <p:cNvPr id="282" name="Rechteck 281"/>
          <p:cNvSpPr>
            <a:spLocks/>
          </p:cNvSpPr>
          <p:nvPr/>
        </p:nvSpPr>
        <p:spPr bwMode="gray">
          <a:xfrm>
            <a:off x="632396" y="1435281"/>
            <a:ext cx="11075669"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Exercise </a:t>
            </a:r>
            <a:r>
              <a:rPr lang="en-US" sz="1399" b="1" dirty="0" smtClean="0">
                <a:solidFill>
                  <a:schemeClr val="bg1"/>
                </a:solidFill>
              </a:rPr>
              <a:t>1: </a:t>
            </a:r>
            <a:r>
              <a:rPr lang="en-US" sz="1399" b="1" dirty="0">
                <a:solidFill>
                  <a:schemeClr val="bg1"/>
                </a:solidFill>
              </a:rPr>
              <a:t>MindSphere </a:t>
            </a:r>
            <a:r>
              <a:rPr lang="en-US" sz="1399" b="1" dirty="0" smtClean="0">
                <a:solidFill>
                  <a:schemeClr val="bg1"/>
                </a:solidFill>
              </a:rPr>
              <a:t>Launchpad </a:t>
            </a:r>
            <a:r>
              <a:rPr lang="en-US" sz="1399" b="1" dirty="0">
                <a:solidFill>
                  <a:schemeClr val="bg1"/>
                </a:solidFill>
              </a:rPr>
              <a:t>and </a:t>
            </a:r>
            <a:r>
              <a:rPr lang="en-US" sz="1399" b="1" dirty="0" err="1">
                <a:solidFill>
                  <a:schemeClr val="bg1"/>
                </a:solidFill>
              </a:rPr>
              <a:t>MindApp</a:t>
            </a:r>
            <a:endParaRPr lang="en-US" sz="1399" b="1" dirty="0">
              <a:solidFill>
                <a:schemeClr val="bg1"/>
              </a:solidFill>
            </a:endParaRPr>
          </a:p>
        </p:txBody>
      </p:sp>
      <p:pic>
        <p:nvPicPr>
          <p:cNvPr id="283" name="product_tia-selection-tool_checked.png"/>
          <p:cNvPicPr>
            <a:picLocks noChangeAspect="1"/>
          </p:cNvPicPr>
          <p:nvPr>
            <p:custDataLst>
              <p:tags r:id="rId2"/>
            </p:custDataLst>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287587" y="3284776"/>
            <a:ext cx="2300790" cy="2300790"/>
          </a:xfrm>
          <a:prstGeom prst="rect">
            <a:avLst/>
          </a:prstGeom>
        </p:spPr>
      </p:pic>
    </p:spTree>
    <p:extLst>
      <p:ext uri="{BB962C8B-B14F-4D97-AF65-F5344CB8AC3E}">
        <p14:creationId xmlns:p14="http://schemas.microsoft.com/office/powerpoint/2010/main" val="18009036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rgbClr val="00646E"/>
                </a:solidFill>
              </a:rPr>
              <a:t>MindSphere </a:t>
            </a:r>
            <a:r>
              <a:rPr lang="de-DE" dirty="0" err="1" smtClean="0">
                <a:solidFill>
                  <a:srgbClr val="00646E"/>
                </a:solidFill>
              </a:rPr>
              <a:t>Launchpad</a:t>
            </a:r>
            <a:r>
              <a:rPr lang="de-DE" dirty="0" smtClean="0">
                <a:solidFill>
                  <a:srgbClr val="00646E"/>
                </a:solidFill>
              </a:rPr>
              <a:t/>
            </a:r>
            <a:br>
              <a:rPr lang="de-DE" dirty="0" smtClean="0">
                <a:solidFill>
                  <a:srgbClr val="00646E"/>
                </a:solidFill>
              </a:rPr>
            </a:br>
            <a:r>
              <a:rPr lang="en-US" b="0" dirty="0" smtClean="0">
                <a:solidFill>
                  <a:srgbClr val="00646E"/>
                </a:solidFill>
              </a:rPr>
              <a:t>Summary</a:t>
            </a:r>
            <a:endParaRPr lang="en-US" dirty="0">
              <a:solidFill>
                <a:srgbClr val="00646E"/>
              </a:solidFill>
            </a:endParaRPr>
          </a:p>
        </p:txBody>
      </p:sp>
      <p:sp>
        <p:nvSpPr>
          <p:cNvPr id="5" name="Line Callout 2 4"/>
          <p:cNvSpPr/>
          <p:nvPr/>
        </p:nvSpPr>
        <p:spPr bwMode="auto">
          <a:xfrm flipH="1">
            <a:off x="594987" y="1680633"/>
            <a:ext cx="3391810" cy="2455432"/>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oe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he</a:t>
            </a:r>
            <a:r>
              <a:rPr lang="de-DE" dirty="0">
                <a:solidFill>
                  <a:srgbClr val="FFFFFF"/>
                </a:solidFill>
                <a:ea typeface="Arial Unicode MS" panose="020B0604020202020204" pitchFamily="34" charset="-128"/>
                <a:cs typeface="Arial Unicode MS" panose="020B0604020202020204" pitchFamily="34" charset="-128"/>
              </a:rPr>
              <a:t> MindSphere </a:t>
            </a:r>
            <a:r>
              <a:rPr lang="de-DE" dirty="0" err="1" smtClean="0">
                <a:solidFill>
                  <a:srgbClr val="FFFFFF"/>
                </a:solidFill>
                <a:ea typeface="Arial Unicode MS" panose="020B0604020202020204" pitchFamily="34" charset="-128"/>
                <a:cs typeface="Arial Unicode MS" panose="020B0604020202020204" pitchFamily="34" charset="-128"/>
              </a:rPr>
              <a:t>Launchpad</a:t>
            </a:r>
            <a:r>
              <a:rPr lang="de-DE" dirty="0" smtClean="0">
                <a:solidFill>
                  <a:srgbClr val="FFFFFF"/>
                </a:solidFill>
                <a:ea typeface="Arial Unicode MS" panose="020B0604020202020204" pitchFamily="34" charset="-128"/>
                <a:cs typeface="Arial Unicode MS" panose="020B0604020202020204" pitchFamily="34" charset="-128"/>
              </a:rPr>
              <a:t> </a:t>
            </a:r>
            <a:r>
              <a:rPr lang="de-DE" dirty="0" err="1" smtClean="0">
                <a:solidFill>
                  <a:srgbClr val="FFFFFF"/>
                </a:solidFill>
                <a:ea typeface="Arial Unicode MS" panose="020B0604020202020204" pitchFamily="34" charset="-128"/>
                <a:cs typeface="Arial Unicode MS" panose="020B0604020202020204" pitchFamily="34" charset="-128"/>
              </a:rPr>
              <a:t>look</a:t>
            </a:r>
            <a:r>
              <a:rPr lang="de-DE" dirty="0" smtClean="0">
                <a:solidFill>
                  <a:srgbClr val="FFFFFF"/>
                </a:solidFill>
                <a:ea typeface="Arial Unicode MS" panose="020B0604020202020204" pitchFamily="34" charset="-128"/>
                <a:cs typeface="Arial Unicode MS" panose="020B0604020202020204" pitchFamily="34" charset="-128"/>
              </a:rPr>
              <a:t> </a:t>
            </a:r>
            <a:r>
              <a:rPr lang="de-DE" dirty="0">
                <a:solidFill>
                  <a:srgbClr val="FFFFFF"/>
                </a:solidFill>
                <a:ea typeface="Arial Unicode MS" panose="020B0604020202020204" pitchFamily="34" charset="-128"/>
                <a:cs typeface="Arial Unicode MS" panose="020B0604020202020204" pitchFamily="34" charset="-128"/>
              </a:rPr>
              <a:t>like</a:t>
            </a:r>
            <a:r>
              <a:rPr lang="de-DE" dirty="0" smtClean="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smtClean="0">
                <a:solidFill>
                  <a:srgbClr val="FFFFFF"/>
                </a:solidFill>
                <a:ea typeface="Arial Unicode MS" panose="020B0604020202020204" pitchFamily="34" charset="-128"/>
                <a:cs typeface="Arial Unicode MS" panose="020B0604020202020204" pitchFamily="34" charset="-128"/>
              </a:rPr>
              <a:t>Asset Manager, Fleet Manager, Visual Analyzer, </a:t>
            </a:r>
            <a:r>
              <a:rPr lang="de-DE" b="1" dirty="0" err="1" smtClean="0">
                <a:solidFill>
                  <a:srgbClr val="FFFFFF"/>
                </a:solidFill>
                <a:ea typeface="Arial Unicode MS" panose="020B0604020202020204" pitchFamily="34" charset="-128"/>
                <a:cs typeface="Arial Unicode MS" panose="020B0604020202020204" pitchFamily="34" charset="-128"/>
              </a:rPr>
              <a:t>Application</a:t>
            </a:r>
            <a:r>
              <a:rPr lang="de-DE" b="1" dirty="0" smtClean="0">
                <a:solidFill>
                  <a:srgbClr val="FFFFFF"/>
                </a:solidFill>
                <a:ea typeface="Arial Unicode MS" panose="020B0604020202020204" pitchFamily="34" charset="-128"/>
                <a:cs typeface="Arial Unicode MS" panose="020B0604020202020204" pitchFamily="34" charset="-128"/>
              </a:rPr>
              <a:t> Manager, UTS Reporting</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045402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3926860"/>
            <a:ext cx="9297988" cy="1908961"/>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TIA Portal</a:t>
            </a:r>
          </a:p>
          <a:p>
            <a:r>
              <a:rPr lang="en-US" sz="3200" kern="0" dirty="0">
                <a:solidFill>
                  <a:schemeClr val="tx1"/>
                </a:solidFill>
              </a:rPr>
              <a:t>Your gateway to automation in the Digital </a:t>
            </a:r>
            <a:r>
              <a:rPr lang="en-US" sz="3200" kern="0" dirty="0" smtClean="0">
                <a:solidFill>
                  <a:schemeClr val="tx1"/>
                </a:solidFill>
              </a:rPr>
              <a:t>Enterprise</a:t>
            </a:r>
          </a:p>
        </p:txBody>
      </p:sp>
    </p:spTree>
    <p:extLst>
      <p:ext uri="{BB962C8B-B14F-4D97-AF65-F5344CB8AC3E}">
        <p14:creationId xmlns:p14="http://schemas.microsoft.com/office/powerpoint/2010/main" val="1486560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rgbClr val="00646E"/>
                </a:solidFill>
              </a:rPr>
              <a:t>TIA Portal</a:t>
            </a:r>
            <a:r>
              <a:rPr lang="de-DE" dirty="0">
                <a:solidFill>
                  <a:srgbClr val="00646E"/>
                </a:solidFill>
              </a:rPr>
              <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286031"/>
            <a:ext cx="4732072"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err="1" smtClean="0"/>
              <a:t>Unrestricted</a:t>
            </a:r>
            <a:r>
              <a:rPr lang="de-DE" sz="2000" b="0" dirty="0" smtClean="0"/>
              <a:t> </a:t>
            </a:r>
            <a:r>
              <a:rPr lang="de-DE" sz="2000" b="0" dirty="0" err="1" smtClean="0"/>
              <a:t>access</a:t>
            </a:r>
            <a:r>
              <a:rPr lang="de-DE" sz="2000" b="0" dirty="0" smtClean="0"/>
              <a:t> </a:t>
            </a:r>
            <a:r>
              <a:rPr lang="de-DE" sz="2000" b="0" dirty="0" err="1" smtClean="0"/>
              <a:t>to</a:t>
            </a:r>
            <a:r>
              <a:rPr lang="de-DE" sz="2000" b="0" dirty="0" smtClean="0"/>
              <a:t> </a:t>
            </a:r>
            <a:r>
              <a:rPr lang="de-DE" sz="2000" b="0" dirty="0" err="1" smtClean="0"/>
              <a:t>the</a:t>
            </a:r>
            <a:r>
              <a:rPr lang="de-DE" sz="2000" b="0" dirty="0" smtClean="0"/>
              <a:t> </a:t>
            </a:r>
            <a:r>
              <a:rPr lang="de-DE" sz="2000" b="0" dirty="0" err="1" smtClean="0"/>
              <a:t>complete</a:t>
            </a:r>
            <a:r>
              <a:rPr lang="de-DE" sz="2000" b="0" dirty="0" smtClean="0"/>
              <a:t> </a:t>
            </a:r>
            <a:r>
              <a:rPr lang="de-DE" sz="2000" b="0" dirty="0" err="1" smtClean="0"/>
              <a:t>range</a:t>
            </a:r>
            <a:r>
              <a:rPr lang="de-DE" sz="2000" b="0" dirty="0" smtClean="0"/>
              <a:t> </a:t>
            </a:r>
            <a:r>
              <a:rPr lang="de-DE" sz="2000" b="0" dirty="0" err="1" smtClean="0"/>
              <a:t>of</a:t>
            </a:r>
            <a:r>
              <a:rPr lang="de-DE" sz="2000" b="0" dirty="0" smtClean="0"/>
              <a:t> </a:t>
            </a:r>
            <a:r>
              <a:rPr lang="de-DE" sz="2000" b="0" dirty="0" err="1" smtClean="0"/>
              <a:t>digitalized</a:t>
            </a:r>
            <a:r>
              <a:rPr lang="de-DE" sz="2000" b="0" dirty="0" smtClean="0"/>
              <a:t> </a:t>
            </a:r>
            <a:r>
              <a:rPr lang="de-DE" sz="2000" b="0" dirty="0" err="1" smtClean="0"/>
              <a:t>automation</a:t>
            </a:r>
            <a:endParaRPr lang="de-DE" sz="2000" b="0" dirty="0" smtClean="0"/>
          </a:p>
          <a:p>
            <a:pPr marL="324000" indent="-285750">
              <a:buFont typeface="Arial" panose="020B0604020202020204" pitchFamily="34" charset="0"/>
              <a:buChar char="•"/>
            </a:pPr>
            <a:r>
              <a:rPr lang="de-DE" sz="2000" b="0" dirty="0" err="1" smtClean="0"/>
              <a:t>Integrates</a:t>
            </a:r>
            <a:r>
              <a:rPr lang="de-DE" sz="2000" b="0" dirty="0" smtClean="0"/>
              <a:t> </a:t>
            </a:r>
            <a:r>
              <a:rPr lang="de-DE" sz="2000" b="0" dirty="0" err="1" smtClean="0"/>
              <a:t>software</a:t>
            </a:r>
            <a:r>
              <a:rPr lang="de-DE" sz="2000" b="0" dirty="0" smtClean="0"/>
              <a:t> </a:t>
            </a:r>
            <a:r>
              <a:rPr lang="de-DE" sz="2000" b="0" dirty="0" err="1" smtClean="0"/>
              <a:t>and</a:t>
            </a:r>
            <a:r>
              <a:rPr lang="de-DE" sz="2000" b="0" dirty="0" smtClean="0"/>
              <a:t> </a:t>
            </a:r>
            <a:r>
              <a:rPr lang="de-DE" sz="2000" b="0" dirty="0" err="1" smtClean="0"/>
              <a:t>hardware</a:t>
            </a:r>
            <a:endParaRPr lang="de-DE" sz="2000" b="0" dirty="0" smtClean="0"/>
          </a:p>
        </p:txBody>
      </p:sp>
      <p:sp>
        <p:nvSpPr>
          <p:cNvPr id="5" name="Line Callout 2 4"/>
          <p:cNvSpPr/>
          <p:nvPr/>
        </p:nvSpPr>
        <p:spPr bwMode="auto">
          <a:xfrm flipH="1">
            <a:off x="626737" y="1680633"/>
            <a:ext cx="3391810" cy="1806845"/>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a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TIA Portal</a:t>
            </a: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 </a:t>
            </a:r>
          </a:p>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y</a:t>
            </a:r>
            <a:r>
              <a:rPr lang="de-DE" b="1" dirty="0">
                <a:solidFill>
                  <a:srgbClr val="FFFFFF"/>
                </a:solidFill>
                <a:ea typeface="Arial Unicode MS" panose="020B0604020202020204" pitchFamily="34" charset="-128"/>
                <a:cs typeface="Arial Unicode MS" panose="020B0604020202020204" pitchFamily="34" charset="-128"/>
              </a:rPr>
              <a:t> do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need</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t</a:t>
            </a:r>
            <a:r>
              <a:rPr lang="de-DE" b="1" dirty="0">
                <a:solidFill>
                  <a:srgbClr val="FFFFFF"/>
                </a:solidFill>
                <a:ea typeface="Arial Unicode MS" panose="020B0604020202020204" pitchFamily="34" charset="-128"/>
                <a:cs typeface="Arial Unicode MS" panose="020B0604020202020204" pitchFamily="34" charset="-128"/>
              </a:rPr>
              <a:t>?</a:t>
            </a:r>
          </a:p>
          <a:p>
            <a:pPr algn="ctr">
              <a:lnSpc>
                <a:spcPct val="110000"/>
              </a:lnSpc>
            </a:pP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1694357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Content Placeholder 38"/>
          <p:cNvSpPr>
            <a:spLocks noGrp="1"/>
          </p:cNvSpPr>
          <p:nvPr>
            <p:ph idx="1"/>
          </p:nvPr>
        </p:nvSpPr>
        <p:spPr/>
        <p:txBody>
          <a:bodyPr/>
          <a:lstStyle/>
          <a:p>
            <a:pPr marL="285750" indent="-285750">
              <a:buSzPct val="75000"/>
              <a:buFont typeface="Arial" charset="0"/>
              <a:buChar char="•"/>
            </a:pPr>
            <a:r>
              <a:rPr lang="en-US" dirty="0">
                <a:ea typeface="Arial Unicode MS" panose="020B0604020202020204" pitchFamily="34" charset="-128"/>
                <a:cs typeface="Arial Unicode MS" panose="020B0604020202020204" pitchFamily="34" charset="-128"/>
              </a:rPr>
              <a:t>TIA = Totally Integrated Automation</a:t>
            </a:r>
          </a:p>
          <a:p>
            <a:pPr marL="285750" indent="-285750">
              <a:buSzPct val="75000"/>
              <a:buFont typeface="Arial" charset="0"/>
              <a:buChar char="•"/>
            </a:pPr>
            <a:r>
              <a:rPr lang="en-US" dirty="0">
                <a:ea typeface="Arial Unicode MS" panose="020B0604020202020204" pitchFamily="34" charset="-128"/>
                <a:cs typeface="Arial Unicode MS" panose="020B0604020202020204" pitchFamily="34" charset="-128"/>
              </a:rPr>
              <a:t>Supports process of product engineering and the connection of industrial software with automation- and production technology</a:t>
            </a:r>
          </a:p>
          <a:p>
            <a:pPr marL="285750" indent="-285750">
              <a:buSzPct val="75000"/>
              <a:buFont typeface="Arial" charset="0"/>
              <a:buChar char="•"/>
            </a:pPr>
            <a:r>
              <a:rPr lang="en-US" dirty="0">
                <a:ea typeface="Arial Unicode MS" panose="020B0604020202020204" pitchFamily="34" charset="-128"/>
                <a:cs typeface="Arial Unicode MS" panose="020B0604020202020204" pitchFamily="34" charset="-128"/>
              </a:rPr>
              <a:t>It´s an automation development environment with “One Engineering Environment” approach</a:t>
            </a:r>
          </a:p>
          <a:p>
            <a:pPr marL="285750" indent="-285750">
              <a:buSzPct val="75000"/>
              <a:buFont typeface="Arial" charset="0"/>
              <a:buChar char="•"/>
            </a:pPr>
            <a:r>
              <a:rPr lang="en-US" dirty="0">
                <a:ea typeface="Arial Unicode MS" panose="020B0604020202020204" pitchFamily="34" charset="-128"/>
                <a:cs typeface="Arial Unicode MS" panose="020B0604020202020204" pitchFamily="34" charset="-128"/>
              </a:rPr>
              <a:t>Engineering from one workplace and screen over whole supply chain</a:t>
            </a:r>
          </a:p>
          <a:p>
            <a:pPr marL="285750" indent="-285750">
              <a:buSzPct val="75000"/>
              <a:buFont typeface="Arial" charset="0"/>
              <a:buChar char="•"/>
            </a:pPr>
            <a:r>
              <a:rPr lang="en-US" dirty="0">
                <a:ea typeface="Arial Unicode MS" panose="020B0604020202020204" pitchFamily="34" charset="-128"/>
                <a:cs typeface="Arial Unicode MS" panose="020B0604020202020204" pitchFamily="34" charset="-128"/>
              </a:rPr>
              <a:t>From planning to commissioning and maintenance</a:t>
            </a:r>
          </a:p>
          <a:p>
            <a:pPr marL="285750" indent="-285750">
              <a:buSzPct val="75000"/>
              <a:buFont typeface="Arial" charset="0"/>
              <a:buChar char="•"/>
            </a:pPr>
            <a:r>
              <a:rPr lang="en-US" dirty="0">
                <a:ea typeface="Arial Unicode MS" panose="020B0604020202020204" pitchFamily="34" charset="-128"/>
                <a:cs typeface="Arial Unicode MS" panose="020B0604020202020204" pitchFamily="34" charset="-128"/>
              </a:rPr>
              <a:t>Increasing automation systems</a:t>
            </a:r>
          </a:p>
          <a:p>
            <a:pPr marL="285750" indent="-285750">
              <a:buSzPct val="75000"/>
              <a:buFont typeface="Arial" charset="0"/>
              <a:buChar char="•"/>
            </a:pPr>
            <a:r>
              <a:rPr lang="en-US" dirty="0">
                <a:ea typeface="Arial Unicode MS" panose="020B0604020202020204" pitchFamily="34" charset="-128"/>
                <a:cs typeface="Arial Unicode MS" panose="020B0604020202020204" pitchFamily="34" charset="-128"/>
              </a:rPr>
              <a:t>Using the TIA portal, automation solutions in the production phase can be further optimized.</a:t>
            </a:r>
          </a:p>
          <a:p>
            <a:pPr marL="285750" indent="-285750">
              <a:buSzPct val="75000"/>
              <a:buFont typeface="Arial" charset="0"/>
              <a:buChar char="•"/>
            </a:pPr>
            <a:r>
              <a:rPr lang="en-US" dirty="0">
                <a:ea typeface="Arial Unicode MS" panose="020B0604020202020204" pitchFamily="34" charset="-128"/>
                <a:cs typeface="Arial Unicode MS" panose="020B0604020202020204" pitchFamily="34" charset="-128"/>
              </a:rPr>
              <a:t>TIA-portal opens up the entire functionality of the S7-1500 controller</a:t>
            </a:r>
          </a:p>
          <a:p>
            <a:pPr marL="285750" indent="-285750">
              <a:buSzPct val="75000"/>
              <a:buFont typeface="Arial" charset="0"/>
              <a:buChar char="•"/>
            </a:pPr>
            <a:r>
              <a:rPr lang="en-US" dirty="0">
                <a:ea typeface="Arial Unicode MS" panose="020B0604020202020204" pitchFamily="34" charset="-128"/>
                <a:cs typeface="Arial Unicode MS" panose="020B0604020202020204" pitchFamily="34" charset="-128"/>
              </a:rPr>
              <a:t>STEP7 Professional is the common tool for configuring the hardware set-up and the programming of the user program together with the program simulation and the </a:t>
            </a:r>
            <a:r>
              <a:rPr lang="en-US" dirty="0" smtClean="0">
                <a:ea typeface="Arial Unicode MS" panose="020B0604020202020204" pitchFamily="34" charset="-128"/>
                <a:cs typeface="Arial Unicode MS" panose="020B0604020202020204" pitchFamily="34" charset="-128"/>
              </a:rPr>
              <a:t/>
            </a:r>
            <a:br>
              <a:rPr lang="en-US" dirty="0" smtClean="0">
                <a:ea typeface="Arial Unicode MS" panose="020B0604020202020204" pitchFamily="34" charset="-128"/>
                <a:cs typeface="Arial Unicode MS" panose="020B0604020202020204" pitchFamily="34" charset="-128"/>
              </a:rPr>
            </a:br>
            <a:r>
              <a:rPr lang="en-US" dirty="0" smtClean="0">
                <a:ea typeface="Arial Unicode MS" panose="020B0604020202020204" pitchFamily="34" charset="-128"/>
                <a:cs typeface="Arial Unicode MS" panose="020B0604020202020204" pitchFamily="34" charset="-128"/>
              </a:rPr>
              <a:t>diagnosis</a:t>
            </a:r>
            <a:endParaRPr lang="en-US" dirty="0">
              <a:ea typeface="Arial Unicode MS" panose="020B0604020202020204" pitchFamily="34" charset="-128"/>
              <a:cs typeface="Arial Unicode MS" panose="020B0604020202020204" pitchFamily="34" charset="-128"/>
            </a:endParaRPr>
          </a:p>
          <a:p>
            <a:endParaRPr lang="en-US" dirty="0"/>
          </a:p>
        </p:txBody>
      </p:sp>
      <p:sp>
        <p:nvSpPr>
          <p:cNvPr id="2" name="Titel 1"/>
          <p:cNvSpPr>
            <a:spLocks noGrp="1"/>
          </p:cNvSpPr>
          <p:nvPr>
            <p:ph type="title"/>
          </p:nvPr>
        </p:nvSpPr>
        <p:spPr/>
        <p:txBody>
          <a:bodyPr/>
          <a:lstStyle/>
          <a:p>
            <a:r>
              <a:rPr lang="de-DE" dirty="0" smtClean="0"/>
              <a:t>TIA Portal</a:t>
            </a:r>
            <a:endParaRPr lang="en-US" dirty="0"/>
          </a:p>
        </p:txBody>
      </p:sp>
      <p:sp>
        <p:nvSpPr>
          <p:cNvPr id="5" name="Abgerundete rechteckige Legende 4"/>
          <p:cNvSpPr/>
          <p:nvPr/>
        </p:nvSpPr>
        <p:spPr bwMode="auto">
          <a:xfrm>
            <a:off x="7201680" y="4529834"/>
            <a:ext cx="2462513" cy="1733963"/>
          </a:xfrm>
          <a:prstGeom prst="wedgeRoundRectCallout">
            <a:avLst>
              <a:gd name="adj1" fmla="val 72778"/>
              <a:gd name="adj2" fmla="val -7854"/>
              <a:gd name="adj3" fmla="val 16667"/>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300" dirty="0" smtClean="0">
                <a:solidFill>
                  <a:schemeClr val="bg1"/>
                </a:solidFill>
                <a:ea typeface="Arial Unicode MS" panose="020B0604020202020204" pitchFamily="34" charset="-128"/>
                <a:cs typeface="Arial Unicode MS" panose="020B0604020202020204" pitchFamily="34" charset="-128"/>
              </a:rPr>
              <a:t>TIA Portal </a:t>
            </a:r>
            <a:r>
              <a:rPr lang="en-US" sz="1300" dirty="0">
                <a:solidFill>
                  <a:schemeClr val="bg1"/>
                </a:solidFill>
                <a:ea typeface="Arial Unicode MS" panose="020B0604020202020204" pitchFamily="34" charset="-128"/>
                <a:cs typeface="Arial Unicode MS" panose="020B0604020202020204" pitchFamily="34" charset="-128"/>
              </a:rPr>
              <a:t>is a</a:t>
            </a:r>
            <a:r>
              <a:rPr lang="en-US" sz="1300" dirty="0" smtClean="0">
                <a:solidFill>
                  <a:schemeClr val="bg1"/>
                </a:solidFill>
                <a:ea typeface="Arial Unicode MS" panose="020B0604020202020204" pitchFamily="34" charset="-128"/>
                <a:cs typeface="Arial Unicode MS" panose="020B0604020202020204" pitchFamily="34" charset="-128"/>
              </a:rPr>
              <a:t> </a:t>
            </a:r>
            <a:r>
              <a:rPr lang="en-US" sz="1300" dirty="0">
                <a:solidFill>
                  <a:schemeClr val="bg1"/>
                </a:solidFill>
                <a:ea typeface="Arial Unicode MS" panose="020B0604020202020204" pitchFamily="34" charset="-128"/>
                <a:cs typeface="Arial Unicode MS" panose="020B0604020202020204" pitchFamily="34" charset="-128"/>
              </a:rPr>
              <a:t>tool to make </a:t>
            </a:r>
            <a:r>
              <a:rPr lang="en-US" sz="1300" dirty="0" smtClean="0">
                <a:solidFill>
                  <a:schemeClr val="bg1"/>
                </a:solidFill>
                <a:ea typeface="Arial Unicode MS" panose="020B0604020202020204" pitchFamily="34" charset="-128"/>
                <a:cs typeface="Arial Unicode MS" panose="020B0604020202020204" pitchFamily="34" charset="-128"/>
              </a:rPr>
              <a:t>all </a:t>
            </a:r>
            <a:r>
              <a:rPr lang="en-US" sz="1300" dirty="0">
                <a:solidFill>
                  <a:schemeClr val="bg1"/>
                </a:solidFill>
                <a:ea typeface="Arial Unicode MS" panose="020B0604020202020204" pitchFamily="34" charset="-128"/>
                <a:cs typeface="Arial Unicode MS" panose="020B0604020202020204" pitchFamily="34" charset="-128"/>
              </a:rPr>
              <a:t>settings for </a:t>
            </a:r>
            <a:r>
              <a:rPr lang="en-US" sz="1300" dirty="0" smtClean="0">
                <a:solidFill>
                  <a:schemeClr val="bg1"/>
                </a:solidFill>
                <a:ea typeface="Arial Unicode MS" panose="020B0604020202020204" pitchFamily="34" charset="-128"/>
                <a:cs typeface="Arial Unicode MS" panose="020B0604020202020204" pitchFamily="34" charset="-128"/>
              </a:rPr>
              <a:t>your </a:t>
            </a:r>
            <a:r>
              <a:rPr lang="en-US" sz="1300" dirty="0">
                <a:solidFill>
                  <a:schemeClr val="bg1"/>
                </a:solidFill>
                <a:ea typeface="Arial Unicode MS" panose="020B0604020202020204" pitchFamily="34" charset="-128"/>
                <a:cs typeface="Arial Unicode MS" panose="020B0604020202020204" pitchFamily="34" charset="-128"/>
              </a:rPr>
              <a:t>data points which should be collected from your asset and send to MindConnect Elements or MindSphere.</a:t>
            </a:r>
          </a:p>
        </p:txBody>
      </p:sp>
      <p:grpSp>
        <p:nvGrpSpPr>
          <p:cNvPr id="6" name="Group 22"/>
          <p:cNvGrpSpPr/>
          <p:nvPr/>
        </p:nvGrpSpPr>
        <p:grpSpPr>
          <a:xfrm flipH="1">
            <a:off x="9882621" y="4812928"/>
            <a:ext cx="1544960" cy="1438653"/>
            <a:chOff x="6676605" y="575869"/>
            <a:chExt cx="3103772" cy="2907071"/>
          </a:xfrm>
        </p:grpSpPr>
        <p:sp>
          <p:nvSpPr>
            <p:cNvPr id="7"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8"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9"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10"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11"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2"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3"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4"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5"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6"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7"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8"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9"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0"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21"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2"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3"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4"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25" name="Group 521"/>
            <p:cNvGrpSpPr/>
            <p:nvPr/>
          </p:nvGrpSpPr>
          <p:grpSpPr>
            <a:xfrm>
              <a:off x="7959273" y="1994835"/>
              <a:ext cx="400935" cy="150210"/>
              <a:chOff x="6510943" y="2827088"/>
              <a:chExt cx="400935" cy="150210"/>
            </a:xfrm>
            <a:solidFill>
              <a:srgbClr val="004669"/>
            </a:solidFill>
          </p:grpSpPr>
          <p:sp>
            <p:nvSpPr>
              <p:cNvPr id="37"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8"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26"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7"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8"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9"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0"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1"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2"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3"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Tree>
    <p:extLst>
      <p:ext uri="{BB962C8B-B14F-4D97-AF65-F5344CB8AC3E}">
        <p14:creationId xmlns:p14="http://schemas.microsoft.com/office/powerpoint/2010/main" val="36737958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520000" y="3960000"/>
            <a:ext cx="5976664" cy="2232248"/>
            <a:chOff x="2354759" y="2508565"/>
            <a:chExt cx="5976664" cy="2232248"/>
          </a:xfrm>
          <a:solidFill>
            <a:srgbClr val="2387AA"/>
          </a:solidFill>
        </p:grpSpPr>
        <p:sp>
          <p:nvSpPr>
            <p:cNvPr id="40" name="Abgerundetes Rechteck 2"/>
            <p:cNvSpPr/>
            <p:nvPr/>
          </p:nvSpPr>
          <p:spPr bwMode="auto">
            <a:xfrm>
              <a:off x="2354759"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1" name="Picture 2" descr="http://globaloria.com/wp-content/uploads/bb-plugin/cache/globaloria_Training_Page_Icon_HandsOn-circle.png"/>
            <p:cNvPicPr>
              <a:picLocks noChangeAspect="1" noChangeArrowheads="1"/>
            </p:cNvPicPr>
            <p:nvPr/>
          </p:nvPicPr>
          <p:blipFill>
            <a:blip r:embed="rId5">
              <a:biLevel thresh="25000"/>
              <a:extLst>
                <a:ext uri="{BEBA8EAE-BF5A-486C-A8C5-ECC9F3942E4B}">
                  <a14:imgProps xmlns:a14="http://schemas.microsoft.com/office/drawing/2010/main">
                    <a14:imgLayer r:embed="rId6">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pic>
        <p:nvPicPr>
          <p:cNvPr id="285" name="software_tia-portal_step7.png"/>
          <p:cNvPicPr>
            <a:picLocks noChangeAspect="1"/>
          </p:cNvPicPr>
          <p:nvPr>
            <p:custDataLst>
              <p:tags r:id="rId1"/>
            </p:custDataLst>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91232" y="1552244"/>
            <a:ext cx="3657298" cy="3657298"/>
          </a:xfrm>
          <a:prstGeom prst="rect">
            <a:avLst/>
          </a:prstGeom>
        </p:spPr>
      </p:pic>
      <p:sp>
        <p:nvSpPr>
          <p:cNvPr id="2" name="Titel 1"/>
          <p:cNvSpPr>
            <a:spLocks noGrp="1"/>
          </p:cNvSpPr>
          <p:nvPr>
            <p:ph type="title"/>
          </p:nvPr>
        </p:nvSpPr>
        <p:spPr/>
        <p:txBody>
          <a:bodyPr/>
          <a:lstStyle/>
          <a:p>
            <a:r>
              <a:rPr lang="de-DE" dirty="0" smtClean="0"/>
              <a:t>TIA Portal</a:t>
            </a:r>
            <a:br>
              <a:rPr lang="de-DE" dirty="0" smtClean="0"/>
            </a:br>
            <a:r>
              <a:rPr lang="en-US" b="0" i="1" u="sng" dirty="0"/>
              <a:t>Hands-On Exercise </a:t>
            </a:r>
            <a:r>
              <a:rPr lang="en-US" b="0" i="1" u="sng" dirty="0" smtClean="0"/>
              <a:t>2</a:t>
            </a:r>
            <a:endParaRPr lang="en-US" b="0" i="1" u="sng" dirty="0"/>
          </a:p>
        </p:txBody>
      </p:sp>
      <p:sp>
        <p:nvSpPr>
          <p:cNvPr id="3" name="Content Placeholder 2"/>
          <p:cNvSpPr>
            <a:spLocks noGrp="1"/>
          </p:cNvSpPr>
          <p:nvPr>
            <p:ph idx="1"/>
          </p:nvPr>
        </p:nvSpPr>
        <p:spPr/>
        <p:txBody>
          <a:bodyPr/>
          <a:lstStyle/>
          <a:p>
            <a:endParaRPr lang="en-US"/>
          </a:p>
        </p:txBody>
      </p:sp>
      <p:sp>
        <p:nvSpPr>
          <p:cNvPr id="282" name="Rechteck 281"/>
          <p:cNvSpPr>
            <a:spLocks/>
          </p:cNvSpPr>
          <p:nvPr/>
        </p:nvSpPr>
        <p:spPr bwMode="gray">
          <a:xfrm>
            <a:off x="614455" y="1435281"/>
            <a:ext cx="11093610"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Get </a:t>
            </a:r>
            <a:r>
              <a:rPr lang="en-US" sz="1399" b="1" dirty="0">
                <a:solidFill>
                  <a:schemeClr val="bg1"/>
                </a:solidFill>
              </a:rPr>
              <a:t>3 Data Points </a:t>
            </a:r>
            <a:r>
              <a:rPr lang="en-US" sz="1399" b="1" dirty="0" smtClean="0">
                <a:solidFill>
                  <a:schemeClr val="bg1"/>
                </a:solidFill>
              </a:rPr>
              <a:t>from S7-300 </a:t>
            </a:r>
            <a:r>
              <a:rPr lang="en-US" sz="1399" b="1" dirty="0">
                <a:solidFill>
                  <a:schemeClr val="bg1"/>
                </a:solidFill>
              </a:rPr>
              <a:t>in TIA </a:t>
            </a:r>
            <a:r>
              <a:rPr lang="en-US" sz="1399" b="1" dirty="0" smtClean="0">
                <a:solidFill>
                  <a:schemeClr val="bg1"/>
                </a:solidFill>
              </a:rPr>
              <a:t>Portal for MindSphere</a:t>
            </a:r>
            <a:endParaRPr lang="en-US" sz="1399" b="1" dirty="0">
              <a:solidFill>
                <a:schemeClr val="bg1"/>
              </a:solidFill>
            </a:endParaRPr>
          </a:p>
        </p:txBody>
      </p:sp>
      <p:pic>
        <p:nvPicPr>
          <p:cNvPr id="283" name="product_tia-selection-tool_checked.png"/>
          <p:cNvPicPr>
            <a:picLocks noChangeAspect="1"/>
          </p:cNvPicPr>
          <p:nvPr>
            <p:custDataLst>
              <p:tags r:id="rId2"/>
            </p:custDataLst>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287587" y="3284776"/>
            <a:ext cx="2300790" cy="2300790"/>
          </a:xfrm>
          <a:prstGeom prst="rect">
            <a:avLst/>
          </a:prstGeom>
        </p:spPr>
      </p:pic>
    </p:spTree>
    <p:extLst>
      <p:ext uri="{BB962C8B-B14F-4D97-AF65-F5344CB8AC3E}">
        <p14:creationId xmlns:p14="http://schemas.microsoft.com/office/powerpoint/2010/main" val="24328789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Callout 2 4"/>
          <p:cNvSpPr/>
          <p:nvPr/>
        </p:nvSpPr>
        <p:spPr bwMode="auto">
          <a:xfrm flipH="1">
            <a:off x="142872" y="1600199"/>
            <a:ext cx="4533899" cy="2352675"/>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solidFill>
                  <a:srgbClr val="FFFFFF"/>
                </a:solidFill>
                <a:ea typeface="Arial Unicode MS" panose="020B0604020202020204" pitchFamily="34" charset="-128"/>
                <a:cs typeface="Arial Unicode MS" panose="020B0604020202020204" pitchFamily="34" charset="-128"/>
              </a:rPr>
              <a:t>What is TIA </a:t>
            </a:r>
            <a:r>
              <a:rPr lang="en-US" dirty="0" smtClean="0">
                <a:solidFill>
                  <a:srgbClr val="FFFFFF"/>
                </a:solidFill>
                <a:ea typeface="Arial Unicode MS" panose="020B0604020202020204" pitchFamily="34" charset="-128"/>
                <a:cs typeface="Arial Unicode MS" panose="020B0604020202020204" pitchFamily="34" charset="-128"/>
              </a:rPr>
              <a:t>Portal and </a:t>
            </a:r>
            <a:endParaRPr lang="en-US"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en-US" dirty="0">
                <a:solidFill>
                  <a:srgbClr val="FFFFFF"/>
                </a:solidFill>
                <a:ea typeface="Arial Unicode MS" panose="020B0604020202020204" pitchFamily="34" charset="-128"/>
                <a:cs typeface="Arial Unicode MS" panose="020B0604020202020204" pitchFamily="34" charset="-128"/>
              </a:rPr>
              <a:t>why do we need it</a:t>
            </a:r>
            <a:r>
              <a:rPr lang="en-US" dirty="0" smtClean="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en-US" b="1"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en-US" b="1" dirty="0">
                <a:solidFill>
                  <a:srgbClr val="FFFFFF"/>
                </a:solidFill>
                <a:ea typeface="Arial Unicode MS" panose="020B0604020202020204" pitchFamily="34" charset="-128"/>
                <a:cs typeface="Arial Unicode MS" panose="020B0604020202020204" pitchFamily="34" charset="-128"/>
              </a:rPr>
              <a:t>Unrestricted access to the complete range of digitalized automation</a:t>
            </a:r>
          </a:p>
          <a:p>
            <a:pPr algn="ctr">
              <a:lnSpc>
                <a:spcPct val="110000"/>
              </a:lnSpc>
              <a:spcBef>
                <a:spcPct val="0"/>
              </a:spcBef>
              <a:buFont typeface="Wingdings" charset="0"/>
              <a:buNone/>
            </a:pPr>
            <a:r>
              <a:rPr lang="en-US" b="1" dirty="0">
                <a:solidFill>
                  <a:srgbClr val="FFFFFF"/>
                </a:solidFill>
                <a:ea typeface="Arial Unicode MS" panose="020B0604020202020204" pitchFamily="34" charset="-128"/>
                <a:cs typeface="Arial Unicode MS" panose="020B0604020202020204" pitchFamily="34" charset="-128"/>
              </a:rPr>
              <a:t>Integrates software and </a:t>
            </a:r>
            <a:r>
              <a:rPr lang="en-US" b="1" dirty="0" smtClean="0">
                <a:solidFill>
                  <a:srgbClr val="FFFFFF"/>
                </a:solidFill>
                <a:ea typeface="Arial Unicode MS" panose="020B0604020202020204" pitchFamily="34" charset="-128"/>
                <a:cs typeface="Arial Unicode MS" panose="020B0604020202020204" pitchFamily="34" charset="-128"/>
              </a:rPr>
              <a:t>hardware</a:t>
            </a:r>
            <a:endParaRPr lang="en-US" b="1" dirty="0">
              <a:solidFill>
                <a:srgbClr val="FFFFFF"/>
              </a:solidFill>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a:xfrm>
            <a:off x="0" y="0"/>
            <a:ext cx="12192000" cy="1440000"/>
          </a:xfrm>
        </p:spPr>
        <p:txBody>
          <a:bodyPr/>
          <a:lstStyle/>
          <a:p>
            <a:r>
              <a:rPr lang="de-DE" dirty="0">
                <a:solidFill>
                  <a:srgbClr val="00646E"/>
                </a:solidFill>
              </a:rPr>
              <a:t>TIA Portal</a:t>
            </a:r>
            <a:r>
              <a:rPr lang="de-DE" dirty="0" smtClean="0">
                <a:solidFill>
                  <a:srgbClr val="00646E"/>
                </a:solidFill>
              </a:rPr>
              <a:t/>
            </a:r>
            <a:br>
              <a:rPr lang="de-DE" dirty="0" smtClean="0">
                <a:solidFill>
                  <a:srgbClr val="00646E"/>
                </a:solidFill>
              </a:rPr>
            </a:br>
            <a:r>
              <a:rPr lang="en-US" b="0" dirty="0" smtClean="0">
                <a:solidFill>
                  <a:srgbClr val="00646E"/>
                </a:solidFill>
              </a:rPr>
              <a:t>Summary</a:t>
            </a:r>
            <a:endParaRPr lang="en-US" dirty="0">
              <a:solidFill>
                <a:srgbClr val="00646E"/>
              </a:solidFill>
            </a:endParaRPr>
          </a:p>
        </p:txBody>
      </p:sp>
    </p:spTree>
    <p:extLst>
      <p:ext uri="{BB962C8B-B14F-4D97-AF65-F5344CB8AC3E}">
        <p14:creationId xmlns:p14="http://schemas.microsoft.com/office/powerpoint/2010/main" val="239619895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111654"/>
            <a:ext cx="9297988" cy="172416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MindSphere Assets</a:t>
            </a:r>
          </a:p>
          <a:p>
            <a:r>
              <a:rPr lang="de-DE" sz="3200" kern="0" dirty="0" err="1" smtClean="0">
                <a:solidFill>
                  <a:schemeClr val="tx1"/>
                </a:solidFill>
              </a:rPr>
              <a:t>Configuration</a:t>
            </a:r>
            <a:r>
              <a:rPr lang="de-DE" sz="3200" kern="0" dirty="0" smtClean="0">
                <a:solidFill>
                  <a:schemeClr val="tx1"/>
                </a:solidFill>
              </a:rPr>
              <a:t> </a:t>
            </a:r>
            <a:r>
              <a:rPr lang="de-DE" sz="3200" kern="0" dirty="0" err="1" smtClean="0">
                <a:solidFill>
                  <a:schemeClr val="tx1"/>
                </a:solidFill>
              </a:rPr>
              <a:t>with</a:t>
            </a:r>
            <a:r>
              <a:rPr lang="de-DE" sz="3200" kern="0" dirty="0" smtClean="0">
                <a:solidFill>
                  <a:schemeClr val="tx1"/>
                </a:solidFill>
              </a:rPr>
              <a:t> S7</a:t>
            </a:r>
            <a:endParaRPr lang="en-US" sz="3200" kern="0" dirty="0">
              <a:solidFill>
                <a:schemeClr val="tx1"/>
              </a:solidFill>
            </a:endParaRPr>
          </a:p>
          <a:p>
            <a:r>
              <a:rPr lang="en-US" sz="1999" kern="0" dirty="0" smtClean="0">
                <a:solidFill>
                  <a:schemeClr val="tx1"/>
                </a:solidFill>
              </a:rPr>
              <a:t>2018</a:t>
            </a:r>
            <a:endParaRPr lang="en-US" sz="1999" b="0" kern="0" dirty="0">
              <a:solidFill>
                <a:schemeClr val="tx1"/>
              </a:solidFill>
            </a:endParaRPr>
          </a:p>
        </p:txBody>
      </p:sp>
    </p:spTree>
    <p:extLst>
      <p:ext uri="{BB962C8B-B14F-4D97-AF65-F5344CB8AC3E}">
        <p14:creationId xmlns:p14="http://schemas.microsoft.com/office/powerpoint/2010/main" val="898875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0"/>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419303"/>
            <a:ext cx="9297988" cy="1416518"/>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MindSphere</a:t>
            </a:r>
          </a:p>
          <a:p>
            <a:r>
              <a:rPr lang="de-DE" sz="3200" kern="0" dirty="0" err="1" smtClean="0">
                <a:solidFill>
                  <a:schemeClr val="tx1"/>
                </a:solidFill>
              </a:rPr>
              <a:t>Introduction</a:t>
            </a:r>
            <a:endParaRPr lang="en-US" sz="3200" kern="0" dirty="0">
              <a:solidFill>
                <a:schemeClr val="tx1"/>
              </a:solidFill>
            </a:endParaRPr>
          </a:p>
        </p:txBody>
      </p:sp>
    </p:spTree>
    <p:extLst>
      <p:ext uri="{BB962C8B-B14F-4D97-AF65-F5344CB8AC3E}">
        <p14:creationId xmlns:p14="http://schemas.microsoft.com/office/powerpoint/2010/main" val="8232737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t>
            </a:r>
            <a:r>
              <a:rPr lang="de-DE" dirty="0" smtClean="0">
                <a:solidFill>
                  <a:srgbClr val="00646E"/>
                </a:solidFill>
              </a:rPr>
              <a:t>Assets</a:t>
            </a:r>
            <a:r>
              <a:rPr lang="de-DE" dirty="0">
                <a:solidFill>
                  <a:srgbClr val="00646E"/>
                </a:solidFill>
              </a:rPr>
              <a:t/>
            </a:r>
            <a:br>
              <a:rPr lang="de-DE" dirty="0">
                <a:solidFill>
                  <a:srgbClr val="00646E"/>
                </a:solidFill>
              </a:rPr>
            </a:br>
            <a:r>
              <a:rPr lang="en-US" b="0" dirty="0" smtClean="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286031"/>
            <a:ext cx="4732072"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Create an asset in MindSphere</a:t>
            </a:r>
          </a:p>
          <a:p>
            <a:pPr marL="324000" indent="-285750">
              <a:buFont typeface="Arial" panose="020B0604020202020204" pitchFamily="34" charset="0"/>
              <a:buChar char="•"/>
            </a:pPr>
            <a:r>
              <a:rPr lang="en-US" sz="2000" b="0" dirty="0"/>
              <a:t>Connect an asset in MindSphere via S7 protocol</a:t>
            </a:r>
          </a:p>
          <a:p>
            <a:pPr marL="324000" indent="-285750">
              <a:buFont typeface="Arial" panose="020B0604020202020204" pitchFamily="34" charset="0"/>
              <a:buChar char="•"/>
            </a:pPr>
            <a:r>
              <a:rPr lang="en-US" sz="2000" b="0" dirty="0"/>
              <a:t>Learn the onboarding process of </a:t>
            </a:r>
            <a:r>
              <a:rPr lang="en-US" sz="2000" b="0" dirty="0" err="1"/>
              <a:t>MindConnect</a:t>
            </a:r>
            <a:r>
              <a:rPr lang="en-US" sz="2000" b="0" dirty="0"/>
              <a:t> Nano</a:t>
            </a:r>
          </a:p>
        </p:txBody>
      </p:sp>
      <p:sp>
        <p:nvSpPr>
          <p:cNvPr id="5" name="Line Callout 2 4"/>
          <p:cNvSpPr/>
          <p:nvPr/>
        </p:nvSpPr>
        <p:spPr bwMode="auto">
          <a:xfrm flipH="1">
            <a:off x="626737" y="1680633"/>
            <a:ext cx="3391810" cy="1806845"/>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en-US" b="1" dirty="0">
                <a:solidFill>
                  <a:srgbClr val="FFFFFF"/>
                </a:solidFill>
                <a:ea typeface="Arial Unicode MS" panose="020B0604020202020204" pitchFamily="34" charset="-128"/>
                <a:cs typeface="Arial Unicode MS" panose="020B0604020202020204" pitchFamily="34" charset="-128"/>
              </a:rPr>
              <a:t>How do I create and connect an asset via S7 protocol in MindSphere? </a:t>
            </a:r>
          </a:p>
        </p:txBody>
      </p:sp>
    </p:spTree>
    <p:extLst>
      <p:ext uri="{BB962C8B-B14F-4D97-AF65-F5344CB8AC3E}">
        <p14:creationId xmlns:p14="http://schemas.microsoft.com/office/powerpoint/2010/main" val="347821055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Configuration</a:t>
            </a:r>
            <a:r>
              <a:rPr lang="de-DE" dirty="0"/>
              <a:t> </a:t>
            </a:r>
            <a:r>
              <a:rPr lang="de-DE" dirty="0" err="1"/>
              <a:t>with</a:t>
            </a:r>
            <a:r>
              <a:rPr lang="de-DE" dirty="0"/>
              <a:t> S7</a:t>
            </a:r>
            <a:r>
              <a:rPr lang="de-DE" dirty="0" smtClean="0"/>
              <a:t/>
            </a:r>
            <a:br>
              <a:rPr lang="de-DE" dirty="0" smtClean="0"/>
            </a:br>
            <a:r>
              <a:rPr lang="de-DE" b="0" dirty="0" err="1" smtClean="0"/>
              <a:t>Requirements</a:t>
            </a:r>
            <a:r>
              <a:rPr lang="de-DE" b="0" dirty="0" smtClean="0"/>
              <a:t> </a:t>
            </a:r>
            <a:r>
              <a:rPr lang="de-DE" b="0" dirty="0" err="1" smtClean="0"/>
              <a:t>for</a:t>
            </a:r>
            <a:r>
              <a:rPr lang="de-DE" b="0" dirty="0" smtClean="0"/>
              <a:t> </a:t>
            </a:r>
            <a:r>
              <a:rPr lang="de-DE" b="0" dirty="0" err="1" smtClean="0"/>
              <a:t>Configuration</a:t>
            </a:r>
            <a:endParaRPr lang="en-US" b="0" dirty="0"/>
          </a:p>
        </p:txBody>
      </p:sp>
      <p:sp>
        <p:nvSpPr>
          <p:cNvPr id="3" name="Rechteck 2"/>
          <p:cNvSpPr/>
          <p:nvPr/>
        </p:nvSpPr>
        <p:spPr>
          <a:xfrm>
            <a:off x="637672" y="1396532"/>
            <a:ext cx="9733547" cy="1477328"/>
          </a:xfrm>
          <a:prstGeom prst="rect">
            <a:avLst/>
          </a:prstGeom>
        </p:spPr>
        <p:txBody>
          <a:bodyPr wrap="square">
            <a:spAutoFit/>
          </a:bodyPr>
          <a:lstStyle/>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MindConnect Nano/IoT 2040 is mounted on your asset</a:t>
            </a: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MindConnect Nano/IoT 2040 is prepared </a:t>
            </a:r>
            <a:r>
              <a:rPr lang="en-US" spc="-70" dirty="0" smtClean="0">
                <a:solidFill>
                  <a:schemeClr val="dk1"/>
                </a:solidFill>
                <a:latin typeface="Arial" panose="020B0604020202020204" pitchFamily="34" charset="0"/>
                <a:ea typeface="Siemens Sans" charset="0"/>
                <a:cs typeface="Arial" panose="020B0604020202020204" pitchFamily="34" charset="0"/>
              </a:rPr>
              <a:t>(refer to Getting </a:t>
            </a:r>
            <a:r>
              <a:rPr lang="en-US" spc="-70" dirty="0">
                <a:solidFill>
                  <a:schemeClr val="dk1"/>
                </a:solidFill>
                <a:latin typeface="Arial" panose="020B0604020202020204" pitchFamily="34" charset="0"/>
                <a:ea typeface="Siemens Sans" charset="0"/>
                <a:cs typeface="Arial" panose="020B0604020202020204" pitchFamily="34" charset="0"/>
              </a:rPr>
              <a:t>Started MCN/IoT 2040 Chapter 3</a:t>
            </a:r>
            <a:r>
              <a:rPr lang="en-US" spc="-70" dirty="0" smtClean="0">
                <a:solidFill>
                  <a:schemeClr val="dk1"/>
                </a:solidFill>
                <a:latin typeface="Arial" panose="020B0604020202020204" pitchFamily="34" charset="0"/>
                <a:ea typeface="Siemens Sans" charset="0"/>
                <a:cs typeface="Arial" panose="020B0604020202020204" pitchFamily="34" charset="0"/>
              </a:rPr>
              <a:t>)</a:t>
            </a: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PC with internet </a:t>
            </a:r>
            <a:r>
              <a:rPr lang="en-US" spc="-70" dirty="0" smtClean="0">
                <a:solidFill>
                  <a:schemeClr val="dk1"/>
                </a:solidFill>
                <a:latin typeface="Arial" panose="020B0604020202020204" pitchFamily="34" charset="0"/>
                <a:ea typeface="Siemens Sans" charset="0"/>
                <a:cs typeface="Arial" panose="020B0604020202020204" pitchFamily="34" charset="0"/>
              </a:rPr>
              <a:t>access, USB stick (FAT or FAT32)</a:t>
            </a:r>
            <a:endParaRPr lang="en-US" spc="-70" dirty="0">
              <a:solidFill>
                <a:schemeClr val="dk1"/>
              </a:solidFill>
              <a:latin typeface="Arial" panose="020B0604020202020204" pitchFamily="34" charset="0"/>
              <a:ea typeface="Siemens Sans" charset="0"/>
              <a:cs typeface="Arial" panose="020B0604020202020204" pitchFamily="34" charset="0"/>
            </a:endParaRPr>
          </a:p>
          <a:p>
            <a:pPr marL="285750" indent="-285750">
              <a:buSzPct val="75000"/>
              <a:buFont typeface="Arial" charset="0"/>
              <a:buChar char="•"/>
            </a:pPr>
            <a:r>
              <a:rPr lang="en-US" spc="-70" dirty="0" smtClean="0">
                <a:solidFill>
                  <a:schemeClr val="dk1"/>
                </a:solidFill>
                <a:latin typeface="Arial" panose="020B0604020202020204" pitchFamily="34" charset="0"/>
                <a:ea typeface="Siemens Sans" charset="0"/>
                <a:cs typeface="Arial" panose="020B0604020202020204" pitchFamily="34" charset="0"/>
              </a:rPr>
              <a:t>Valid </a:t>
            </a:r>
            <a:r>
              <a:rPr lang="en-US" spc="-70" dirty="0">
                <a:solidFill>
                  <a:schemeClr val="dk1"/>
                </a:solidFill>
                <a:latin typeface="Arial" panose="020B0604020202020204" pitchFamily="34" charset="0"/>
                <a:ea typeface="Siemens Sans" charset="0"/>
                <a:cs typeface="Arial" panose="020B0604020202020204" pitchFamily="34" charset="0"/>
              </a:rPr>
              <a:t>credentials for MindSphere</a:t>
            </a:r>
          </a:p>
          <a:p>
            <a:pPr marL="285750" indent="-285750">
              <a:buSzPct val="75000"/>
              <a:buFont typeface="Arial" charset="0"/>
              <a:buChar char="•"/>
            </a:pPr>
            <a:endParaRPr lang="en-US" spc="-70" dirty="0">
              <a:solidFill>
                <a:schemeClr val="dk1"/>
              </a:solidFill>
              <a:latin typeface="Arial" panose="020B0604020202020204" pitchFamily="34" charset="0"/>
              <a:ea typeface="Siemens Sans" charset="0"/>
              <a:cs typeface="Arial" panose="020B0604020202020204" pitchFamily="34" charset="0"/>
            </a:endParaRPr>
          </a:p>
        </p:txBody>
      </p:sp>
      <p:sp>
        <p:nvSpPr>
          <p:cNvPr id="5" name="Abgerundete rechteckige Legende 4"/>
          <p:cNvSpPr/>
          <p:nvPr/>
        </p:nvSpPr>
        <p:spPr bwMode="auto">
          <a:xfrm>
            <a:off x="8738703" y="3273136"/>
            <a:ext cx="1886644" cy="1097018"/>
          </a:xfrm>
          <a:prstGeom prst="wedgeRoundRectCallout">
            <a:avLst>
              <a:gd name="adj1" fmla="val 36911"/>
              <a:gd name="adj2" fmla="val 76042"/>
              <a:gd name="adj3" fmla="val 16667"/>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300" dirty="0" smtClean="0">
                <a:solidFill>
                  <a:schemeClr val="bg1"/>
                </a:solidFill>
                <a:ea typeface="Arial Unicode MS" panose="020B0604020202020204" pitchFamily="34" charset="-128"/>
                <a:cs typeface="Arial Unicode MS" panose="020B0604020202020204" pitchFamily="34" charset="-128"/>
              </a:rPr>
              <a:t>You can find the Getting Started Guides on SIOS!</a:t>
            </a:r>
            <a:endParaRPr lang="en-US" sz="1400" dirty="0"/>
          </a:p>
        </p:txBody>
      </p:sp>
      <p:grpSp>
        <p:nvGrpSpPr>
          <p:cNvPr id="6" name="Group 22"/>
          <p:cNvGrpSpPr/>
          <p:nvPr/>
        </p:nvGrpSpPr>
        <p:grpSpPr>
          <a:xfrm flipH="1">
            <a:off x="9882621" y="4812928"/>
            <a:ext cx="1544960" cy="1438653"/>
            <a:chOff x="6676605" y="575869"/>
            <a:chExt cx="3103772" cy="2907071"/>
          </a:xfrm>
        </p:grpSpPr>
        <p:sp>
          <p:nvSpPr>
            <p:cNvPr id="7"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8"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9"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10"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11"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2"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3"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4"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5"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6"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7"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8"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9"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0"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21"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2"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3"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4"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25" name="Group 521"/>
            <p:cNvGrpSpPr/>
            <p:nvPr/>
          </p:nvGrpSpPr>
          <p:grpSpPr>
            <a:xfrm>
              <a:off x="7959273" y="1994835"/>
              <a:ext cx="400935" cy="150210"/>
              <a:chOff x="6510943" y="2827088"/>
              <a:chExt cx="400935" cy="150210"/>
            </a:xfrm>
            <a:solidFill>
              <a:srgbClr val="004669"/>
            </a:solidFill>
          </p:grpSpPr>
          <p:sp>
            <p:nvSpPr>
              <p:cNvPr id="37"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8"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26"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7"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8"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9"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0"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1"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2"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3"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pic>
        <p:nvPicPr>
          <p:cNvPr id="3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9992" y="2667966"/>
            <a:ext cx="2573320" cy="36746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2671" y="2667965"/>
            <a:ext cx="2585418" cy="36746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469693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Configuration</a:t>
            </a:r>
            <a:r>
              <a:rPr lang="de-DE" dirty="0"/>
              <a:t> </a:t>
            </a:r>
            <a:r>
              <a:rPr lang="de-DE" dirty="0" err="1"/>
              <a:t>with</a:t>
            </a:r>
            <a:r>
              <a:rPr lang="de-DE" dirty="0"/>
              <a:t> S7</a:t>
            </a:r>
            <a:r>
              <a:rPr lang="de-DE" dirty="0" smtClean="0"/>
              <a:t/>
            </a:r>
            <a:br>
              <a:rPr lang="de-DE" dirty="0" smtClean="0"/>
            </a:br>
            <a:r>
              <a:rPr lang="de-DE" b="0" dirty="0" err="1" smtClean="0"/>
              <a:t>What</a:t>
            </a:r>
            <a:r>
              <a:rPr lang="de-DE" b="0" dirty="0" smtClean="0"/>
              <a:t> </a:t>
            </a:r>
            <a:r>
              <a:rPr lang="de-DE" b="0" dirty="0" err="1" smtClean="0"/>
              <a:t>is</a:t>
            </a:r>
            <a:r>
              <a:rPr lang="de-DE" b="0" dirty="0" smtClean="0"/>
              <a:t> S7 </a:t>
            </a:r>
            <a:r>
              <a:rPr lang="de-DE" b="0" dirty="0" err="1" smtClean="0"/>
              <a:t>protocol</a:t>
            </a:r>
            <a:endParaRPr lang="en-US" b="0" dirty="0"/>
          </a:p>
        </p:txBody>
      </p:sp>
      <p:sp>
        <p:nvSpPr>
          <p:cNvPr id="3" name="Rechteck 2"/>
          <p:cNvSpPr/>
          <p:nvPr/>
        </p:nvSpPr>
        <p:spPr>
          <a:xfrm>
            <a:off x="637672" y="1396532"/>
            <a:ext cx="9733547" cy="2862322"/>
          </a:xfrm>
          <a:prstGeom prst="rect">
            <a:avLst/>
          </a:prstGeom>
        </p:spPr>
        <p:txBody>
          <a:bodyPr wrap="square">
            <a:spAutoFit/>
          </a:bodyPr>
          <a:lstStyle/>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S7 protocol is Siemens’ standard protocol for industrial communication.</a:t>
            </a:r>
          </a:p>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It is supported by all available S7 controllers and communication processors. Furthermore, PC systems with appropriate hardware and software support communication via the S7 protocol. </a:t>
            </a:r>
          </a:p>
          <a:p>
            <a:pPr marL="285750" indent="-285750">
              <a:buSzPct val="75000"/>
              <a:buFont typeface="Arial" charset="0"/>
              <a:buChar char="•"/>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Features, e.g.:</a:t>
            </a: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Block orientated: it is divided in Protocol Data Units</a:t>
            </a: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Independent of the bus medium</a:t>
            </a: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Function oriented: each transmission contains a command or a reply</a:t>
            </a:r>
          </a:p>
          <a:p>
            <a:pPr marL="285750" indent="-285750">
              <a:buSzPct val="75000"/>
              <a:buFont typeface="Arial" charset="0"/>
              <a:buChar char="•"/>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spc="-70" dirty="0" smtClean="0">
                <a:solidFill>
                  <a:schemeClr val="dk1"/>
                </a:solidFill>
                <a:latin typeface="Arial" panose="020B0604020202020204" pitchFamily="34" charset="0"/>
                <a:ea typeface="Siemens Sans" charset="0"/>
                <a:cs typeface="Arial" panose="020B0604020202020204" pitchFamily="34" charset="0"/>
              </a:rPr>
              <a:t>Structure:</a:t>
            </a:r>
            <a:endParaRPr lang="en-US" spc="-70" dirty="0">
              <a:solidFill>
                <a:schemeClr val="dk1"/>
              </a:solidFill>
              <a:latin typeface="Arial" panose="020B0604020202020204" pitchFamily="34" charset="0"/>
              <a:ea typeface="Siemens Sans" charset="0"/>
              <a:cs typeface="Arial" panose="020B0604020202020204" pitchFamily="34" charset="0"/>
            </a:endParaRPr>
          </a:p>
        </p:txBody>
      </p:sp>
      <p:sp>
        <p:nvSpPr>
          <p:cNvPr id="5" name="Abgerundete rechteckige Legende 4"/>
          <p:cNvSpPr/>
          <p:nvPr/>
        </p:nvSpPr>
        <p:spPr bwMode="auto">
          <a:xfrm>
            <a:off x="9427897" y="2827693"/>
            <a:ext cx="1886644" cy="1097018"/>
          </a:xfrm>
          <a:prstGeom prst="wedgeRoundRectCallout">
            <a:avLst>
              <a:gd name="adj1" fmla="val 20388"/>
              <a:gd name="adj2" fmla="val 117719"/>
              <a:gd name="adj3" fmla="val 16667"/>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300" dirty="0" smtClean="0">
                <a:solidFill>
                  <a:schemeClr val="bg1"/>
                </a:solidFill>
                <a:ea typeface="Arial Unicode MS" panose="020B0604020202020204" pitchFamily="34" charset="-128"/>
                <a:cs typeface="Arial Unicode MS" panose="020B0604020202020204" pitchFamily="34" charset="-128"/>
              </a:rPr>
              <a:t>In MindSphere, you can choose between S7 and OPC UA protocol!</a:t>
            </a:r>
            <a:endParaRPr lang="en-US" sz="1400" dirty="0"/>
          </a:p>
        </p:txBody>
      </p:sp>
      <p:grpSp>
        <p:nvGrpSpPr>
          <p:cNvPr id="6" name="Group 22"/>
          <p:cNvGrpSpPr/>
          <p:nvPr/>
        </p:nvGrpSpPr>
        <p:grpSpPr>
          <a:xfrm flipH="1">
            <a:off x="9882621" y="4812928"/>
            <a:ext cx="1544960" cy="1438653"/>
            <a:chOff x="6676605" y="575869"/>
            <a:chExt cx="3103772" cy="2907071"/>
          </a:xfrm>
        </p:grpSpPr>
        <p:sp>
          <p:nvSpPr>
            <p:cNvPr id="7"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8"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9"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10"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11"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2"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3"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4"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5"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6"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7"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8"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9"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0"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21"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2"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3"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4"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25" name="Group 521"/>
            <p:cNvGrpSpPr/>
            <p:nvPr/>
          </p:nvGrpSpPr>
          <p:grpSpPr>
            <a:xfrm>
              <a:off x="7959273" y="1994835"/>
              <a:ext cx="400935" cy="150210"/>
              <a:chOff x="6510943" y="2827088"/>
              <a:chExt cx="400935" cy="150210"/>
            </a:xfrm>
            <a:solidFill>
              <a:srgbClr val="004669"/>
            </a:solidFill>
          </p:grpSpPr>
          <p:sp>
            <p:nvSpPr>
              <p:cNvPr id="37"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8"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26"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7"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8"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9"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0"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1"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2"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3"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41" name="Rectangle 4"/>
          <p:cNvSpPr/>
          <p:nvPr/>
        </p:nvSpPr>
        <p:spPr bwMode="auto">
          <a:xfrm>
            <a:off x="3056369" y="4538096"/>
            <a:ext cx="2177141" cy="420914"/>
          </a:xfrm>
          <a:prstGeom prst="rect">
            <a:avLst/>
          </a:prstGeom>
          <a:solidFill>
            <a:srgbClr val="2387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b="1" dirty="0" smtClean="0">
                <a:solidFill>
                  <a:schemeClr val="tx1"/>
                </a:solidFill>
              </a:rPr>
              <a:t>Set of parameters</a:t>
            </a:r>
          </a:p>
        </p:txBody>
      </p:sp>
      <p:sp>
        <p:nvSpPr>
          <p:cNvPr id="42" name="Rectangle 5"/>
          <p:cNvSpPr/>
          <p:nvPr/>
        </p:nvSpPr>
        <p:spPr bwMode="auto">
          <a:xfrm>
            <a:off x="5436712" y="4538096"/>
            <a:ext cx="2177141" cy="420914"/>
          </a:xfrm>
          <a:prstGeom prst="rect">
            <a:avLst/>
          </a:prstGeom>
          <a:solidFill>
            <a:srgbClr val="2387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b="1" dirty="0" smtClean="0">
                <a:solidFill>
                  <a:schemeClr val="tx1"/>
                </a:solidFill>
              </a:rPr>
              <a:t>Parameters data</a:t>
            </a:r>
            <a:endParaRPr lang="en-US" sz="1800" b="1" dirty="0" smtClean="0">
              <a:solidFill>
                <a:schemeClr val="tx1"/>
              </a:solidFill>
            </a:endParaRPr>
          </a:p>
        </p:txBody>
      </p:sp>
      <p:sp>
        <p:nvSpPr>
          <p:cNvPr id="43" name="Rectangle 6"/>
          <p:cNvSpPr/>
          <p:nvPr/>
        </p:nvSpPr>
        <p:spPr bwMode="auto">
          <a:xfrm>
            <a:off x="7817054" y="4538096"/>
            <a:ext cx="2177141" cy="420914"/>
          </a:xfrm>
          <a:prstGeom prst="rect">
            <a:avLst/>
          </a:prstGeom>
          <a:solidFill>
            <a:srgbClr val="2387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b="1" dirty="0" smtClean="0">
                <a:solidFill>
                  <a:schemeClr val="tx1"/>
                </a:solidFill>
              </a:rPr>
              <a:t>Data block</a:t>
            </a:r>
            <a:endParaRPr lang="en-US" sz="1800" b="1" dirty="0" smtClean="0">
              <a:solidFill>
                <a:schemeClr val="tx1"/>
              </a:solidFill>
            </a:endParaRPr>
          </a:p>
        </p:txBody>
      </p:sp>
      <p:sp>
        <p:nvSpPr>
          <p:cNvPr id="44" name="Rectangle 7"/>
          <p:cNvSpPr/>
          <p:nvPr/>
        </p:nvSpPr>
        <p:spPr bwMode="auto">
          <a:xfrm>
            <a:off x="676026" y="4538096"/>
            <a:ext cx="2177141" cy="420914"/>
          </a:xfrm>
          <a:prstGeom prst="rect">
            <a:avLst/>
          </a:prstGeom>
          <a:solidFill>
            <a:srgbClr val="2387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b="1" dirty="0" smtClean="0">
                <a:solidFill>
                  <a:schemeClr val="tx1"/>
                </a:solidFill>
              </a:rPr>
              <a:t>Header</a:t>
            </a:r>
          </a:p>
        </p:txBody>
      </p:sp>
      <p:sp>
        <p:nvSpPr>
          <p:cNvPr id="4" name="Rectangle 3"/>
          <p:cNvSpPr/>
          <p:nvPr/>
        </p:nvSpPr>
        <p:spPr>
          <a:xfrm>
            <a:off x="894268" y="5348755"/>
            <a:ext cx="10096381" cy="369332"/>
          </a:xfrm>
          <a:prstGeom prst="rect">
            <a:avLst/>
          </a:prstGeom>
        </p:spPr>
        <p:txBody>
          <a:bodyPr wrap="square">
            <a:spAutoFit/>
          </a:bodyPr>
          <a:lstStyle/>
          <a:p>
            <a:pPr marL="270510"/>
            <a:r>
              <a:rPr lang="en-US" b="1" i="1" dirty="0">
                <a:solidFill>
                  <a:srgbClr val="000000"/>
                </a:solidFill>
                <a:latin typeface="Verdana" panose="020B0604030504040204" pitchFamily="34" charset="0"/>
              </a:rPr>
              <a:t>Write</a:t>
            </a:r>
            <a:r>
              <a:rPr lang="en-US" i="1" dirty="0">
                <a:solidFill>
                  <a:srgbClr val="000000"/>
                </a:solidFill>
                <a:latin typeface="Verdana" panose="020B0604030504040204" pitchFamily="34" charset="0"/>
              </a:rPr>
              <a:t> this </a:t>
            </a:r>
            <a:r>
              <a:rPr lang="en-US" b="1" i="1" dirty="0">
                <a:solidFill>
                  <a:srgbClr val="000000"/>
                </a:solidFill>
                <a:latin typeface="Verdana" panose="020B0604030504040204" pitchFamily="34" charset="0"/>
              </a:rPr>
              <a:t>data</a:t>
            </a:r>
            <a:r>
              <a:rPr lang="en-US" i="1" dirty="0">
                <a:solidFill>
                  <a:srgbClr val="000000"/>
                </a:solidFill>
                <a:latin typeface="Verdana" panose="020B0604030504040204" pitchFamily="34" charset="0"/>
              </a:rPr>
              <a:t> into </a:t>
            </a:r>
            <a:r>
              <a:rPr lang="en-US" b="1" i="1" dirty="0">
                <a:solidFill>
                  <a:srgbClr val="000000"/>
                </a:solidFill>
                <a:latin typeface="Verdana" panose="020B0604030504040204" pitchFamily="34" charset="0"/>
              </a:rPr>
              <a:t>DB</a:t>
            </a:r>
            <a:r>
              <a:rPr lang="en-US" i="1" dirty="0">
                <a:solidFill>
                  <a:srgbClr val="000000"/>
                </a:solidFill>
                <a:latin typeface="Verdana" panose="020B0604030504040204" pitchFamily="34" charset="0"/>
              </a:rPr>
              <a:t> </a:t>
            </a:r>
            <a:r>
              <a:rPr lang="en-US" b="1" i="1" dirty="0">
                <a:solidFill>
                  <a:srgbClr val="000000"/>
                </a:solidFill>
                <a:latin typeface="Verdana" panose="020B0604030504040204" pitchFamily="34" charset="0"/>
              </a:rPr>
              <a:t>10</a:t>
            </a:r>
            <a:r>
              <a:rPr lang="en-US" i="1" dirty="0">
                <a:solidFill>
                  <a:srgbClr val="000000"/>
                </a:solidFill>
                <a:latin typeface="Verdana" panose="020B0604030504040204" pitchFamily="34" charset="0"/>
              </a:rPr>
              <a:t> starting from the offset </a:t>
            </a:r>
            <a:r>
              <a:rPr lang="en-US" b="1" i="1" dirty="0">
                <a:solidFill>
                  <a:srgbClr val="000000"/>
                </a:solidFill>
                <a:latin typeface="Verdana" panose="020B0604030504040204" pitchFamily="34" charset="0"/>
              </a:rPr>
              <a:t>4</a:t>
            </a:r>
            <a:r>
              <a:rPr lang="en-US" i="1" dirty="0" smtClean="0">
                <a:solidFill>
                  <a:srgbClr val="000000"/>
                </a:solidFill>
                <a:latin typeface="Verdana" panose="020B0604030504040204" pitchFamily="34" charset="0"/>
              </a:rPr>
              <a:t>.</a:t>
            </a:r>
            <a:endParaRPr lang="en-US" dirty="0">
              <a:solidFill>
                <a:srgbClr val="000000"/>
              </a:solidFill>
              <a:latin typeface="Verdana" panose="020B0604030504040204" pitchFamily="34" charset="0"/>
            </a:endParaRPr>
          </a:p>
        </p:txBody>
      </p:sp>
    </p:spTree>
    <p:extLst>
      <p:ext uri="{BB962C8B-B14F-4D97-AF65-F5344CB8AC3E}">
        <p14:creationId xmlns:p14="http://schemas.microsoft.com/office/powerpoint/2010/main" val="2089491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p:cTn id="7" dur="1000" fill="hold"/>
                                        <p:tgtEl>
                                          <p:spTgt spid="44"/>
                                        </p:tgtEl>
                                        <p:attrNameLst>
                                          <p:attrName>ppt_w</p:attrName>
                                        </p:attrNameLst>
                                      </p:cBhvr>
                                      <p:tavLst>
                                        <p:tav tm="0">
                                          <p:val>
                                            <p:fltVal val="0"/>
                                          </p:val>
                                        </p:tav>
                                        <p:tav tm="100000">
                                          <p:val>
                                            <p:strVal val="#ppt_w"/>
                                          </p:val>
                                        </p:tav>
                                      </p:tavLst>
                                    </p:anim>
                                    <p:anim calcmode="lin" valueType="num">
                                      <p:cBhvr>
                                        <p:cTn id="8" dur="1000" fill="hold"/>
                                        <p:tgtEl>
                                          <p:spTgt spid="44"/>
                                        </p:tgtEl>
                                        <p:attrNameLst>
                                          <p:attrName>ppt_h</p:attrName>
                                        </p:attrNameLst>
                                      </p:cBhvr>
                                      <p:tavLst>
                                        <p:tav tm="0">
                                          <p:val>
                                            <p:fltVal val="0"/>
                                          </p:val>
                                        </p:tav>
                                        <p:tav tm="100000">
                                          <p:val>
                                            <p:strVal val="#ppt_h"/>
                                          </p:val>
                                        </p:tav>
                                      </p:tavLst>
                                    </p:anim>
                                    <p:anim calcmode="lin" valueType="num">
                                      <p:cBhvr>
                                        <p:cTn id="9" dur="1000" fill="hold"/>
                                        <p:tgtEl>
                                          <p:spTgt spid="44"/>
                                        </p:tgtEl>
                                        <p:attrNameLst>
                                          <p:attrName>style.rotation</p:attrName>
                                        </p:attrNameLst>
                                      </p:cBhvr>
                                      <p:tavLst>
                                        <p:tav tm="0">
                                          <p:val>
                                            <p:fltVal val="90"/>
                                          </p:val>
                                        </p:tav>
                                        <p:tav tm="100000">
                                          <p:val>
                                            <p:fltVal val="0"/>
                                          </p:val>
                                        </p:tav>
                                      </p:tavLst>
                                    </p:anim>
                                    <p:animEffect transition="in" filter="fade">
                                      <p:cBhvr>
                                        <p:cTn id="10" dur="1000"/>
                                        <p:tgtEl>
                                          <p:spTgt spid="44"/>
                                        </p:tgtEl>
                                      </p:cBhvr>
                                    </p:animEffect>
                                  </p:childTnLst>
                                </p:cTn>
                              </p:par>
                            </p:childTnLst>
                          </p:cTn>
                        </p:par>
                        <p:par>
                          <p:cTn id="11" fill="hold">
                            <p:stCondLst>
                              <p:cond delay="1000"/>
                            </p:stCondLst>
                            <p:childTnLst>
                              <p:par>
                                <p:cTn id="12" presetID="31" presetClass="entr" presetSubtype="0" fill="hold" grpId="0" nodeType="afterEffect">
                                  <p:stCondLst>
                                    <p:cond delay="0"/>
                                  </p:stCondLst>
                                  <p:childTnLst>
                                    <p:set>
                                      <p:cBhvr>
                                        <p:cTn id="13" dur="1" fill="hold">
                                          <p:stCondLst>
                                            <p:cond delay="0"/>
                                          </p:stCondLst>
                                        </p:cTn>
                                        <p:tgtEl>
                                          <p:spTgt spid="41"/>
                                        </p:tgtEl>
                                        <p:attrNameLst>
                                          <p:attrName>style.visibility</p:attrName>
                                        </p:attrNameLst>
                                      </p:cBhvr>
                                      <p:to>
                                        <p:strVal val="visible"/>
                                      </p:to>
                                    </p:set>
                                    <p:anim calcmode="lin" valueType="num">
                                      <p:cBhvr>
                                        <p:cTn id="14" dur="1000" fill="hold"/>
                                        <p:tgtEl>
                                          <p:spTgt spid="41"/>
                                        </p:tgtEl>
                                        <p:attrNameLst>
                                          <p:attrName>ppt_w</p:attrName>
                                        </p:attrNameLst>
                                      </p:cBhvr>
                                      <p:tavLst>
                                        <p:tav tm="0">
                                          <p:val>
                                            <p:fltVal val="0"/>
                                          </p:val>
                                        </p:tav>
                                        <p:tav tm="100000">
                                          <p:val>
                                            <p:strVal val="#ppt_w"/>
                                          </p:val>
                                        </p:tav>
                                      </p:tavLst>
                                    </p:anim>
                                    <p:anim calcmode="lin" valueType="num">
                                      <p:cBhvr>
                                        <p:cTn id="15" dur="1000" fill="hold"/>
                                        <p:tgtEl>
                                          <p:spTgt spid="41"/>
                                        </p:tgtEl>
                                        <p:attrNameLst>
                                          <p:attrName>ppt_h</p:attrName>
                                        </p:attrNameLst>
                                      </p:cBhvr>
                                      <p:tavLst>
                                        <p:tav tm="0">
                                          <p:val>
                                            <p:fltVal val="0"/>
                                          </p:val>
                                        </p:tav>
                                        <p:tav tm="100000">
                                          <p:val>
                                            <p:strVal val="#ppt_h"/>
                                          </p:val>
                                        </p:tav>
                                      </p:tavLst>
                                    </p:anim>
                                    <p:anim calcmode="lin" valueType="num">
                                      <p:cBhvr>
                                        <p:cTn id="16" dur="1000" fill="hold"/>
                                        <p:tgtEl>
                                          <p:spTgt spid="41"/>
                                        </p:tgtEl>
                                        <p:attrNameLst>
                                          <p:attrName>style.rotation</p:attrName>
                                        </p:attrNameLst>
                                      </p:cBhvr>
                                      <p:tavLst>
                                        <p:tav tm="0">
                                          <p:val>
                                            <p:fltVal val="90"/>
                                          </p:val>
                                        </p:tav>
                                        <p:tav tm="100000">
                                          <p:val>
                                            <p:fltVal val="0"/>
                                          </p:val>
                                        </p:tav>
                                      </p:tavLst>
                                    </p:anim>
                                    <p:animEffect transition="in" filter="fade">
                                      <p:cBhvr>
                                        <p:cTn id="17" dur="1000"/>
                                        <p:tgtEl>
                                          <p:spTgt spid="41"/>
                                        </p:tgtEl>
                                      </p:cBhvr>
                                    </p:animEffect>
                                  </p:childTnLst>
                                </p:cTn>
                              </p:par>
                            </p:childTnLst>
                          </p:cTn>
                        </p:par>
                        <p:par>
                          <p:cTn id="18" fill="hold">
                            <p:stCondLst>
                              <p:cond delay="2000"/>
                            </p:stCondLst>
                            <p:childTnLst>
                              <p:par>
                                <p:cTn id="19" presetID="31" presetClass="entr" presetSubtype="0" fill="hold" grpId="0" nodeType="afterEffect">
                                  <p:stCondLst>
                                    <p:cond delay="0"/>
                                  </p:stCondLst>
                                  <p:childTnLst>
                                    <p:set>
                                      <p:cBhvr>
                                        <p:cTn id="20" dur="1" fill="hold">
                                          <p:stCondLst>
                                            <p:cond delay="0"/>
                                          </p:stCondLst>
                                        </p:cTn>
                                        <p:tgtEl>
                                          <p:spTgt spid="42"/>
                                        </p:tgtEl>
                                        <p:attrNameLst>
                                          <p:attrName>style.visibility</p:attrName>
                                        </p:attrNameLst>
                                      </p:cBhvr>
                                      <p:to>
                                        <p:strVal val="visible"/>
                                      </p:to>
                                    </p:set>
                                    <p:anim calcmode="lin" valueType="num">
                                      <p:cBhvr>
                                        <p:cTn id="21" dur="1000" fill="hold"/>
                                        <p:tgtEl>
                                          <p:spTgt spid="42"/>
                                        </p:tgtEl>
                                        <p:attrNameLst>
                                          <p:attrName>ppt_w</p:attrName>
                                        </p:attrNameLst>
                                      </p:cBhvr>
                                      <p:tavLst>
                                        <p:tav tm="0">
                                          <p:val>
                                            <p:fltVal val="0"/>
                                          </p:val>
                                        </p:tav>
                                        <p:tav tm="100000">
                                          <p:val>
                                            <p:strVal val="#ppt_w"/>
                                          </p:val>
                                        </p:tav>
                                      </p:tavLst>
                                    </p:anim>
                                    <p:anim calcmode="lin" valueType="num">
                                      <p:cBhvr>
                                        <p:cTn id="22" dur="1000" fill="hold"/>
                                        <p:tgtEl>
                                          <p:spTgt spid="42"/>
                                        </p:tgtEl>
                                        <p:attrNameLst>
                                          <p:attrName>ppt_h</p:attrName>
                                        </p:attrNameLst>
                                      </p:cBhvr>
                                      <p:tavLst>
                                        <p:tav tm="0">
                                          <p:val>
                                            <p:fltVal val="0"/>
                                          </p:val>
                                        </p:tav>
                                        <p:tav tm="100000">
                                          <p:val>
                                            <p:strVal val="#ppt_h"/>
                                          </p:val>
                                        </p:tav>
                                      </p:tavLst>
                                    </p:anim>
                                    <p:anim calcmode="lin" valueType="num">
                                      <p:cBhvr>
                                        <p:cTn id="23" dur="1000" fill="hold"/>
                                        <p:tgtEl>
                                          <p:spTgt spid="42"/>
                                        </p:tgtEl>
                                        <p:attrNameLst>
                                          <p:attrName>style.rotation</p:attrName>
                                        </p:attrNameLst>
                                      </p:cBhvr>
                                      <p:tavLst>
                                        <p:tav tm="0">
                                          <p:val>
                                            <p:fltVal val="90"/>
                                          </p:val>
                                        </p:tav>
                                        <p:tav tm="100000">
                                          <p:val>
                                            <p:fltVal val="0"/>
                                          </p:val>
                                        </p:tav>
                                      </p:tavLst>
                                    </p:anim>
                                    <p:animEffect transition="in" filter="fade">
                                      <p:cBhvr>
                                        <p:cTn id="24" dur="1000"/>
                                        <p:tgtEl>
                                          <p:spTgt spid="42"/>
                                        </p:tgtEl>
                                      </p:cBhvr>
                                    </p:animEffect>
                                  </p:childTnLst>
                                </p:cTn>
                              </p:par>
                            </p:childTnLst>
                          </p:cTn>
                        </p:par>
                        <p:par>
                          <p:cTn id="25" fill="hold">
                            <p:stCondLst>
                              <p:cond delay="3000"/>
                            </p:stCondLst>
                            <p:childTnLst>
                              <p:par>
                                <p:cTn id="26" presetID="31" presetClass="entr" presetSubtype="0" fill="hold" grpId="0" nodeType="afterEffect">
                                  <p:stCondLst>
                                    <p:cond delay="0"/>
                                  </p:stCondLst>
                                  <p:childTnLst>
                                    <p:set>
                                      <p:cBhvr>
                                        <p:cTn id="27" dur="1" fill="hold">
                                          <p:stCondLst>
                                            <p:cond delay="0"/>
                                          </p:stCondLst>
                                        </p:cTn>
                                        <p:tgtEl>
                                          <p:spTgt spid="43"/>
                                        </p:tgtEl>
                                        <p:attrNameLst>
                                          <p:attrName>style.visibility</p:attrName>
                                        </p:attrNameLst>
                                      </p:cBhvr>
                                      <p:to>
                                        <p:strVal val="visible"/>
                                      </p:to>
                                    </p:set>
                                    <p:anim calcmode="lin" valueType="num">
                                      <p:cBhvr>
                                        <p:cTn id="28" dur="1000" fill="hold"/>
                                        <p:tgtEl>
                                          <p:spTgt spid="43"/>
                                        </p:tgtEl>
                                        <p:attrNameLst>
                                          <p:attrName>ppt_w</p:attrName>
                                        </p:attrNameLst>
                                      </p:cBhvr>
                                      <p:tavLst>
                                        <p:tav tm="0">
                                          <p:val>
                                            <p:fltVal val="0"/>
                                          </p:val>
                                        </p:tav>
                                        <p:tav tm="100000">
                                          <p:val>
                                            <p:strVal val="#ppt_w"/>
                                          </p:val>
                                        </p:tav>
                                      </p:tavLst>
                                    </p:anim>
                                    <p:anim calcmode="lin" valueType="num">
                                      <p:cBhvr>
                                        <p:cTn id="29" dur="1000" fill="hold"/>
                                        <p:tgtEl>
                                          <p:spTgt spid="43"/>
                                        </p:tgtEl>
                                        <p:attrNameLst>
                                          <p:attrName>ppt_h</p:attrName>
                                        </p:attrNameLst>
                                      </p:cBhvr>
                                      <p:tavLst>
                                        <p:tav tm="0">
                                          <p:val>
                                            <p:fltVal val="0"/>
                                          </p:val>
                                        </p:tav>
                                        <p:tav tm="100000">
                                          <p:val>
                                            <p:strVal val="#ppt_h"/>
                                          </p:val>
                                        </p:tav>
                                      </p:tavLst>
                                    </p:anim>
                                    <p:anim calcmode="lin" valueType="num">
                                      <p:cBhvr>
                                        <p:cTn id="30" dur="1000" fill="hold"/>
                                        <p:tgtEl>
                                          <p:spTgt spid="43"/>
                                        </p:tgtEl>
                                        <p:attrNameLst>
                                          <p:attrName>style.rotation</p:attrName>
                                        </p:attrNameLst>
                                      </p:cBhvr>
                                      <p:tavLst>
                                        <p:tav tm="0">
                                          <p:val>
                                            <p:fltVal val="90"/>
                                          </p:val>
                                        </p:tav>
                                        <p:tav tm="100000">
                                          <p:val>
                                            <p:fltVal val="0"/>
                                          </p:val>
                                        </p:tav>
                                      </p:tavLst>
                                    </p:anim>
                                    <p:animEffect transition="in" filter="fade">
                                      <p:cBhvr>
                                        <p:cTn id="31" dur="1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3" grpId="0" animBg="1"/>
      <p:bldP spid="4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S7</a:t>
            </a:r>
            <a:br>
              <a:rPr lang="de-DE" dirty="0"/>
            </a:br>
            <a:r>
              <a:rPr lang="de-DE" b="0" dirty="0" err="1" smtClean="0"/>
              <a:t>S7</a:t>
            </a:r>
            <a:r>
              <a:rPr lang="de-DE" b="0" dirty="0" smtClean="0"/>
              <a:t> </a:t>
            </a:r>
            <a:r>
              <a:rPr lang="de-DE" b="0" dirty="0" err="1"/>
              <a:t>protocol</a:t>
            </a:r>
            <a:endParaRPr lang="de-DE" dirty="0"/>
          </a:p>
        </p:txBody>
      </p:sp>
      <p:pic>
        <p:nvPicPr>
          <p:cNvPr id="11266" name="Picture 2" descr="Bildergebnis für siemens s7 protokol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7460" y="850063"/>
            <a:ext cx="6047714" cy="37610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http://snap7.sourceforge.net/siemens_comm_file/image0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5443" y="4824991"/>
            <a:ext cx="6402541" cy="1656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57022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S7</a:t>
            </a:r>
            <a:br>
              <a:rPr lang="de-DE" dirty="0"/>
            </a:br>
            <a:r>
              <a:rPr lang="de-DE" b="0" dirty="0" smtClean="0"/>
              <a:t>Server </a:t>
            </a:r>
            <a:r>
              <a:rPr lang="de-DE" b="0" dirty="0" err="1" smtClean="0"/>
              <a:t>and</a:t>
            </a:r>
            <a:r>
              <a:rPr lang="de-DE" b="0" dirty="0" smtClean="0"/>
              <a:t> Client</a:t>
            </a:r>
            <a:endParaRPr lang="de-DE" dirty="0"/>
          </a:p>
        </p:txBody>
      </p:sp>
      <p:pic>
        <p:nvPicPr>
          <p:cNvPr id="12292" name="Picture 4" descr="http://snap7.sourceforge.net/siemens_comm_file/image00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6849" y="1247219"/>
            <a:ext cx="4337769" cy="4858613"/>
          </a:xfrm>
          <a:prstGeom prst="rect">
            <a:avLst/>
          </a:prstGeom>
          <a:noFill/>
          <a:extLst>
            <a:ext uri="{909E8E84-426E-40DD-AFC4-6F175D3DCCD1}">
              <a14:hiddenFill xmlns:a14="http://schemas.microsoft.com/office/drawing/2010/main">
                <a:solidFill>
                  <a:srgbClr val="FFFFFF"/>
                </a:solidFill>
              </a14:hiddenFill>
            </a:ext>
          </a:extLst>
        </p:spPr>
      </p:pic>
      <p:pic>
        <p:nvPicPr>
          <p:cNvPr id="12294" name="Picture 6" descr="http://snap7.sourceforge.net/siemens_comm_file/image00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4432" y="4960374"/>
            <a:ext cx="3885484" cy="1490497"/>
          </a:xfrm>
          <a:prstGeom prst="rect">
            <a:avLst/>
          </a:prstGeom>
          <a:noFill/>
          <a:extLst>
            <a:ext uri="{909E8E84-426E-40DD-AFC4-6F175D3DCCD1}">
              <a14:hiddenFill xmlns:a14="http://schemas.microsoft.com/office/drawing/2010/main">
                <a:solidFill>
                  <a:srgbClr val="FFFFFF"/>
                </a:solidFill>
              </a14:hiddenFill>
            </a:ext>
          </a:extLst>
        </p:spPr>
      </p:pic>
      <p:pic>
        <p:nvPicPr>
          <p:cNvPr id="12296" name="Picture 8" descr="http://snap7.sourceforge.net/siemens_comm_file/image00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4431" y="1185356"/>
            <a:ext cx="5078703" cy="3575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08030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Configuration</a:t>
            </a:r>
            <a:r>
              <a:rPr lang="de-DE" dirty="0"/>
              <a:t> </a:t>
            </a:r>
            <a:r>
              <a:rPr lang="de-DE" dirty="0" err="1"/>
              <a:t>with</a:t>
            </a:r>
            <a:r>
              <a:rPr lang="de-DE" dirty="0"/>
              <a:t> S7</a:t>
            </a:r>
            <a:r>
              <a:rPr lang="de-DE" dirty="0" smtClean="0"/>
              <a:t/>
            </a:r>
            <a:br>
              <a:rPr lang="de-DE" dirty="0" smtClean="0"/>
            </a:br>
            <a:r>
              <a:rPr lang="de-DE" b="0" i="1" u="sng" dirty="0" smtClean="0"/>
              <a:t>Hands-On </a:t>
            </a:r>
            <a:r>
              <a:rPr lang="de-DE" b="0" i="1" u="sng" dirty="0" err="1" smtClean="0"/>
              <a:t>Exercise</a:t>
            </a:r>
            <a:r>
              <a:rPr lang="de-DE" b="0" i="1" u="sng" dirty="0" smtClean="0"/>
              <a:t> 3</a:t>
            </a:r>
            <a:endParaRPr lang="en-US" b="0" i="1" u="sng" dirty="0"/>
          </a:p>
        </p:txBody>
      </p:sp>
      <p:grpSp>
        <p:nvGrpSpPr>
          <p:cNvPr id="42" name="Gruppieren 41"/>
          <p:cNvGrpSpPr/>
          <p:nvPr/>
        </p:nvGrpSpPr>
        <p:grpSpPr>
          <a:xfrm>
            <a:off x="2520000" y="3960000"/>
            <a:ext cx="5976664" cy="2232248"/>
            <a:chOff x="2354759" y="2508565"/>
            <a:chExt cx="5976664" cy="2232248"/>
          </a:xfrm>
          <a:solidFill>
            <a:srgbClr val="2387AA"/>
          </a:solidFill>
        </p:grpSpPr>
        <p:sp>
          <p:nvSpPr>
            <p:cNvPr id="43" name="Abgerundetes Rechteck 2"/>
            <p:cNvSpPr/>
            <p:nvPr/>
          </p:nvSpPr>
          <p:spPr bwMode="auto">
            <a:xfrm>
              <a:off x="2354759"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4"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9" name="Rechteck 8"/>
          <p:cNvSpPr>
            <a:spLocks/>
          </p:cNvSpPr>
          <p:nvPr/>
        </p:nvSpPr>
        <p:spPr bwMode="gray">
          <a:xfrm>
            <a:off x="295477" y="1544653"/>
            <a:ext cx="10423925"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Onboarding of </a:t>
            </a:r>
            <a:r>
              <a:rPr lang="en-US" sz="1399" b="1" dirty="0" err="1">
                <a:solidFill>
                  <a:schemeClr val="bg1"/>
                </a:solidFill>
              </a:rPr>
              <a:t>MindConnect</a:t>
            </a:r>
            <a:r>
              <a:rPr lang="en-US" sz="1399" b="1" dirty="0">
                <a:solidFill>
                  <a:schemeClr val="bg1"/>
                </a:solidFill>
              </a:rPr>
              <a:t> Nano/</a:t>
            </a:r>
            <a:r>
              <a:rPr lang="en-US" sz="1399" b="1" dirty="0" err="1">
                <a:solidFill>
                  <a:schemeClr val="bg1"/>
                </a:solidFill>
              </a:rPr>
              <a:t>IoT</a:t>
            </a:r>
            <a:r>
              <a:rPr lang="en-US" sz="1399" b="1" dirty="0">
                <a:solidFill>
                  <a:schemeClr val="bg1"/>
                </a:solidFill>
              </a:rPr>
              <a:t> 2040 with MindSphere 3.0</a:t>
            </a: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86330" y="1387317"/>
            <a:ext cx="5605670" cy="5608590"/>
          </a:xfrm>
          <a:prstGeom prst="rect">
            <a:avLst/>
          </a:prstGeom>
        </p:spPr>
      </p:pic>
    </p:spTree>
    <p:extLst>
      <p:ext uri="{BB962C8B-B14F-4D97-AF65-F5344CB8AC3E}">
        <p14:creationId xmlns:p14="http://schemas.microsoft.com/office/powerpoint/2010/main" val="66978669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Configuration</a:t>
            </a:r>
            <a:r>
              <a:rPr lang="de-DE" dirty="0"/>
              <a:t> </a:t>
            </a:r>
            <a:r>
              <a:rPr lang="de-DE" dirty="0" err="1"/>
              <a:t>with</a:t>
            </a:r>
            <a:r>
              <a:rPr lang="de-DE" dirty="0"/>
              <a:t> S7</a:t>
            </a:r>
            <a:r>
              <a:rPr lang="de-DE" dirty="0" smtClean="0"/>
              <a:t/>
            </a:r>
            <a:br>
              <a:rPr lang="de-DE" dirty="0" smtClean="0"/>
            </a:br>
            <a:r>
              <a:rPr lang="de-DE" b="0" i="1" u="sng" dirty="0" smtClean="0"/>
              <a:t>Hands-On </a:t>
            </a:r>
            <a:r>
              <a:rPr lang="de-DE" b="0" i="1" u="sng" dirty="0" err="1" smtClean="0"/>
              <a:t>Exercise</a:t>
            </a:r>
            <a:r>
              <a:rPr lang="de-DE" b="0" i="1" u="sng" dirty="0" smtClean="0"/>
              <a:t> 4</a:t>
            </a:r>
            <a:endParaRPr lang="en-US" b="0" i="1" u="sng" dirty="0"/>
          </a:p>
        </p:txBody>
      </p:sp>
      <p:grpSp>
        <p:nvGrpSpPr>
          <p:cNvPr id="42" name="Gruppieren 41"/>
          <p:cNvGrpSpPr/>
          <p:nvPr/>
        </p:nvGrpSpPr>
        <p:grpSpPr>
          <a:xfrm>
            <a:off x="2520000" y="3960000"/>
            <a:ext cx="5976664" cy="2232248"/>
            <a:chOff x="2354759" y="2508565"/>
            <a:chExt cx="5976664" cy="2232248"/>
          </a:xfrm>
          <a:solidFill>
            <a:srgbClr val="2387AA"/>
          </a:solidFill>
        </p:grpSpPr>
        <p:sp>
          <p:nvSpPr>
            <p:cNvPr id="43" name="Abgerundetes Rechteck 2"/>
            <p:cNvSpPr/>
            <p:nvPr/>
          </p:nvSpPr>
          <p:spPr bwMode="auto">
            <a:xfrm>
              <a:off x="2354759"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4"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9" name="Rechteck 8"/>
          <p:cNvSpPr>
            <a:spLocks/>
          </p:cNvSpPr>
          <p:nvPr/>
        </p:nvSpPr>
        <p:spPr bwMode="gray">
          <a:xfrm>
            <a:off x="295476" y="1552244"/>
            <a:ext cx="10423925"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Configure data points with </a:t>
            </a:r>
            <a:r>
              <a:rPr lang="en-US" sz="1399" b="1" dirty="0" err="1">
                <a:solidFill>
                  <a:schemeClr val="bg1"/>
                </a:solidFill>
              </a:rPr>
              <a:t>onboarded</a:t>
            </a:r>
            <a:r>
              <a:rPr lang="en-US" sz="1399" b="1" dirty="0">
                <a:solidFill>
                  <a:schemeClr val="bg1"/>
                </a:solidFill>
              </a:rPr>
              <a:t> </a:t>
            </a:r>
            <a:r>
              <a:rPr lang="en-US" sz="1399" b="1" dirty="0" err="1">
                <a:solidFill>
                  <a:schemeClr val="bg1"/>
                </a:solidFill>
              </a:rPr>
              <a:t>MindConnect</a:t>
            </a:r>
            <a:r>
              <a:rPr lang="en-US" sz="1399" b="1" dirty="0">
                <a:solidFill>
                  <a:schemeClr val="bg1"/>
                </a:solidFill>
              </a:rPr>
              <a:t> Nano/</a:t>
            </a:r>
            <a:r>
              <a:rPr lang="en-US" sz="1399" b="1" dirty="0" err="1">
                <a:solidFill>
                  <a:schemeClr val="bg1"/>
                </a:solidFill>
              </a:rPr>
              <a:t>IoT</a:t>
            </a:r>
            <a:r>
              <a:rPr lang="en-US" sz="1399" b="1" dirty="0">
                <a:solidFill>
                  <a:schemeClr val="bg1"/>
                </a:solidFill>
              </a:rPr>
              <a:t> 2040</a:t>
            </a: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86330" y="1387317"/>
            <a:ext cx="5605670" cy="5608590"/>
          </a:xfrm>
          <a:prstGeom prst="rect">
            <a:avLst/>
          </a:prstGeom>
        </p:spPr>
      </p:pic>
    </p:spTree>
    <p:extLst>
      <p:ext uri="{BB962C8B-B14F-4D97-AF65-F5344CB8AC3E}">
        <p14:creationId xmlns:p14="http://schemas.microsoft.com/office/powerpoint/2010/main" val="207094051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Callout 2 4"/>
          <p:cNvSpPr/>
          <p:nvPr/>
        </p:nvSpPr>
        <p:spPr bwMode="auto">
          <a:xfrm flipH="1">
            <a:off x="228599" y="1680632"/>
            <a:ext cx="4533899" cy="3300943"/>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solidFill>
                  <a:srgbClr val="FFFFFF"/>
                </a:solidFill>
                <a:ea typeface="Arial Unicode MS" panose="020B0604020202020204" pitchFamily="34" charset="-128"/>
                <a:cs typeface="Arial Unicode MS" panose="020B0604020202020204" pitchFamily="34" charset="-128"/>
              </a:rPr>
              <a:t>What are the necessary steps to </a:t>
            </a:r>
            <a:r>
              <a:rPr lang="en-US" dirty="0" err="1">
                <a:solidFill>
                  <a:srgbClr val="FFFFFF"/>
                </a:solidFill>
                <a:ea typeface="Arial Unicode MS" panose="020B0604020202020204" pitchFamily="34" charset="-128"/>
                <a:cs typeface="Arial Unicode MS" panose="020B0604020202020204" pitchFamily="34" charset="-128"/>
              </a:rPr>
              <a:t>recieve</a:t>
            </a:r>
            <a:r>
              <a:rPr lang="en-US" dirty="0">
                <a:solidFill>
                  <a:srgbClr val="FFFFFF"/>
                </a:solidFill>
                <a:ea typeface="Arial Unicode MS" panose="020B0604020202020204" pitchFamily="34" charset="-128"/>
                <a:cs typeface="Arial Unicode MS" panose="020B0604020202020204" pitchFamily="34" charset="-128"/>
              </a:rPr>
              <a:t> data in MindSphere via </a:t>
            </a:r>
            <a:r>
              <a:rPr lang="en-US" dirty="0" err="1">
                <a:solidFill>
                  <a:srgbClr val="FFFFFF"/>
                </a:solidFill>
                <a:ea typeface="Arial Unicode MS" panose="020B0604020202020204" pitchFamily="34" charset="-128"/>
                <a:cs typeface="Arial Unicode MS" panose="020B0604020202020204" pitchFamily="34" charset="-128"/>
              </a:rPr>
              <a:t>MindConnect</a:t>
            </a:r>
            <a:r>
              <a:rPr lang="en-US" dirty="0">
                <a:solidFill>
                  <a:srgbClr val="FFFFFF"/>
                </a:solidFill>
                <a:ea typeface="Arial Unicode MS" panose="020B0604020202020204" pitchFamily="34" charset="-128"/>
                <a:cs typeface="Arial Unicode MS" panose="020B0604020202020204" pitchFamily="34" charset="-128"/>
              </a:rPr>
              <a:t> Nano and S7 protocol?</a:t>
            </a:r>
          </a:p>
          <a:p>
            <a:pPr algn="ctr">
              <a:lnSpc>
                <a:spcPct val="110000"/>
              </a:lnSpc>
              <a:spcBef>
                <a:spcPct val="0"/>
              </a:spcBef>
              <a:buFont typeface="Wingdings" charset="0"/>
              <a:buNone/>
            </a:pPr>
            <a:endParaRPr lang="en-US" b="1"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en-US" b="1" dirty="0">
                <a:solidFill>
                  <a:srgbClr val="FFFFFF"/>
                </a:solidFill>
                <a:ea typeface="Arial Unicode MS" panose="020B0604020202020204" pitchFamily="34" charset="-128"/>
                <a:cs typeface="Arial Unicode MS" panose="020B0604020202020204" pitchFamily="34" charset="-128"/>
              </a:rPr>
              <a:t>Create an Asset in MindSphere by choosing </a:t>
            </a:r>
            <a:r>
              <a:rPr lang="en-US" b="1" dirty="0" err="1">
                <a:solidFill>
                  <a:srgbClr val="FFFFFF"/>
                </a:solidFill>
                <a:ea typeface="Arial Unicode MS" panose="020B0604020202020204" pitchFamily="34" charset="-128"/>
                <a:cs typeface="Arial Unicode MS" panose="020B0604020202020204" pitchFamily="34" charset="-128"/>
              </a:rPr>
              <a:t>MindConnect</a:t>
            </a:r>
            <a:r>
              <a:rPr lang="en-US" b="1" dirty="0">
                <a:solidFill>
                  <a:srgbClr val="FFFFFF"/>
                </a:solidFill>
                <a:ea typeface="Arial Unicode MS" panose="020B0604020202020204" pitchFamily="34" charset="-128"/>
                <a:cs typeface="Arial Unicode MS" panose="020B0604020202020204" pitchFamily="34" charset="-128"/>
              </a:rPr>
              <a:t> Nano, fill in all relevant information and transfer configuration via USB stick to </a:t>
            </a:r>
            <a:r>
              <a:rPr lang="en-US" b="1" dirty="0" err="1">
                <a:solidFill>
                  <a:srgbClr val="FFFFFF"/>
                </a:solidFill>
                <a:ea typeface="Arial Unicode MS" panose="020B0604020202020204" pitchFamily="34" charset="-128"/>
                <a:cs typeface="Arial Unicode MS" panose="020B0604020202020204" pitchFamily="34" charset="-128"/>
              </a:rPr>
              <a:t>MindConnect</a:t>
            </a:r>
            <a:r>
              <a:rPr lang="en-US" b="1" dirty="0">
                <a:solidFill>
                  <a:srgbClr val="FFFFFF"/>
                </a:solidFill>
                <a:ea typeface="Arial Unicode MS" panose="020B0604020202020204" pitchFamily="34" charset="-128"/>
                <a:cs typeface="Arial Unicode MS" panose="020B0604020202020204" pitchFamily="34" charset="-128"/>
              </a:rPr>
              <a:t> Nano, create aspect and configure data points with S7 protocol</a:t>
            </a:r>
          </a:p>
        </p:txBody>
      </p:sp>
      <p:sp>
        <p:nvSpPr>
          <p:cNvPr id="2" name="Title 1"/>
          <p:cNvSpPr>
            <a:spLocks noGrp="1"/>
          </p:cNvSpPr>
          <p:nvPr>
            <p:ph type="title"/>
          </p:nvPr>
        </p:nvSpPr>
        <p:spPr/>
        <p:txBody>
          <a:bodyPr/>
          <a:lstStyle/>
          <a:p>
            <a:r>
              <a:rPr lang="de-DE" dirty="0" err="1">
                <a:solidFill>
                  <a:srgbClr val="00646E"/>
                </a:solidFill>
              </a:rPr>
              <a:t>Configuration</a:t>
            </a:r>
            <a:r>
              <a:rPr lang="de-DE" dirty="0">
                <a:solidFill>
                  <a:srgbClr val="00646E"/>
                </a:solidFill>
              </a:rPr>
              <a:t> </a:t>
            </a:r>
            <a:r>
              <a:rPr lang="de-DE" dirty="0" err="1">
                <a:solidFill>
                  <a:srgbClr val="00646E"/>
                </a:solidFill>
              </a:rPr>
              <a:t>with</a:t>
            </a:r>
            <a:r>
              <a:rPr lang="de-DE" dirty="0">
                <a:solidFill>
                  <a:srgbClr val="00646E"/>
                </a:solidFill>
              </a:rPr>
              <a:t> S7</a:t>
            </a:r>
            <a:r>
              <a:rPr lang="de-DE" dirty="0" smtClean="0">
                <a:solidFill>
                  <a:srgbClr val="00646E"/>
                </a:solidFill>
              </a:rPr>
              <a:t/>
            </a:r>
            <a:br>
              <a:rPr lang="de-DE" dirty="0" smtClean="0">
                <a:solidFill>
                  <a:srgbClr val="00646E"/>
                </a:solidFill>
              </a:rPr>
            </a:br>
            <a:r>
              <a:rPr lang="en-US" b="0" dirty="0" smtClean="0">
                <a:solidFill>
                  <a:srgbClr val="00646E"/>
                </a:solidFill>
              </a:rPr>
              <a:t>Summary</a:t>
            </a:r>
            <a:endParaRPr lang="en-US" dirty="0">
              <a:solidFill>
                <a:srgbClr val="00646E"/>
              </a:solidFill>
            </a:endParaRPr>
          </a:p>
        </p:txBody>
      </p:sp>
    </p:spTree>
    <p:extLst>
      <p:ext uri="{BB962C8B-B14F-4D97-AF65-F5344CB8AC3E}">
        <p14:creationId xmlns:p14="http://schemas.microsoft.com/office/powerpoint/2010/main" val="153554015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111654"/>
            <a:ext cx="9297988" cy="172416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MindSphere Assets</a:t>
            </a:r>
          </a:p>
          <a:p>
            <a:r>
              <a:rPr lang="de-DE" sz="3200" kern="0" dirty="0" err="1" smtClean="0">
                <a:solidFill>
                  <a:schemeClr val="tx1"/>
                </a:solidFill>
              </a:rPr>
              <a:t>Configuration</a:t>
            </a:r>
            <a:r>
              <a:rPr lang="de-DE" sz="3200" kern="0" dirty="0" smtClean="0">
                <a:solidFill>
                  <a:schemeClr val="tx1"/>
                </a:solidFill>
              </a:rPr>
              <a:t> </a:t>
            </a:r>
            <a:r>
              <a:rPr lang="de-DE" sz="3200" kern="0" dirty="0" err="1" smtClean="0">
                <a:solidFill>
                  <a:schemeClr val="tx1"/>
                </a:solidFill>
              </a:rPr>
              <a:t>with</a:t>
            </a:r>
            <a:r>
              <a:rPr lang="de-DE" sz="3200" kern="0" dirty="0" smtClean="0">
                <a:solidFill>
                  <a:schemeClr val="tx1"/>
                </a:solidFill>
              </a:rPr>
              <a:t> OPC UA</a:t>
            </a:r>
            <a:endParaRPr lang="en-US" sz="3200" kern="0" dirty="0">
              <a:solidFill>
                <a:schemeClr val="tx1"/>
              </a:solidFill>
            </a:endParaRPr>
          </a:p>
          <a:p>
            <a:r>
              <a:rPr lang="en-US" sz="1999" kern="0" dirty="0" smtClean="0">
                <a:solidFill>
                  <a:schemeClr val="tx1"/>
                </a:solidFill>
              </a:rPr>
              <a:t>2018</a:t>
            </a:r>
            <a:endParaRPr lang="en-US" sz="1999" b="0" kern="0" dirty="0">
              <a:solidFill>
                <a:schemeClr val="tx1"/>
              </a:solidFill>
            </a:endParaRPr>
          </a:p>
        </p:txBody>
      </p:sp>
    </p:spTree>
    <p:extLst>
      <p:ext uri="{BB962C8B-B14F-4D97-AF65-F5344CB8AC3E}">
        <p14:creationId xmlns:p14="http://schemas.microsoft.com/office/powerpoint/2010/main" val="3868288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solidFill>
                  <a:srgbClr val="00646E"/>
                </a:solidFill>
              </a:rPr>
              <a:t>Configuration</a:t>
            </a:r>
            <a:r>
              <a:rPr lang="de-DE" dirty="0" smtClean="0">
                <a:solidFill>
                  <a:srgbClr val="00646E"/>
                </a:solidFill>
              </a:rPr>
              <a:t> </a:t>
            </a:r>
            <a:r>
              <a:rPr lang="de-DE" dirty="0" err="1">
                <a:solidFill>
                  <a:srgbClr val="00646E"/>
                </a:solidFill>
              </a:rPr>
              <a:t>with</a:t>
            </a:r>
            <a:r>
              <a:rPr lang="de-DE" dirty="0">
                <a:solidFill>
                  <a:srgbClr val="00646E"/>
                </a:solidFill>
              </a:rPr>
              <a:t> OPC </a:t>
            </a:r>
            <a:r>
              <a:rPr lang="de-DE" dirty="0" smtClean="0">
                <a:solidFill>
                  <a:srgbClr val="00646E"/>
                </a:solidFill>
              </a:rPr>
              <a:t>UA</a:t>
            </a:r>
            <a:r>
              <a:rPr lang="de-DE" dirty="0">
                <a:solidFill>
                  <a:srgbClr val="00646E"/>
                </a:solidFill>
              </a:rPr>
              <a:t/>
            </a:r>
            <a:br>
              <a:rPr lang="de-DE" dirty="0">
                <a:solidFill>
                  <a:srgbClr val="00646E"/>
                </a:solidFill>
              </a:rPr>
            </a:br>
            <a:r>
              <a:rPr lang="en-US" b="0" dirty="0" smtClean="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286031"/>
            <a:ext cx="4732072"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Connect an asset in MindSphere via OPC UA</a:t>
            </a:r>
          </a:p>
        </p:txBody>
      </p:sp>
      <p:sp>
        <p:nvSpPr>
          <p:cNvPr id="5" name="Line Callout 2 4"/>
          <p:cNvSpPr/>
          <p:nvPr/>
        </p:nvSpPr>
        <p:spPr bwMode="auto">
          <a:xfrm flipH="1">
            <a:off x="626737" y="1680633"/>
            <a:ext cx="3391810" cy="1806845"/>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b="1" dirty="0">
                <a:solidFill>
                  <a:srgbClr val="FFFFFF"/>
                </a:solidFill>
                <a:ea typeface="Arial Unicode MS" panose="020B0604020202020204" pitchFamily="34" charset="-128"/>
                <a:cs typeface="Arial Unicode MS" panose="020B0604020202020204" pitchFamily="34" charset="-128"/>
              </a:rPr>
              <a:t>What is OPC UA </a:t>
            </a:r>
          </a:p>
          <a:p>
            <a:pPr algn="ctr">
              <a:lnSpc>
                <a:spcPct val="110000"/>
              </a:lnSpc>
              <a:spcBef>
                <a:spcPct val="0"/>
              </a:spcBef>
              <a:buFont typeface="Wingdings" charset="0"/>
              <a:buNone/>
            </a:pPr>
            <a:r>
              <a:rPr lang="en-US" b="1" dirty="0">
                <a:solidFill>
                  <a:srgbClr val="FFFFFF"/>
                </a:solidFill>
                <a:ea typeface="Arial Unicode MS" panose="020B0604020202020204" pitchFamily="34" charset="-128"/>
                <a:cs typeface="Arial Unicode MS" panose="020B0604020202020204" pitchFamily="34" charset="-128"/>
              </a:rPr>
              <a:t>and</a:t>
            </a:r>
          </a:p>
          <a:p>
            <a:pPr algn="ctr">
              <a:lnSpc>
                <a:spcPct val="110000"/>
              </a:lnSpc>
              <a:spcBef>
                <a:spcPct val="0"/>
              </a:spcBef>
              <a:buFont typeface="Wingdings" charset="0"/>
              <a:buNone/>
            </a:pPr>
            <a:r>
              <a:rPr lang="en-US" b="1" dirty="0">
                <a:solidFill>
                  <a:srgbClr val="FFFFFF"/>
                </a:solidFill>
                <a:ea typeface="Arial Unicode MS" panose="020B0604020202020204" pitchFamily="34" charset="-128"/>
                <a:cs typeface="Arial Unicode MS" panose="020B0604020202020204" pitchFamily="34" charset="-128"/>
              </a:rPr>
              <a:t>How do I create and connect an asset via OPC UA in MindSphere</a:t>
            </a:r>
            <a:r>
              <a:rPr lang="de-DE" b="1" dirty="0">
                <a:solidFill>
                  <a:srgbClr val="FFFFFF"/>
                </a:solidFill>
                <a:ea typeface="Arial Unicode MS" panose="020B0604020202020204" pitchFamily="34" charset="-128"/>
                <a:cs typeface="Arial Unicode MS" panose="020B0604020202020204" pitchFamily="34" charset="-128"/>
              </a:rPr>
              <a:t>? </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8051780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rgbClr val="00646E"/>
                </a:solidFill>
              </a:rPr>
              <a:t>MindSphere </a:t>
            </a:r>
            <a:r>
              <a:rPr lang="de-DE" dirty="0" err="1" smtClean="0">
                <a:solidFill>
                  <a:srgbClr val="00646E"/>
                </a:solidFill>
              </a:rPr>
              <a:t>Introduction</a:t>
            </a:r>
            <a:r>
              <a:rPr lang="de-DE" dirty="0">
                <a:solidFill>
                  <a:srgbClr val="00646E"/>
                </a:solidFill>
              </a:rPr>
              <a:t/>
            </a:r>
            <a:br>
              <a:rPr lang="de-DE" dirty="0">
                <a:solidFill>
                  <a:srgbClr val="00646E"/>
                </a:solidFill>
              </a:rPr>
            </a:br>
            <a:r>
              <a:rPr lang="en-US" b="0" dirty="0" smtClean="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286031"/>
            <a:ext cx="4732072"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smtClean="0"/>
              <a:t>Overview of MindSphere connect elements</a:t>
            </a:r>
          </a:p>
          <a:p>
            <a:pPr marL="324000" indent="-285750">
              <a:buFont typeface="Arial" panose="020B0604020202020204" pitchFamily="34" charset="0"/>
              <a:buChar char="•"/>
            </a:pPr>
            <a:r>
              <a:rPr lang="de-DE" sz="2000" b="0" dirty="0" smtClean="0"/>
              <a:t>The </a:t>
            </a:r>
            <a:r>
              <a:rPr lang="de-DE" sz="2000" b="0" dirty="0" err="1" smtClean="0"/>
              <a:t>structure</a:t>
            </a:r>
            <a:r>
              <a:rPr lang="de-DE" sz="2000" b="0" dirty="0" smtClean="0"/>
              <a:t> </a:t>
            </a:r>
            <a:r>
              <a:rPr lang="de-DE" sz="2000" b="0" dirty="0" err="1" smtClean="0"/>
              <a:t>of</a:t>
            </a:r>
            <a:r>
              <a:rPr lang="de-DE" sz="2000" b="0" dirty="0" smtClean="0"/>
              <a:t> </a:t>
            </a:r>
            <a:r>
              <a:rPr lang="de-DE" sz="2000" b="0" dirty="0" err="1" smtClean="0"/>
              <a:t>the</a:t>
            </a:r>
            <a:r>
              <a:rPr lang="de-DE" sz="2000" b="0" dirty="0" smtClean="0"/>
              <a:t> </a:t>
            </a:r>
            <a:r>
              <a:rPr lang="de-DE" sz="2000" b="0" dirty="0" err="1" smtClean="0"/>
              <a:t>connectivity</a:t>
            </a:r>
            <a:r>
              <a:rPr lang="de-DE" sz="2000" b="0" dirty="0" smtClean="0"/>
              <a:t> </a:t>
            </a:r>
            <a:r>
              <a:rPr lang="de-DE" sz="2000" b="0" dirty="0" err="1" smtClean="0"/>
              <a:t>of</a:t>
            </a:r>
            <a:r>
              <a:rPr lang="de-DE" sz="2000" b="0" dirty="0" smtClean="0"/>
              <a:t> MindSphere</a:t>
            </a:r>
            <a:endParaRPr lang="en-US" sz="2000" b="0" dirty="0"/>
          </a:p>
        </p:txBody>
      </p:sp>
      <p:sp>
        <p:nvSpPr>
          <p:cNvPr id="5" name="Line Callout 2 4"/>
          <p:cNvSpPr/>
          <p:nvPr/>
        </p:nvSpPr>
        <p:spPr bwMode="auto">
          <a:xfrm flipH="1">
            <a:off x="626737" y="1680633"/>
            <a:ext cx="3391810" cy="1806845"/>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smtClean="0">
                <a:solidFill>
                  <a:srgbClr val="FFFFFF"/>
                </a:solidFill>
                <a:ea typeface="Arial Unicode MS" panose="020B0604020202020204" pitchFamily="34" charset="-128"/>
                <a:cs typeface="Arial Unicode MS" panose="020B0604020202020204" pitchFamily="34" charset="-128"/>
              </a:rPr>
              <a:t>How</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does</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the</a:t>
            </a:r>
            <a:r>
              <a:rPr lang="de-DE" b="1" dirty="0" smtClean="0">
                <a:solidFill>
                  <a:srgbClr val="FFFFFF"/>
                </a:solidFill>
                <a:ea typeface="Arial Unicode MS" panose="020B0604020202020204" pitchFamily="34" charset="-128"/>
                <a:cs typeface="Arial Unicode MS" panose="020B0604020202020204" pitchFamily="34" charset="-128"/>
              </a:rPr>
              <a:t> MindSphere </a:t>
            </a:r>
            <a:r>
              <a:rPr lang="de-DE" b="1" dirty="0" err="1" smtClean="0">
                <a:solidFill>
                  <a:srgbClr val="FFFFFF"/>
                </a:solidFill>
                <a:ea typeface="Arial Unicode MS" panose="020B0604020202020204" pitchFamily="34" charset="-128"/>
                <a:cs typeface="Arial Unicode MS" panose="020B0604020202020204" pitchFamily="34" charset="-128"/>
              </a:rPr>
              <a:t>ecosystem</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look</a:t>
            </a:r>
            <a:r>
              <a:rPr lang="de-DE" b="1" dirty="0" smtClean="0">
                <a:solidFill>
                  <a:srgbClr val="FFFFFF"/>
                </a:solidFill>
                <a:ea typeface="Arial Unicode MS" panose="020B0604020202020204" pitchFamily="34" charset="-128"/>
                <a:cs typeface="Arial Unicode MS" panose="020B0604020202020204" pitchFamily="34" charset="-128"/>
              </a:rPr>
              <a:t> like</a:t>
            </a: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 </a:t>
            </a:r>
            <a:endParaRPr lang="de-DE" b="1" dirty="0" smtClean="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err="1" smtClean="0">
                <a:solidFill>
                  <a:srgbClr val="FFFFFF"/>
                </a:solidFill>
                <a:ea typeface="Arial Unicode MS" panose="020B0604020202020204" pitchFamily="34" charset="-128"/>
                <a:cs typeface="Arial Unicode MS" panose="020B0604020202020204" pitchFamily="34" charset="-128"/>
              </a:rPr>
              <a:t>What</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are</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the</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gateways</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smtClean="0">
                <a:solidFill>
                  <a:srgbClr val="FFFFFF"/>
                </a:solidFill>
                <a:ea typeface="Arial Unicode MS" panose="020B0604020202020204" pitchFamily="34" charset="-128"/>
                <a:cs typeface="Arial Unicode MS" panose="020B0604020202020204" pitchFamily="34" charset="-128"/>
              </a:rPr>
              <a:t>of</a:t>
            </a:r>
            <a:r>
              <a:rPr lang="de-DE" b="1" dirty="0" smtClean="0">
                <a:solidFill>
                  <a:srgbClr val="FFFFFF"/>
                </a:solidFill>
                <a:ea typeface="Arial Unicode MS" panose="020B0604020202020204" pitchFamily="34" charset="-128"/>
                <a:cs typeface="Arial Unicode MS" panose="020B0604020202020204" pitchFamily="34" charset="-128"/>
              </a:rPr>
              <a:t> MindSphere?</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14067346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Configuration</a:t>
            </a:r>
            <a:r>
              <a:rPr lang="de-DE" dirty="0"/>
              <a:t> </a:t>
            </a:r>
            <a:r>
              <a:rPr lang="de-DE" dirty="0" err="1"/>
              <a:t>with</a:t>
            </a:r>
            <a:r>
              <a:rPr lang="de-DE" dirty="0"/>
              <a:t> </a:t>
            </a:r>
            <a:r>
              <a:rPr lang="de-DE" dirty="0" smtClean="0"/>
              <a:t>OPC UA</a:t>
            </a:r>
            <a:br>
              <a:rPr lang="de-DE" dirty="0" smtClean="0"/>
            </a:br>
            <a:r>
              <a:rPr lang="de-DE" b="0" dirty="0" err="1" smtClean="0"/>
              <a:t>What</a:t>
            </a:r>
            <a:r>
              <a:rPr lang="de-DE" b="0" dirty="0" smtClean="0"/>
              <a:t> </a:t>
            </a:r>
            <a:r>
              <a:rPr lang="de-DE" b="0" dirty="0" err="1" smtClean="0"/>
              <a:t>is</a:t>
            </a:r>
            <a:r>
              <a:rPr lang="de-DE" b="0" dirty="0" smtClean="0"/>
              <a:t> OPC UA</a:t>
            </a:r>
            <a:endParaRPr lang="en-US" b="0" dirty="0"/>
          </a:p>
        </p:txBody>
      </p:sp>
      <p:sp>
        <p:nvSpPr>
          <p:cNvPr id="3" name="Rechteck 2"/>
          <p:cNvSpPr/>
          <p:nvPr/>
        </p:nvSpPr>
        <p:spPr>
          <a:xfrm>
            <a:off x="637672" y="1396532"/>
            <a:ext cx="9733547" cy="2862322"/>
          </a:xfrm>
          <a:prstGeom prst="rect">
            <a:avLst/>
          </a:prstGeom>
        </p:spPr>
        <p:txBody>
          <a:bodyPr wrap="square">
            <a:spAutoFit/>
          </a:bodyPr>
          <a:lstStyle/>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OPC Unified Architecture (OPC UA) is an industrial M2M communication protocol for interoperability developed by the OPC Foundation.</a:t>
            </a:r>
          </a:p>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It has a cross-platform service-oriented architecture for process control, while enhancing security and providing an information model for complex information structures</a:t>
            </a:r>
            <a:r>
              <a:rPr lang="en-US" spc="-70" dirty="0" smtClean="0">
                <a:solidFill>
                  <a:schemeClr val="dk1"/>
                </a:solidFill>
                <a:latin typeface="Arial" panose="020B0604020202020204" pitchFamily="34" charset="0"/>
                <a:ea typeface="Siemens Sans" charset="0"/>
                <a:cs typeface="Arial" panose="020B0604020202020204" pitchFamily="34" charset="0"/>
              </a:rPr>
              <a:t>.</a:t>
            </a:r>
          </a:p>
          <a:p>
            <a:pPr>
              <a:buSzPct val="75000"/>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Features, e.g.:</a:t>
            </a: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Discovery: find the available OPC Servers on local PCs and/or networks</a:t>
            </a: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Redundancy support</a:t>
            </a: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Heartbeat for connections in both directions (to indicate whether the other end is "alive"). </a:t>
            </a:r>
          </a:p>
          <a:p>
            <a:pPr marL="285750" indent="-285750">
              <a:buSzPct val="75000"/>
              <a:buFont typeface="Arial" charset="0"/>
              <a:buChar char="•"/>
            </a:pPr>
            <a:endParaRPr lang="en-US" spc="-70" dirty="0">
              <a:solidFill>
                <a:schemeClr val="dk1"/>
              </a:solidFill>
              <a:latin typeface="Arial" panose="020B0604020202020204" pitchFamily="34" charset="0"/>
              <a:ea typeface="Siemens Sans" charset="0"/>
              <a:cs typeface="Arial" panose="020B0604020202020204" pitchFamily="34" charset="0"/>
            </a:endParaRPr>
          </a:p>
        </p:txBody>
      </p:sp>
      <p:sp>
        <p:nvSpPr>
          <p:cNvPr id="5" name="Abgerundete rechteckige Legende 4"/>
          <p:cNvSpPr/>
          <p:nvPr/>
        </p:nvSpPr>
        <p:spPr bwMode="auto">
          <a:xfrm>
            <a:off x="9427896" y="2292626"/>
            <a:ext cx="2419547" cy="1632085"/>
          </a:xfrm>
          <a:prstGeom prst="wedgeRoundRectCallout">
            <a:avLst>
              <a:gd name="adj1" fmla="val 6147"/>
              <a:gd name="adj2" fmla="val 96608"/>
              <a:gd name="adj3" fmla="val 16667"/>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300" dirty="0" smtClean="0">
                <a:solidFill>
                  <a:schemeClr val="bg1"/>
                </a:solidFill>
                <a:ea typeface="Arial Unicode MS" panose="020B0604020202020204" pitchFamily="34" charset="-128"/>
                <a:cs typeface="Arial Unicode MS" panose="020B0604020202020204" pitchFamily="34" charset="-128"/>
              </a:rPr>
              <a:t>With </a:t>
            </a:r>
            <a:r>
              <a:rPr lang="en-US" sz="1300" dirty="0">
                <a:solidFill>
                  <a:schemeClr val="bg1"/>
                </a:solidFill>
                <a:ea typeface="Arial Unicode MS" panose="020B0604020202020204" pitchFamily="34" charset="-128"/>
                <a:cs typeface="Arial Unicode MS" panose="020B0604020202020204" pitchFamily="34" charset="-128"/>
              </a:rPr>
              <a:t>OPC </a:t>
            </a:r>
            <a:r>
              <a:rPr lang="en-US" sz="1300" dirty="0" smtClean="0">
                <a:solidFill>
                  <a:schemeClr val="bg1"/>
                </a:solidFill>
                <a:ea typeface="Arial Unicode MS" panose="020B0604020202020204" pitchFamily="34" charset="-128"/>
                <a:cs typeface="Arial Unicode MS" panose="020B0604020202020204" pitchFamily="34" charset="-128"/>
              </a:rPr>
              <a:t>UA, you are able to connect 3</a:t>
            </a:r>
            <a:r>
              <a:rPr lang="en-US" sz="1300" baseline="30000" dirty="0" smtClean="0">
                <a:solidFill>
                  <a:schemeClr val="bg1"/>
                </a:solidFill>
                <a:ea typeface="Arial Unicode MS" panose="020B0604020202020204" pitchFamily="34" charset="-128"/>
                <a:cs typeface="Arial Unicode MS" panose="020B0604020202020204" pitchFamily="34" charset="-128"/>
              </a:rPr>
              <a:t>rd</a:t>
            </a:r>
            <a:r>
              <a:rPr lang="en-US" sz="1300" dirty="0" smtClean="0">
                <a:solidFill>
                  <a:schemeClr val="bg1"/>
                </a:solidFill>
                <a:ea typeface="Arial Unicode MS" panose="020B0604020202020204" pitchFamily="34" charset="-128"/>
                <a:cs typeface="Arial Unicode MS" panose="020B0604020202020204" pitchFamily="34" charset="-128"/>
              </a:rPr>
              <a:t> party assets to MindSphere!</a:t>
            </a:r>
          </a:p>
          <a:p>
            <a:pPr algn="ctr">
              <a:lnSpc>
                <a:spcPct val="110000"/>
              </a:lnSpc>
              <a:spcBef>
                <a:spcPct val="0"/>
              </a:spcBef>
            </a:pPr>
            <a:r>
              <a:rPr lang="en-US" sz="1300" dirty="0" smtClean="0">
                <a:solidFill>
                  <a:schemeClr val="bg1"/>
                </a:solidFill>
                <a:ea typeface="Arial Unicode MS" panose="020B0604020202020204" pitchFamily="34" charset="-128"/>
                <a:cs typeface="Arial Unicode MS" panose="020B0604020202020204" pitchFamily="34" charset="-128"/>
              </a:rPr>
              <a:t>To use OPC UA, you need an S7-1500 V2.x or any other OPC UA server!</a:t>
            </a:r>
            <a:endParaRPr lang="en-US" sz="1400" dirty="0"/>
          </a:p>
        </p:txBody>
      </p:sp>
      <p:grpSp>
        <p:nvGrpSpPr>
          <p:cNvPr id="6" name="Group 22"/>
          <p:cNvGrpSpPr/>
          <p:nvPr/>
        </p:nvGrpSpPr>
        <p:grpSpPr>
          <a:xfrm flipH="1">
            <a:off x="9882621" y="4812928"/>
            <a:ext cx="1544960" cy="1438653"/>
            <a:chOff x="6676605" y="575869"/>
            <a:chExt cx="3103772" cy="2907071"/>
          </a:xfrm>
        </p:grpSpPr>
        <p:sp>
          <p:nvSpPr>
            <p:cNvPr id="7"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8"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9"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10"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11"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2"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3"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4"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5"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6"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7"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8"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9"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0"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21"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2"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3"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4"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25" name="Group 521"/>
            <p:cNvGrpSpPr/>
            <p:nvPr/>
          </p:nvGrpSpPr>
          <p:grpSpPr>
            <a:xfrm>
              <a:off x="7959273" y="1994835"/>
              <a:ext cx="400935" cy="150210"/>
              <a:chOff x="6510943" y="2827088"/>
              <a:chExt cx="400935" cy="150210"/>
            </a:xfrm>
            <a:solidFill>
              <a:srgbClr val="004669"/>
            </a:solidFill>
          </p:grpSpPr>
          <p:sp>
            <p:nvSpPr>
              <p:cNvPr id="37"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8"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26"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7"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8"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9"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0"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1"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2"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3"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pic>
        <p:nvPicPr>
          <p:cNvPr id="45" name="Picture 2" descr="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5053" y="4424082"/>
            <a:ext cx="2295526" cy="838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089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p:cTn id="7" dur="1000" fill="hold"/>
                                        <p:tgtEl>
                                          <p:spTgt spid="45"/>
                                        </p:tgtEl>
                                        <p:attrNameLst>
                                          <p:attrName>ppt_w</p:attrName>
                                        </p:attrNameLst>
                                      </p:cBhvr>
                                      <p:tavLst>
                                        <p:tav tm="0">
                                          <p:val>
                                            <p:fltVal val="0"/>
                                          </p:val>
                                        </p:tav>
                                        <p:tav tm="100000">
                                          <p:val>
                                            <p:strVal val="#ppt_w"/>
                                          </p:val>
                                        </p:tav>
                                      </p:tavLst>
                                    </p:anim>
                                    <p:anim calcmode="lin" valueType="num">
                                      <p:cBhvr>
                                        <p:cTn id="8" dur="1000" fill="hold"/>
                                        <p:tgtEl>
                                          <p:spTgt spid="45"/>
                                        </p:tgtEl>
                                        <p:attrNameLst>
                                          <p:attrName>ppt_h</p:attrName>
                                        </p:attrNameLst>
                                      </p:cBhvr>
                                      <p:tavLst>
                                        <p:tav tm="0">
                                          <p:val>
                                            <p:fltVal val="0"/>
                                          </p:val>
                                        </p:tav>
                                        <p:tav tm="100000">
                                          <p:val>
                                            <p:strVal val="#ppt_h"/>
                                          </p:val>
                                        </p:tav>
                                      </p:tavLst>
                                    </p:anim>
                                    <p:anim calcmode="lin" valueType="num">
                                      <p:cBhvr>
                                        <p:cTn id="9" dur="1000" fill="hold"/>
                                        <p:tgtEl>
                                          <p:spTgt spid="45"/>
                                        </p:tgtEl>
                                        <p:attrNameLst>
                                          <p:attrName>style.rotation</p:attrName>
                                        </p:attrNameLst>
                                      </p:cBhvr>
                                      <p:tavLst>
                                        <p:tav tm="0">
                                          <p:val>
                                            <p:fltVal val="90"/>
                                          </p:val>
                                        </p:tav>
                                        <p:tav tm="100000">
                                          <p:val>
                                            <p:fltVal val="0"/>
                                          </p:val>
                                        </p:tav>
                                      </p:tavLst>
                                    </p:anim>
                                    <p:animEffect transition="in" filter="fade">
                                      <p:cBhvr>
                                        <p:cTn id="10"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a:t>
            </a:r>
            <a:r>
              <a:rPr lang="de-DE" dirty="0" smtClean="0"/>
              <a:t>OPC UA</a:t>
            </a:r>
            <a:br>
              <a:rPr lang="de-DE" dirty="0" smtClean="0"/>
            </a:br>
            <a:r>
              <a:rPr lang="de-DE" b="0" dirty="0" smtClean="0"/>
              <a:t>Industry 4.0</a:t>
            </a:r>
            <a:r>
              <a:rPr lang="de-DE" dirty="0" smtClean="0"/>
              <a:t/>
            </a:r>
            <a:br>
              <a:rPr lang="de-DE" dirty="0" smtClean="0"/>
            </a:br>
            <a:endParaRPr lang="de-DE" dirty="0"/>
          </a:p>
        </p:txBody>
      </p:sp>
      <p:sp>
        <p:nvSpPr>
          <p:cNvPr id="3" name="Rectangle 2"/>
          <p:cNvSpPr/>
          <p:nvPr/>
        </p:nvSpPr>
        <p:spPr>
          <a:xfrm>
            <a:off x="391296" y="1316075"/>
            <a:ext cx="5181601" cy="4524315"/>
          </a:xfrm>
          <a:prstGeom prst="rect">
            <a:avLst/>
          </a:prstGeom>
        </p:spPr>
        <p:txBody>
          <a:bodyPr wrap="square">
            <a:spAutoFit/>
          </a:bodyPr>
          <a:lstStyle/>
          <a:p>
            <a:pPr marL="285750" indent="-285750">
              <a:buFont typeface="Arial" panose="020B0604020202020204" pitchFamily="34" charset="0"/>
              <a:buChar char="•"/>
            </a:pPr>
            <a:r>
              <a:rPr lang="en-US" b="1" dirty="0">
                <a:solidFill>
                  <a:srgbClr val="666666"/>
                </a:solidFill>
                <a:latin typeface="Arial" panose="020B0604020202020204" pitchFamily="34" charset="0"/>
              </a:rPr>
              <a:t>Functional equivalence:</a:t>
            </a:r>
            <a:r>
              <a:rPr lang="en-US" dirty="0">
                <a:solidFill>
                  <a:srgbClr val="666666"/>
                </a:solidFill>
                <a:latin typeface="Arial" panose="020B0604020202020204" pitchFamily="34" charset="0"/>
              </a:rPr>
              <a:t> </a:t>
            </a:r>
            <a:r>
              <a:rPr lang="en-US" dirty="0" smtClean="0">
                <a:solidFill>
                  <a:srgbClr val="666666"/>
                </a:solidFill>
                <a:latin typeface="Arial" panose="020B0604020202020204" pitchFamily="34" charset="0"/>
              </a:rPr>
              <a:t>all </a:t>
            </a:r>
            <a:r>
              <a:rPr lang="en-US" dirty="0">
                <a:solidFill>
                  <a:srgbClr val="666666"/>
                </a:solidFill>
                <a:latin typeface="Arial" panose="020B0604020202020204" pitchFamily="34" charset="0"/>
              </a:rPr>
              <a:t>COM OPC Classic specifications are mapped to </a:t>
            </a:r>
            <a:r>
              <a:rPr lang="en-US" dirty="0" smtClean="0">
                <a:solidFill>
                  <a:srgbClr val="666666"/>
                </a:solidFill>
                <a:latin typeface="Arial" panose="020B0604020202020204" pitchFamily="34" charset="0"/>
              </a:rPr>
              <a:t>UA</a:t>
            </a:r>
          </a:p>
          <a:p>
            <a:pPr marL="742950" lvl="1" indent="-285750">
              <a:buFont typeface="Arial" panose="020B0604020202020204" pitchFamily="34" charset="0"/>
              <a:buChar char="•"/>
            </a:pPr>
            <a:r>
              <a:rPr lang="en-US" dirty="0" smtClean="0">
                <a:solidFill>
                  <a:srgbClr val="666666"/>
                </a:solidFill>
                <a:latin typeface="Arial" panose="020B0604020202020204" pitchFamily="34" charset="0"/>
              </a:rPr>
              <a:t>Discovery</a:t>
            </a:r>
            <a:endParaRPr lang="en-US" dirty="0">
              <a:solidFill>
                <a:srgbClr val="666666"/>
              </a:solidFill>
              <a:latin typeface="Arial" panose="020B0604020202020204" pitchFamily="34" charset="0"/>
            </a:endParaRPr>
          </a:p>
          <a:p>
            <a:pPr marL="742950" lvl="1" indent="-285750">
              <a:buFont typeface="Arial" panose="020B0604020202020204" pitchFamily="34" charset="0"/>
              <a:buChar char="•"/>
            </a:pPr>
            <a:r>
              <a:rPr lang="en-US" dirty="0">
                <a:solidFill>
                  <a:srgbClr val="666666"/>
                </a:solidFill>
                <a:latin typeface="Arial" panose="020B0604020202020204" pitchFamily="34" charset="0"/>
              </a:rPr>
              <a:t>Address </a:t>
            </a:r>
            <a:r>
              <a:rPr lang="en-US" dirty="0" smtClean="0">
                <a:solidFill>
                  <a:srgbClr val="666666"/>
                </a:solidFill>
                <a:latin typeface="Arial" panose="020B0604020202020204" pitchFamily="34" charset="0"/>
              </a:rPr>
              <a:t>space</a:t>
            </a:r>
            <a:r>
              <a:rPr lang="en-US" dirty="0">
                <a:solidFill>
                  <a:srgbClr val="666666"/>
                </a:solidFill>
                <a:latin typeface="Arial" panose="020B0604020202020204" pitchFamily="34" charset="0"/>
              </a:rPr>
              <a:t> </a:t>
            </a:r>
          </a:p>
          <a:p>
            <a:pPr marL="742950" lvl="1" indent="-285750">
              <a:buFont typeface="Arial" panose="020B0604020202020204" pitchFamily="34" charset="0"/>
              <a:buChar char="•"/>
            </a:pPr>
            <a:r>
              <a:rPr lang="en-US" dirty="0" smtClean="0">
                <a:solidFill>
                  <a:srgbClr val="666666"/>
                </a:solidFill>
                <a:latin typeface="Arial" panose="020B0604020202020204" pitchFamily="34" charset="0"/>
              </a:rPr>
              <a:t>On-demand</a:t>
            </a:r>
            <a:r>
              <a:rPr lang="en-US" dirty="0">
                <a:solidFill>
                  <a:srgbClr val="666666"/>
                </a:solidFill>
                <a:latin typeface="Arial" panose="020B0604020202020204" pitchFamily="34" charset="0"/>
              </a:rPr>
              <a:t> </a:t>
            </a:r>
          </a:p>
          <a:p>
            <a:pPr marL="742950" lvl="1" indent="-285750">
              <a:buFont typeface="Arial" panose="020B0604020202020204" pitchFamily="34" charset="0"/>
              <a:buChar char="•"/>
            </a:pPr>
            <a:r>
              <a:rPr lang="en-US" dirty="0" smtClean="0">
                <a:solidFill>
                  <a:srgbClr val="666666"/>
                </a:solidFill>
                <a:latin typeface="Arial" panose="020B0604020202020204" pitchFamily="34" charset="0"/>
              </a:rPr>
              <a:t>Subscriptions</a:t>
            </a:r>
            <a:r>
              <a:rPr lang="en-US" dirty="0">
                <a:solidFill>
                  <a:srgbClr val="666666"/>
                </a:solidFill>
                <a:latin typeface="Arial" panose="020B0604020202020204" pitchFamily="34" charset="0"/>
              </a:rPr>
              <a:t> </a:t>
            </a:r>
          </a:p>
          <a:p>
            <a:pPr marL="742950" lvl="1" indent="-285750">
              <a:buFont typeface="Arial" panose="020B0604020202020204" pitchFamily="34" charset="0"/>
              <a:buChar char="•"/>
            </a:pPr>
            <a:r>
              <a:rPr lang="en-US" dirty="0" smtClean="0">
                <a:solidFill>
                  <a:srgbClr val="666666"/>
                </a:solidFill>
                <a:latin typeface="Arial" panose="020B0604020202020204" pitchFamily="34" charset="0"/>
              </a:rPr>
              <a:t>Events</a:t>
            </a:r>
            <a:endParaRPr lang="en-US" dirty="0">
              <a:solidFill>
                <a:srgbClr val="666666"/>
              </a:solidFill>
              <a:latin typeface="Arial" panose="020B0604020202020204" pitchFamily="34" charset="0"/>
            </a:endParaRPr>
          </a:p>
          <a:p>
            <a:pPr marL="742950" lvl="1" indent="-285750">
              <a:buFont typeface="Arial" panose="020B0604020202020204" pitchFamily="34" charset="0"/>
              <a:buChar char="•"/>
            </a:pPr>
            <a:r>
              <a:rPr lang="en-US" dirty="0" smtClean="0">
                <a:solidFill>
                  <a:srgbClr val="666666"/>
                </a:solidFill>
                <a:latin typeface="Arial" panose="020B0604020202020204" pitchFamily="34" charset="0"/>
              </a:rPr>
              <a:t>Methods</a:t>
            </a:r>
            <a:r>
              <a:rPr lang="en-US" dirty="0">
                <a:solidFill>
                  <a:srgbClr val="666666"/>
                </a:solidFill>
                <a:latin typeface="Arial" panose="020B0604020202020204" pitchFamily="34" charset="0"/>
              </a:rPr>
              <a:t> </a:t>
            </a:r>
            <a:endParaRPr lang="en-US" sz="2000" dirty="0">
              <a:solidFill>
                <a:srgbClr val="666666"/>
              </a:solidFill>
              <a:latin typeface="Arial" panose="020B0604020202020204" pitchFamily="34" charset="0"/>
            </a:endParaRPr>
          </a:p>
          <a:p>
            <a:pPr marL="285750" indent="-285750">
              <a:buFont typeface="Arial" panose="020B0604020202020204" pitchFamily="34" charset="0"/>
              <a:buChar char="•"/>
            </a:pPr>
            <a:r>
              <a:rPr lang="en-US" b="1" dirty="0">
                <a:solidFill>
                  <a:srgbClr val="666666"/>
                </a:solidFill>
                <a:latin typeface="Arial" panose="020B0604020202020204" pitchFamily="34" charset="0"/>
              </a:rPr>
              <a:t>Platform independence:</a:t>
            </a:r>
            <a:r>
              <a:rPr lang="en-US" dirty="0">
                <a:solidFill>
                  <a:srgbClr val="666666"/>
                </a:solidFill>
                <a:latin typeface="Arial" panose="020B0604020202020204" pitchFamily="34" charset="0"/>
              </a:rPr>
              <a:t> from an embedded micro-controller to cloud-based </a:t>
            </a:r>
            <a:r>
              <a:rPr lang="en-US" dirty="0" smtClean="0">
                <a:solidFill>
                  <a:srgbClr val="666666"/>
                </a:solidFill>
                <a:latin typeface="Arial" panose="020B0604020202020204" pitchFamily="34" charset="0"/>
              </a:rPr>
              <a:t>infrastructure</a:t>
            </a:r>
            <a:endParaRPr lang="en-US" dirty="0">
              <a:solidFill>
                <a:srgbClr val="666666"/>
              </a:solidFill>
              <a:latin typeface="Arial" panose="020B0604020202020204" pitchFamily="34" charset="0"/>
            </a:endParaRPr>
          </a:p>
          <a:p>
            <a:pPr marL="285750" indent="-285750">
              <a:buFont typeface="Arial" panose="020B0604020202020204" pitchFamily="34" charset="0"/>
              <a:buChar char="•"/>
            </a:pPr>
            <a:r>
              <a:rPr lang="en-US" b="1" dirty="0">
                <a:solidFill>
                  <a:srgbClr val="666666"/>
                </a:solidFill>
                <a:latin typeface="Arial" panose="020B0604020202020204" pitchFamily="34" charset="0"/>
              </a:rPr>
              <a:t>Secure:</a:t>
            </a:r>
            <a:r>
              <a:rPr lang="en-US" dirty="0">
                <a:solidFill>
                  <a:srgbClr val="666666"/>
                </a:solidFill>
                <a:latin typeface="Arial" panose="020B0604020202020204" pitchFamily="34" charset="0"/>
              </a:rPr>
              <a:t> encryption, authentication, and </a:t>
            </a:r>
            <a:r>
              <a:rPr lang="en-US" dirty="0" smtClean="0">
                <a:solidFill>
                  <a:srgbClr val="666666"/>
                </a:solidFill>
                <a:latin typeface="Arial" panose="020B0604020202020204" pitchFamily="34" charset="0"/>
              </a:rPr>
              <a:t>auditing</a:t>
            </a:r>
            <a:endParaRPr lang="en-US" dirty="0">
              <a:solidFill>
                <a:srgbClr val="666666"/>
              </a:solidFill>
              <a:latin typeface="Arial" panose="020B0604020202020204" pitchFamily="34" charset="0"/>
            </a:endParaRPr>
          </a:p>
          <a:p>
            <a:pPr marL="285750" indent="-285750">
              <a:buFont typeface="Arial" panose="020B0604020202020204" pitchFamily="34" charset="0"/>
              <a:buChar char="•"/>
            </a:pPr>
            <a:r>
              <a:rPr lang="en-US" b="1" dirty="0">
                <a:solidFill>
                  <a:srgbClr val="666666"/>
                </a:solidFill>
                <a:latin typeface="Arial" panose="020B0604020202020204" pitchFamily="34" charset="0"/>
              </a:rPr>
              <a:t>Extensible:</a:t>
            </a:r>
            <a:r>
              <a:rPr lang="en-US" dirty="0">
                <a:solidFill>
                  <a:srgbClr val="666666"/>
                </a:solidFill>
                <a:latin typeface="Arial" panose="020B0604020202020204" pitchFamily="34" charset="0"/>
              </a:rPr>
              <a:t> ability to add new features without affecting existing </a:t>
            </a:r>
            <a:r>
              <a:rPr lang="en-US" dirty="0" smtClean="0">
                <a:solidFill>
                  <a:srgbClr val="666666"/>
                </a:solidFill>
                <a:latin typeface="Arial" panose="020B0604020202020204" pitchFamily="34" charset="0"/>
              </a:rPr>
              <a:t>applications</a:t>
            </a:r>
          </a:p>
          <a:p>
            <a:pPr marL="285750" indent="-285750">
              <a:buFont typeface="Arial" panose="020B0604020202020204" pitchFamily="34" charset="0"/>
              <a:buChar char="•"/>
            </a:pPr>
            <a:r>
              <a:rPr lang="en-US" b="1" dirty="0" smtClean="0">
                <a:solidFill>
                  <a:srgbClr val="666666"/>
                </a:solidFill>
                <a:latin typeface="Arial" panose="020B0604020202020204" pitchFamily="34" charset="0"/>
              </a:rPr>
              <a:t>Comprehensive </a:t>
            </a:r>
            <a:r>
              <a:rPr lang="en-US" b="1" dirty="0">
                <a:solidFill>
                  <a:srgbClr val="666666"/>
                </a:solidFill>
                <a:latin typeface="Arial" panose="020B0604020202020204" pitchFamily="34" charset="0"/>
              </a:rPr>
              <a:t>information modeling:</a:t>
            </a:r>
            <a:r>
              <a:rPr lang="en-US" dirty="0">
                <a:solidFill>
                  <a:srgbClr val="666666"/>
                </a:solidFill>
                <a:latin typeface="Arial" panose="020B0604020202020204" pitchFamily="34" charset="0"/>
              </a:rPr>
              <a:t> for defining complex information</a:t>
            </a:r>
            <a:endParaRPr lang="en-US" b="0" i="0" dirty="0">
              <a:solidFill>
                <a:srgbClr val="666666"/>
              </a:solidFill>
              <a:effectLst/>
              <a:latin typeface="Arial" panose="020B0604020202020204" pitchFamily="34" charset="0"/>
            </a:endParaRPr>
          </a:p>
        </p:txBody>
      </p:sp>
      <p:pic>
        <p:nvPicPr>
          <p:cNvPr id="4" name="Picture 3"/>
          <p:cNvPicPr>
            <a:picLocks noChangeAspect="1"/>
          </p:cNvPicPr>
          <p:nvPr/>
        </p:nvPicPr>
        <p:blipFill>
          <a:blip r:embed="rId3"/>
          <a:stretch>
            <a:fillRect/>
          </a:stretch>
        </p:blipFill>
        <p:spPr>
          <a:xfrm>
            <a:off x="5456325" y="1092340"/>
            <a:ext cx="6551629" cy="5095711"/>
          </a:xfrm>
          <a:prstGeom prst="rect">
            <a:avLst/>
          </a:prstGeom>
        </p:spPr>
      </p:pic>
    </p:spTree>
    <p:extLst>
      <p:ext uri="{BB962C8B-B14F-4D97-AF65-F5344CB8AC3E}">
        <p14:creationId xmlns:p14="http://schemas.microsoft.com/office/powerpoint/2010/main" val="241868858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OPC </a:t>
            </a:r>
            <a:r>
              <a:rPr lang="de-DE" dirty="0" smtClean="0"/>
              <a:t>UA</a:t>
            </a:r>
            <a:br>
              <a:rPr lang="de-DE" dirty="0" smtClean="0"/>
            </a:br>
            <a:r>
              <a:rPr lang="de-DE" b="0" dirty="0" smtClean="0"/>
              <a:t>Siemens Reference</a:t>
            </a:r>
            <a:endParaRPr lang="de-DE" b="0" dirty="0"/>
          </a:p>
        </p:txBody>
      </p:sp>
      <p:pic>
        <p:nvPicPr>
          <p:cNvPr id="15362" name="Picture 2" descr="Bildergebnis für opc u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4180" y="1683008"/>
            <a:ext cx="8704289" cy="4161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078656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OPC UA</a:t>
            </a:r>
            <a:r>
              <a:rPr lang="de-DE" b="0" dirty="0" smtClean="0"/>
              <a:t/>
            </a:r>
            <a:br>
              <a:rPr lang="de-DE" b="0" dirty="0" smtClean="0"/>
            </a:br>
            <a:r>
              <a:rPr lang="de-DE" b="0" dirty="0" smtClean="0"/>
              <a:t>Information </a:t>
            </a:r>
            <a:r>
              <a:rPr lang="de-DE" b="0" dirty="0"/>
              <a:t>Modeling</a:t>
            </a:r>
            <a:br>
              <a:rPr lang="de-DE" b="0" dirty="0"/>
            </a:br>
            <a:endParaRPr lang="de-DE" dirty="0"/>
          </a:p>
        </p:txBody>
      </p:sp>
      <p:sp>
        <p:nvSpPr>
          <p:cNvPr id="3" name="Rectangle 2"/>
          <p:cNvSpPr/>
          <p:nvPr/>
        </p:nvSpPr>
        <p:spPr>
          <a:xfrm>
            <a:off x="569653" y="1256227"/>
            <a:ext cx="11239731" cy="2585323"/>
          </a:xfrm>
          <a:prstGeom prst="rect">
            <a:avLst/>
          </a:prstGeom>
        </p:spPr>
        <p:txBody>
          <a:bodyPr wrap="square">
            <a:spAutoFit/>
          </a:bodyPr>
          <a:lstStyle/>
          <a:p>
            <a:r>
              <a:rPr lang="en-US" dirty="0">
                <a:solidFill>
                  <a:srgbClr val="666666"/>
                </a:solidFill>
                <a:latin typeface="Arial" panose="020B0604020202020204" pitchFamily="34" charset="0"/>
              </a:rPr>
              <a:t>The OPC UA information modeling framework turns data into information. With complete object-oriented capabilities, even the most complex multi-level structures can be modeled and extended. </a:t>
            </a:r>
            <a:endParaRPr lang="en-US" dirty="0" smtClean="0">
              <a:solidFill>
                <a:srgbClr val="666666"/>
              </a:solidFill>
              <a:latin typeface="Arial" panose="020B0604020202020204" pitchFamily="34" charset="0"/>
            </a:endParaRPr>
          </a:p>
          <a:p>
            <a:r>
              <a:rPr lang="en-US" dirty="0">
                <a:solidFill>
                  <a:srgbClr val="666666"/>
                </a:solidFill>
                <a:latin typeface="Arial" panose="020B0604020202020204" pitchFamily="34" charset="0"/>
              </a:rPr>
              <a:t>➞ Transport – for the data exchange </a:t>
            </a:r>
            <a:r>
              <a:rPr lang="en-US" dirty="0" smtClean="0">
                <a:solidFill>
                  <a:srgbClr val="666666"/>
                </a:solidFill>
                <a:latin typeface="Arial" panose="020B0604020202020204" pitchFamily="34" charset="0"/>
              </a:rPr>
              <a:t>mechanisms between </a:t>
            </a:r>
            <a:r>
              <a:rPr lang="en-US" dirty="0">
                <a:solidFill>
                  <a:srgbClr val="666666"/>
                </a:solidFill>
                <a:latin typeface="Arial" panose="020B0604020202020204" pitchFamily="34" charset="0"/>
              </a:rPr>
              <a:t>OPC UA applications. Different transport</a:t>
            </a:r>
          </a:p>
          <a:p>
            <a:r>
              <a:rPr lang="en-US" dirty="0">
                <a:solidFill>
                  <a:srgbClr val="666666"/>
                </a:solidFill>
                <a:latin typeface="Arial" panose="020B0604020202020204" pitchFamily="34" charset="0"/>
              </a:rPr>
              <a:t>protocols exist for different requirements (</a:t>
            </a:r>
            <a:r>
              <a:rPr lang="en-US" dirty="0" smtClean="0">
                <a:solidFill>
                  <a:srgbClr val="666666"/>
                </a:solidFill>
                <a:latin typeface="Arial" panose="020B0604020202020204" pitchFamily="34" charset="0"/>
              </a:rPr>
              <a:t>optimized for </a:t>
            </a:r>
            <a:r>
              <a:rPr lang="en-US" dirty="0">
                <a:solidFill>
                  <a:srgbClr val="666666"/>
                </a:solidFill>
                <a:latin typeface="Arial" panose="020B0604020202020204" pitchFamily="34" charset="0"/>
              </a:rPr>
              <a:t>speed and throughput = UA TCP </a:t>
            </a:r>
            <a:r>
              <a:rPr lang="en-US" dirty="0" smtClean="0">
                <a:solidFill>
                  <a:srgbClr val="666666"/>
                </a:solidFill>
                <a:latin typeface="Arial" panose="020B0604020202020204" pitchFamily="34" charset="0"/>
              </a:rPr>
              <a:t>with UA </a:t>
            </a:r>
            <a:r>
              <a:rPr lang="en-US" dirty="0">
                <a:solidFill>
                  <a:srgbClr val="666666"/>
                </a:solidFill>
                <a:latin typeface="Arial" panose="020B0604020202020204" pitchFamily="34" charset="0"/>
              </a:rPr>
              <a:t>Binary; </a:t>
            </a:r>
            <a:r>
              <a:rPr lang="en-US" dirty="0" smtClean="0">
                <a:solidFill>
                  <a:srgbClr val="666666"/>
                </a:solidFill>
                <a:latin typeface="Arial" panose="020B0604020202020204" pitchFamily="34" charset="0"/>
              </a:rPr>
              <a:t>firewall-friendly </a:t>
            </a:r>
            <a:r>
              <a:rPr lang="en-US" dirty="0">
                <a:solidFill>
                  <a:srgbClr val="666666"/>
                </a:solidFill>
                <a:latin typeface="Arial" panose="020B0604020202020204" pitchFamily="34" charset="0"/>
              </a:rPr>
              <a:t>= HTTP + Soap).</a:t>
            </a:r>
          </a:p>
          <a:p>
            <a:r>
              <a:rPr lang="en-US" dirty="0">
                <a:solidFill>
                  <a:srgbClr val="666666"/>
                </a:solidFill>
                <a:latin typeface="Arial" panose="020B0604020202020204" pitchFamily="34" charset="0"/>
              </a:rPr>
              <a:t>➞ Meta model – </a:t>
            </a:r>
            <a:r>
              <a:rPr lang="en-US" dirty="0" smtClean="0">
                <a:solidFill>
                  <a:srgbClr val="666666"/>
                </a:solidFill>
                <a:latin typeface="Arial" panose="020B0604020202020204" pitchFamily="34" charset="0"/>
              </a:rPr>
              <a:t>specifies </a:t>
            </a:r>
            <a:r>
              <a:rPr lang="en-US" dirty="0">
                <a:solidFill>
                  <a:srgbClr val="666666"/>
                </a:solidFill>
                <a:latin typeface="Arial" panose="020B0604020202020204" pitchFamily="34" charset="0"/>
              </a:rPr>
              <a:t>the rules and basic </a:t>
            </a:r>
            <a:r>
              <a:rPr lang="en-US" dirty="0" smtClean="0">
                <a:solidFill>
                  <a:srgbClr val="666666"/>
                </a:solidFill>
                <a:latin typeface="Arial" panose="020B0604020202020204" pitchFamily="34" charset="0"/>
              </a:rPr>
              <a:t>components for </a:t>
            </a:r>
            <a:r>
              <a:rPr lang="en-US" dirty="0">
                <a:solidFill>
                  <a:srgbClr val="666666"/>
                </a:solidFill>
                <a:latin typeface="Arial" panose="020B0604020202020204" pitchFamily="34" charset="0"/>
              </a:rPr>
              <a:t>publishing an information model </a:t>
            </a:r>
            <a:r>
              <a:rPr lang="en-US" dirty="0" smtClean="0">
                <a:solidFill>
                  <a:srgbClr val="666666"/>
                </a:solidFill>
                <a:latin typeface="Arial" panose="020B0604020202020204" pitchFamily="34" charset="0"/>
              </a:rPr>
              <a:t>via OPC </a:t>
            </a:r>
            <a:r>
              <a:rPr lang="en-US" dirty="0">
                <a:solidFill>
                  <a:srgbClr val="666666"/>
                </a:solidFill>
                <a:latin typeface="Arial" panose="020B0604020202020204" pitchFamily="34" charset="0"/>
              </a:rPr>
              <a:t>UA. It also includes various basic nodes </a:t>
            </a:r>
            <a:r>
              <a:rPr lang="en-US" dirty="0" smtClean="0">
                <a:solidFill>
                  <a:srgbClr val="666666"/>
                </a:solidFill>
                <a:latin typeface="Arial" panose="020B0604020202020204" pitchFamily="34" charset="0"/>
              </a:rPr>
              <a:t>and basic </a:t>
            </a:r>
            <a:r>
              <a:rPr lang="en-US" dirty="0">
                <a:solidFill>
                  <a:srgbClr val="666666"/>
                </a:solidFill>
                <a:latin typeface="Arial" panose="020B0604020202020204" pitchFamily="34" charset="0"/>
              </a:rPr>
              <a:t>types.</a:t>
            </a:r>
          </a:p>
          <a:p>
            <a:r>
              <a:rPr lang="en-US" dirty="0">
                <a:solidFill>
                  <a:srgbClr val="666666"/>
                </a:solidFill>
                <a:latin typeface="Arial" panose="020B0604020202020204" pitchFamily="34" charset="0"/>
              </a:rPr>
              <a:t>➞ Services – they constitute the interface between </a:t>
            </a:r>
            <a:r>
              <a:rPr lang="en-US" dirty="0" smtClean="0">
                <a:solidFill>
                  <a:srgbClr val="666666"/>
                </a:solidFill>
                <a:latin typeface="Arial" panose="020B0604020202020204" pitchFamily="34" charset="0"/>
              </a:rPr>
              <a:t>a server </a:t>
            </a:r>
            <a:r>
              <a:rPr lang="en-US" dirty="0">
                <a:solidFill>
                  <a:srgbClr val="666666"/>
                </a:solidFill>
                <a:latin typeface="Arial" panose="020B0604020202020204" pitchFamily="34" charset="0"/>
              </a:rPr>
              <a:t>as information provider and clients as users</a:t>
            </a:r>
          </a:p>
          <a:p>
            <a:r>
              <a:rPr lang="en-US" dirty="0">
                <a:solidFill>
                  <a:srgbClr val="666666"/>
                </a:solidFill>
                <a:latin typeface="Arial" panose="020B0604020202020204" pitchFamily="34" charset="0"/>
              </a:rPr>
              <a:t>of this information.</a:t>
            </a:r>
          </a:p>
        </p:txBody>
      </p:sp>
      <p:pic>
        <p:nvPicPr>
          <p:cNvPr id="6" name="Picture 2" descr="Bildergebnis für opc ua transpo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2541" y="3765835"/>
            <a:ext cx="5140325" cy="2821155"/>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l2opcuaoverview.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8771" y="3516142"/>
            <a:ext cx="3835919" cy="3163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049021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OPC UA</a:t>
            </a:r>
            <a:br>
              <a:rPr lang="de-DE" dirty="0"/>
            </a:br>
            <a:r>
              <a:rPr lang="de-DE" b="0" dirty="0"/>
              <a:t>OPC UA Server </a:t>
            </a:r>
            <a:r>
              <a:rPr lang="de-DE" b="0" dirty="0" err="1"/>
              <a:t>and</a:t>
            </a:r>
            <a:r>
              <a:rPr lang="de-DE" b="0" dirty="0"/>
              <a:t> Client</a:t>
            </a:r>
            <a:endParaRPr lang="de-DE" dirty="0"/>
          </a:p>
        </p:txBody>
      </p:sp>
      <p:pic>
        <p:nvPicPr>
          <p:cNvPr id="14338" name="Picture 2" descr="softwarelayer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0237" y="2038167"/>
            <a:ext cx="4589419" cy="3562703"/>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Bildergebnis für opc ua transpo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708" y="2420712"/>
            <a:ext cx="5763088" cy="27976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10187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OPC UA</a:t>
            </a:r>
            <a:br>
              <a:rPr lang="de-DE" dirty="0"/>
            </a:br>
            <a:r>
              <a:rPr lang="de-DE" b="0" dirty="0" smtClean="0"/>
              <a:t>OPC UA Transport</a:t>
            </a:r>
            <a:endParaRPr lang="de-DE" dirty="0"/>
          </a:p>
        </p:txBody>
      </p:sp>
      <p:pic>
        <p:nvPicPr>
          <p:cNvPr id="16388" name="Picture 4" descr="Bildergebnis für opc ua transpor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1631" y="1265433"/>
            <a:ext cx="5184571" cy="4941544"/>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https://readthedocs.web.cern.ch/download/attachments/21178021/OPC-UA-Sending-Messages.JPG?version=1&amp;modificationDate=1286181560000&amp;api=v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4476" y="1622346"/>
            <a:ext cx="5429250" cy="1657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09093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OPC UA</a:t>
            </a:r>
            <a:br>
              <a:rPr lang="de-DE" dirty="0"/>
            </a:br>
            <a:r>
              <a:rPr lang="de-DE" b="0" dirty="0" smtClean="0"/>
              <a:t>OPC UA Services</a:t>
            </a:r>
            <a:endParaRPr lang="de-DE" dirty="0"/>
          </a:p>
        </p:txBody>
      </p:sp>
      <p:sp>
        <p:nvSpPr>
          <p:cNvPr id="3" name="Rectangle 2"/>
          <p:cNvSpPr/>
          <p:nvPr/>
        </p:nvSpPr>
        <p:spPr>
          <a:xfrm>
            <a:off x="341041" y="1440000"/>
            <a:ext cx="6096000" cy="2308324"/>
          </a:xfrm>
          <a:prstGeom prst="rect">
            <a:avLst/>
          </a:prstGeom>
        </p:spPr>
        <p:txBody>
          <a:bodyPr>
            <a:spAutoFit/>
          </a:bodyPr>
          <a:lstStyle/>
          <a:p>
            <a:r>
              <a:rPr lang="en-US" dirty="0"/>
              <a:t>INTEGRATED SERVICES </a:t>
            </a:r>
          </a:p>
          <a:p>
            <a:endParaRPr lang="en-US" dirty="0" smtClean="0"/>
          </a:p>
          <a:p>
            <a:r>
              <a:rPr lang="en-US" dirty="0" smtClean="0"/>
              <a:t>OPC </a:t>
            </a:r>
            <a:r>
              <a:rPr lang="en-US" dirty="0"/>
              <a:t>UA defines the services required to navigate through the namespace, read or write variables, or subscribing for data modifications and events. The OPC UA services are organized in logical groupings, so-called service sets. Service request and response are transmitted through exchange of messages between clients and servers.</a:t>
            </a:r>
            <a:endParaRPr lang="de-DE" dirty="0"/>
          </a:p>
        </p:txBody>
      </p:sp>
      <p:sp>
        <p:nvSpPr>
          <p:cNvPr id="4" name="Rectangle 3"/>
          <p:cNvSpPr/>
          <p:nvPr/>
        </p:nvSpPr>
        <p:spPr>
          <a:xfrm>
            <a:off x="6581775" y="1440000"/>
            <a:ext cx="6096000" cy="4524315"/>
          </a:xfrm>
          <a:prstGeom prst="rect">
            <a:avLst/>
          </a:prstGeom>
        </p:spPr>
        <p:txBody>
          <a:bodyPr>
            <a:spAutoFit/>
          </a:bodyPr>
          <a:lstStyle/>
          <a:p>
            <a:r>
              <a:rPr lang="de-DE" dirty="0"/>
              <a:t>➞ </a:t>
            </a:r>
            <a:r>
              <a:rPr lang="de-DE" dirty="0" err="1"/>
              <a:t>SecureChannel</a:t>
            </a:r>
            <a:r>
              <a:rPr lang="de-DE" dirty="0"/>
              <a:t> </a:t>
            </a:r>
            <a:r>
              <a:rPr lang="de-DE" dirty="0" err="1"/>
              <a:t>service</a:t>
            </a:r>
            <a:r>
              <a:rPr lang="de-DE" dirty="0"/>
              <a:t> </a:t>
            </a:r>
            <a:r>
              <a:rPr lang="de-DE" dirty="0" err="1"/>
              <a:t>set</a:t>
            </a:r>
            <a:endParaRPr lang="de-DE" dirty="0"/>
          </a:p>
          <a:p>
            <a:endParaRPr lang="de-DE" dirty="0"/>
          </a:p>
          <a:p>
            <a:r>
              <a:rPr lang="de-DE" dirty="0"/>
              <a:t>➞ Session </a:t>
            </a:r>
            <a:r>
              <a:rPr lang="de-DE" dirty="0" err="1"/>
              <a:t>service</a:t>
            </a:r>
            <a:r>
              <a:rPr lang="de-DE" dirty="0"/>
              <a:t> </a:t>
            </a:r>
            <a:r>
              <a:rPr lang="de-DE" dirty="0" err="1"/>
              <a:t>set</a:t>
            </a:r>
            <a:endParaRPr lang="de-DE" dirty="0"/>
          </a:p>
          <a:p>
            <a:endParaRPr lang="de-DE" dirty="0"/>
          </a:p>
          <a:p>
            <a:r>
              <a:rPr lang="de-DE" dirty="0"/>
              <a:t>➞ </a:t>
            </a:r>
            <a:r>
              <a:rPr lang="de-DE" dirty="0" err="1"/>
              <a:t>NodeManagement</a:t>
            </a:r>
            <a:r>
              <a:rPr lang="de-DE" dirty="0"/>
              <a:t> </a:t>
            </a:r>
            <a:r>
              <a:rPr lang="de-DE" dirty="0" err="1"/>
              <a:t>service</a:t>
            </a:r>
            <a:r>
              <a:rPr lang="de-DE" dirty="0"/>
              <a:t> </a:t>
            </a:r>
            <a:r>
              <a:rPr lang="de-DE" dirty="0" err="1"/>
              <a:t>set</a:t>
            </a:r>
            <a:endParaRPr lang="de-DE" dirty="0"/>
          </a:p>
          <a:p>
            <a:endParaRPr lang="de-DE" dirty="0"/>
          </a:p>
          <a:p>
            <a:r>
              <a:rPr lang="de-DE" dirty="0"/>
              <a:t>➞ View </a:t>
            </a:r>
            <a:r>
              <a:rPr lang="de-DE" dirty="0" err="1"/>
              <a:t>service</a:t>
            </a:r>
            <a:r>
              <a:rPr lang="de-DE" dirty="0"/>
              <a:t> </a:t>
            </a:r>
            <a:r>
              <a:rPr lang="de-DE" dirty="0" err="1"/>
              <a:t>set</a:t>
            </a:r>
            <a:endParaRPr lang="de-DE" dirty="0"/>
          </a:p>
          <a:p>
            <a:endParaRPr lang="de-DE" dirty="0"/>
          </a:p>
          <a:p>
            <a:r>
              <a:rPr lang="de-DE" dirty="0"/>
              <a:t>➞ Attribute </a:t>
            </a:r>
            <a:r>
              <a:rPr lang="de-DE" dirty="0" err="1"/>
              <a:t>service</a:t>
            </a:r>
            <a:r>
              <a:rPr lang="de-DE" dirty="0"/>
              <a:t> </a:t>
            </a:r>
            <a:r>
              <a:rPr lang="de-DE" dirty="0" err="1"/>
              <a:t>set</a:t>
            </a:r>
            <a:endParaRPr lang="de-DE" dirty="0"/>
          </a:p>
          <a:p>
            <a:endParaRPr lang="de-DE" dirty="0"/>
          </a:p>
          <a:p>
            <a:r>
              <a:rPr lang="de-DE" dirty="0"/>
              <a:t>➞ </a:t>
            </a:r>
            <a:r>
              <a:rPr lang="de-DE" dirty="0" err="1"/>
              <a:t>Method</a:t>
            </a:r>
            <a:r>
              <a:rPr lang="de-DE" dirty="0"/>
              <a:t> </a:t>
            </a:r>
            <a:r>
              <a:rPr lang="de-DE" dirty="0" err="1"/>
              <a:t>service</a:t>
            </a:r>
            <a:r>
              <a:rPr lang="de-DE" dirty="0"/>
              <a:t> </a:t>
            </a:r>
            <a:r>
              <a:rPr lang="de-DE" dirty="0" err="1"/>
              <a:t>set</a:t>
            </a:r>
            <a:endParaRPr lang="de-DE" dirty="0"/>
          </a:p>
          <a:p>
            <a:endParaRPr lang="de-DE" dirty="0"/>
          </a:p>
          <a:p>
            <a:endParaRPr lang="de-DE" dirty="0"/>
          </a:p>
          <a:p>
            <a:r>
              <a:rPr lang="de-DE" dirty="0"/>
              <a:t>➞ </a:t>
            </a:r>
            <a:r>
              <a:rPr lang="de-DE" dirty="0" err="1"/>
              <a:t>MonitoredItem</a:t>
            </a:r>
            <a:r>
              <a:rPr lang="de-DE" dirty="0"/>
              <a:t> </a:t>
            </a:r>
            <a:r>
              <a:rPr lang="de-DE" dirty="0" err="1"/>
              <a:t>service</a:t>
            </a:r>
            <a:r>
              <a:rPr lang="de-DE" dirty="0"/>
              <a:t> </a:t>
            </a:r>
            <a:r>
              <a:rPr lang="de-DE" dirty="0" err="1"/>
              <a:t>set</a:t>
            </a:r>
            <a:endParaRPr lang="de-DE" dirty="0"/>
          </a:p>
          <a:p>
            <a:endParaRPr lang="de-DE" dirty="0"/>
          </a:p>
          <a:p>
            <a:r>
              <a:rPr lang="de-DE" dirty="0"/>
              <a:t>➞ </a:t>
            </a:r>
            <a:r>
              <a:rPr lang="de-DE" dirty="0" err="1"/>
              <a:t>Subscription</a:t>
            </a:r>
            <a:r>
              <a:rPr lang="de-DE" dirty="0"/>
              <a:t> </a:t>
            </a:r>
            <a:r>
              <a:rPr lang="de-DE" dirty="0" err="1"/>
              <a:t>service</a:t>
            </a:r>
            <a:r>
              <a:rPr lang="de-DE" dirty="0"/>
              <a:t> </a:t>
            </a:r>
            <a:r>
              <a:rPr lang="de-DE" dirty="0" err="1"/>
              <a:t>set</a:t>
            </a:r>
            <a:endParaRPr lang="de-DE" dirty="0"/>
          </a:p>
        </p:txBody>
      </p:sp>
    </p:spTree>
    <p:extLst>
      <p:ext uri="{BB962C8B-B14F-4D97-AF65-F5344CB8AC3E}">
        <p14:creationId xmlns:p14="http://schemas.microsoft.com/office/powerpoint/2010/main" val="301660521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OPC UA</a:t>
            </a:r>
            <a:br>
              <a:rPr lang="de-DE" dirty="0"/>
            </a:br>
            <a:r>
              <a:rPr lang="de-DE" b="0" dirty="0" err="1" smtClean="0"/>
              <a:t>Address</a:t>
            </a:r>
            <a:r>
              <a:rPr lang="de-DE" b="0" dirty="0" smtClean="0"/>
              <a:t> </a:t>
            </a:r>
            <a:r>
              <a:rPr lang="de-DE" b="0" dirty="0"/>
              <a:t>Space </a:t>
            </a:r>
            <a:r>
              <a:rPr lang="de-DE" b="0" dirty="0" err="1"/>
              <a:t>Concepts</a:t>
            </a:r>
            <a:endParaRPr lang="de-DE" b="0" dirty="0"/>
          </a:p>
        </p:txBody>
      </p:sp>
      <p:pic>
        <p:nvPicPr>
          <p:cNvPr id="19458" name="Picture 2" descr="Bildergebnis für opc ua node class hierarch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9996" y="1165680"/>
            <a:ext cx="5430577" cy="4077190"/>
          </a:xfrm>
          <a:prstGeom prst="rect">
            <a:avLst/>
          </a:prstGeom>
          <a:noFill/>
          <a:extLst>
            <a:ext uri="{909E8E84-426E-40DD-AFC4-6F175D3DCCD1}">
              <a14:hiddenFill xmlns:a14="http://schemas.microsoft.com/office/drawing/2010/main">
                <a:solidFill>
                  <a:srgbClr val="FFFFFF"/>
                </a:solidFill>
              </a14:hiddenFill>
            </a:ext>
          </a:extLst>
        </p:spPr>
      </p:pic>
      <p:pic>
        <p:nvPicPr>
          <p:cNvPr id="19460" name="Picture 4" descr="Ähnliches Foto"/>
          <p:cNvPicPr>
            <a:picLocks noChangeAspect="1" noChangeArrowheads="1"/>
          </p:cNvPicPr>
          <p:nvPr/>
        </p:nvPicPr>
        <p:blipFill rotWithShape="1">
          <a:blip r:embed="rId4">
            <a:extLst>
              <a:ext uri="{28A0092B-C50C-407E-A947-70E740481C1C}">
                <a14:useLocalDpi xmlns:a14="http://schemas.microsoft.com/office/drawing/2010/main" val="0"/>
              </a:ext>
            </a:extLst>
          </a:blip>
          <a:srcRect t="11655" r="2103"/>
          <a:stretch/>
        </p:blipFill>
        <p:spPr bwMode="auto">
          <a:xfrm>
            <a:off x="146887" y="1629293"/>
            <a:ext cx="5949113" cy="40307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168330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Configuration</a:t>
            </a:r>
            <a:r>
              <a:rPr lang="de-DE" dirty="0"/>
              <a:t> </a:t>
            </a:r>
            <a:r>
              <a:rPr lang="de-DE" dirty="0" err="1"/>
              <a:t>with</a:t>
            </a:r>
            <a:r>
              <a:rPr lang="de-DE" dirty="0"/>
              <a:t> OPC UA</a:t>
            </a:r>
            <a:br>
              <a:rPr lang="de-DE" dirty="0"/>
            </a:br>
            <a:r>
              <a:rPr lang="de-DE" b="0" dirty="0" err="1" smtClean="0"/>
              <a:t>NodeID</a:t>
            </a:r>
            <a:endParaRPr lang="de-DE" dirty="0"/>
          </a:p>
        </p:txBody>
      </p:sp>
      <p:pic>
        <p:nvPicPr>
          <p:cNvPr id="20482" name="Picture 2" descr="nodeid_concept_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134" y="2721165"/>
            <a:ext cx="5956197" cy="228444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476134" y="1139849"/>
            <a:ext cx="11239731" cy="1323439"/>
          </a:xfrm>
          <a:prstGeom prst="rect">
            <a:avLst/>
          </a:prstGeom>
        </p:spPr>
        <p:txBody>
          <a:bodyPr wrap="square">
            <a:spAutoFit/>
          </a:bodyPr>
          <a:lstStyle/>
          <a:p>
            <a:r>
              <a:rPr lang="en-US" sz="1600" dirty="0"/>
              <a:t>In OPC UA, every entity in the address space is a node. To uniquely identify a Node, each node has a </a:t>
            </a:r>
            <a:r>
              <a:rPr lang="en-US" sz="1600" dirty="0" err="1"/>
              <a:t>NodeId</a:t>
            </a:r>
            <a:r>
              <a:rPr lang="en-US" sz="1600" dirty="0"/>
              <a:t>, which is always composed of three </a:t>
            </a:r>
            <a:r>
              <a:rPr lang="en-US" sz="1600" dirty="0" smtClean="0"/>
              <a:t>elements: </a:t>
            </a:r>
            <a:r>
              <a:rPr lang="en-US" sz="1600" b="1" dirty="0" err="1" smtClean="0"/>
              <a:t>NamespaceIndex</a:t>
            </a:r>
            <a:r>
              <a:rPr lang="en-US" sz="1600" b="1" dirty="0" smtClean="0"/>
              <a:t>, </a:t>
            </a:r>
            <a:r>
              <a:rPr lang="en-US" sz="1600" b="1" dirty="0" err="1" smtClean="0"/>
              <a:t>IdentifierType</a:t>
            </a:r>
            <a:r>
              <a:rPr lang="en-US" sz="1600" b="1" dirty="0" smtClean="0"/>
              <a:t>, Identifier.</a:t>
            </a:r>
          </a:p>
          <a:p>
            <a:endParaRPr lang="en-US" sz="1600" dirty="0"/>
          </a:p>
          <a:p>
            <a:r>
              <a:rPr lang="en-US" sz="1600" dirty="0" smtClean="0"/>
              <a:t>There </a:t>
            </a:r>
            <a:r>
              <a:rPr lang="en-US" sz="1600" dirty="0"/>
              <a:t>is an XML notation defined by the OPC UA XML Schema which represents a fully qualified </a:t>
            </a:r>
            <a:r>
              <a:rPr lang="en-US" sz="1600" dirty="0" err="1"/>
              <a:t>NodeId</a:t>
            </a:r>
            <a:r>
              <a:rPr lang="en-US" sz="1600" dirty="0"/>
              <a:t>. The format of the string </a:t>
            </a:r>
            <a:r>
              <a:rPr lang="en-US" sz="1600" dirty="0" err="1" smtClean="0"/>
              <a:t>is:</a:t>
            </a:r>
            <a:r>
              <a:rPr lang="en-US" sz="1600" b="1" dirty="0" err="1" smtClean="0"/>
              <a:t>ns</a:t>
            </a:r>
            <a:r>
              <a:rPr lang="en-US" sz="1600" b="1" dirty="0"/>
              <a:t>=&lt;</a:t>
            </a:r>
            <a:r>
              <a:rPr lang="en-US" sz="1600" b="1" dirty="0" err="1"/>
              <a:t>namespaceIndex</a:t>
            </a:r>
            <a:r>
              <a:rPr lang="en-US" sz="1600" b="1" dirty="0"/>
              <a:t>&gt;;&lt;</a:t>
            </a:r>
            <a:r>
              <a:rPr lang="en-US" sz="1600" b="1" dirty="0" err="1"/>
              <a:t>identifiertype</a:t>
            </a:r>
            <a:r>
              <a:rPr lang="en-US" sz="1600" b="1" dirty="0"/>
              <a:t>&gt;=&lt;identifier&gt;</a:t>
            </a:r>
            <a:endParaRPr lang="en-US" sz="1600" dirty="0"/>
          </a:p>
        </p:txBody>
      </p:sp>
      <p:graphicFrame>
        <p:nvGraphicFramePr>
          <p:cNvPr id="7" name="Table 6"/>
          <p:cNvGraphicFramePr>
            <a:graphicFrameLocks noGrp="1"/>
          </p:cNvGraphicFramePr>
          <p:nvPr>
            <p:extLst>
              <p:ext uri="{D42A27DB-BD31-4B8C-83A1-F6EECF244321}">
                <p14:modId xmlns:p14="http://schemas.microsoft.com/office/powerpoint/2010/main" val="1679461271"/>
              </p:ext>
            </p:extLst>
          </p:nvPr>
        </p:nvGraphicFramePr>
        <p:xfrm>
          <a:off x="6813739" y="2721165"/>
          <a:ext cx="3338108" cy="1193708"/>
        </p:xfrm>
        <a:graphic>
          <a:graphicData uri="http://schemas.openxmlformats.org/drawingml/2006/table">
            <a:tbl>
              <a:tblPr/>
              <a:tblGrid>
                <a:gridCol w="711286"/>
                <a:gridCol w="2626822"/>
              </a:tblGrid>
              <a:tr h="276848">
                <a:tc>
                  <a:txBody>
                    <a:bodyPr/>
                    <a:lstStyle/>
                    <a:p>
                      <a:r>
                        <a:rPr lang="de-DE" sz="1200" dirty="0" err="1">
                          <a:solidFill>
                            <a:srgbClr val="FFFFFF"/>
                          </a:solidFill>
                          <a:effectLst/>
                        </a:rPr>
                        <a:t>Flag</a:t>
                      </a:r>
                      <a:endParaRPr lang="de-DE" sz="1200" dirty="0">
                        <a:solidFill>
                          <a:srgbClr val="FFFFFF"/>
                        </a:solidFill>
                        <a:effectLst/>
                      </a:endParaRPr>
                    </a:p>
                  </a:txBody>
                  <a:tcPr marL="53340" marR="53340" marT="38100" marB="3048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4D8334"/>
                    </a:solidFill>
                  </a:tcPr>
                </a:tc>
                <a:tc>
                  <a:txBody>
                    <a:bodyPr/>
                    <a:lstStyle/>
                    <a:p>
                      <a:r>
                        <a:rPr lang="de-DE" sz="1200" dirty="0">
                          <a:solidFill>
                            <a:srgbClr val="FFFFFF"/>
                          </a:solidFill>
                          <a:effectLst/>
                        </a:rPr>
                        <a:t>Identifier Type</a:t>
                      </a:r>
                    </a:p>
                  </a:txBody>
                  <a:tcPr marL="53340" marR="53340" marT="38100" marB="3048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4D8334"/>
                    </a:solidFill>
                  </a:tcPr>
                </a:tc>
              </a:tr>
              <a:tr h="229215">
                <a:tc>
                  <a:txBody>
                    <a:bodyPr/>
                    <a:lstStyle/>
                    <a:p>
                      <a:r>
                        <a:rPr lang="de-DE" sz="1200">
                          <a:effectLst/>
                        </a:rPr>
                        <a:t>i</a:t>
                      </a:r>
                    </a:p>
                  </a:txBody>
                  <a:tcPr marL="53340" marR="53340" marT="22860" marB="1524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FFFFFF"/>
                    </a:solidFill>
                  </a:tcPr>
                </a:tc>
                <a:tc>
                  <a:txBody>
                    <a:bodyPr/>
                    <a:lstStyle/>
                    <a:p>
                      <a:r>
                        <a:rPr lang="de-DE" sz="1200">
                          <a:effectLst/>
                        </a:rPr>
                        <a:t>NUMERIC (UInteger)</a:t>
                      </a:r>
                    </a:p>
                  </a:txBody>
                  <a:tcPr marL="53340" marR="53340" marT="22860" marB="1524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FFFFFF"/>
                    </a:solidFill>
                  </a:tcPr>
                </a:tc>
              </a:tr>
              <a:tr h="229215">
                <a:tc>
                  <a:txBody>
                    <a:bodyPr/>
                    <a:lstStyle/>
                    <a:p>
                      <a:r>
                        <a:rPr lang="de-DE" sz="1200">
                          <a:effectLst/>
                        </a:rPr>
                        <a:t>s</a:t>
                      </a:r>
                    </a:p>
                  </a:txBody>
                  <a:tcPr marL="53340" marR="53340" marT="22860" marB="1524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FFFFFF"/>
                    </a:solidFill>
                  </a:tcPr>
                </a:tc>
                <a:tc>
                  <a:txBody>
                    <a:bodyPr/>
                    <a:lstStyle/>
                    <a:p>
                      <a:r>
                        <a:rPr lang="de-DE" sz="1200">
                          <a:effectLst/>
                        </a:rPr>
                        <a:t>STRING (String)</a:t>
                      </a:r>
                    </a:p>
                  </a:txBody>
                  <a:tcPr marL="53340" marR="53340" marT="22860" marB="1524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FFFFFF"/>
                    </a:solidFill>
                  </a:tcPr>
                </a:tc>
              </a:tr>
              <a:tr h="229215">
                <a:tc>
                  <a:txBody>
                    <a:bodyPr/>
                    <a:lstStyle/>
                    <a:p>
                      <a:r>
                        <a:rPr lang="de-DE" sz="1200">
                          <a:effectLst/>
                        </a:rPr>
                        <a:t>g</a:t>
                      </a:r>
                    </a:p>
                  </a:txBody>
                  <a:tcPr marL="53340" marR="53340" marT="22860" marB="1524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FFFFFF"/>
                    </a:solidFill>
                  </a:tcPr>
                </a:tc>
                <a:tc>
                  <a:txBody>
                    <a:bodyPr/>
                    <a:lstStyle/>
                    <a:p>
                      <a:r>
                        <a:rPr lang="de-DE" sz="1200">
                          <a:effectLst/>
                        </a:rPr>
                        <a:t>GUID (Guid)</a:t>
                      </a:r>
                    </a:p>
                  </a:txBody>
                  <a:tcPr marL="53340" marR="53340" marT="22860" marB="1524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FFFFFF"/>
                    </a:solidFill>
                  </a:tcPr>
                </a:tc>
              </a:tr>
              <a:tr h="229215">
                <a:tc>
                  <a:txBody>
                    <a:bodyPr/>
                    <a:lstStyle/>
                    <a:p>
                      <a:r>
                        <a:rPr lang="de-DE" sz="1200">
                          <a:effectLst/>
                        </a:rPr>
                        <a:t>b</a:t>
                      </a:r>
                    </a:p>
                  </a:txBody>
                  <a:tcPr marL="53340" marR="53340" marT="22860" marB="1524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FFFFFF"/>
                    </a:solidFill>
                  </a:tcPr>
                </a:tc>
                <a:tc>
                  <a:txBody>
                    <a:bodyPr/>
                    <a:lstStyle/>
                    <a:p>
                      <a:r>
                        <a:rPr lang="de-DE" sz="1200" dirty="0">
                          <a:effectLst/>
                        </a:rPr>
                        <a:t>OPAQUE (</a:t>
                      </a:r>
                      <a:r>
                        <a:rPr lang="de-DE" sz="1200" dirty="0" err="1">
                          <a:effectLst/>
                        </a:rPr>
                        <a:t>ByteString</a:t>
                      </a:r>
                      <a:r>
                        <a:rPr lang="de-DE" sz="1200" dirty="0">
                          <a:effectLst/>
                        </a:rPr>
                        <a:t>)</a:t>
                      </a:r>
                    </a:p>
                  </a:txBody>
                  <a:tcPr marL="53340" marR="53340" marT="22860" marB="15240" anchor="ctr">
                    <a:lnL w="7620" cap="flat" cmpd="sng" algn="ctr">
                      <a:solidFill>
                        <a:srgbClr val="3E6A2A"/>
                      </a:solidFill>
                      <a:prstDash val="solid"/>
                      <a:round/>
                      <a:headEnd type="none" w="med" len="med"/>
                      <a:tailEnd type="none" w="med" len="med"/>
                    </a:lnL>
                    <a:lnR w="7620" cap="flat" cmpd="sng" algn="ctr">
                      <a:solidFill>
                        <a:srgbClr val="3E6A2A"/>
                      </a:solidFill>
                      <a:prstDash val="solid"/>
                      <a:round/>
                      <a:headEnd type="none" w="med" len="med"/>
                      <a:tailEnd type="none" w="med" len="med"/>
                    </a:lnR>
                    <a:lnT w="7620" cap="flat" cmpd="sng" algn="ctr">
                      <a:solidFill>
                        <a:srgbClr val="3E6A2A"/>
                      </a:solidFill>
                      <a:prstDash val="solid"/>
                      <a:round/>
                      <a:headEnd type="none" w="med" len="med"/>
                      <a:tailEnd type="none" w="med" len="med"/>
                    </a:lnT>
                    <a:lnB w="7620" cap="flat" cmpd="sng" algn="ctr">
                      <a:solidFill>
                        <a:srgbClr val="3E6A2A"/>
                      </a:solidFill>
                      <a:prstDash val="solid"/>
                      <a:round/>
                      <a:headEnd type="none" w="med" len="med"/>
                      <a:tailEnd type="none" w="med" len="med"/>
                    </a:lnB>
                    <a:solidFill>
                      <a:srgbClr val="FFFFFF"/>
                    </a:solidFill>
                  </a:tcPr>
                </a:tc>
              </a:tr>
            </a:tbl>
          </a:graphicData>
        </a:graphic>
      </p:graphicFrame>
      <p:sp>
        <p:nvSpPr>
          <p:cNvPr id="10" name="Rectangle 9"/>
          <p:cNvSpPr/>
          <p:nvPr/>
        </p:nvSpPr>
        <p:spPr>
          <a:xfrm>
            <a:off x="6702556" y="4172750"/>
            <a:ext cx="6096000" cy="2339102"/>
          </a:xfrm>
          <a:prstGeom prst="rect">
            <a:avLst/>
          </a:prstGeom>
        </p:spPr>
        <p:txBody>
          <a:bodyPr>
            <a:spAutoFit/>
          </a:bodyPr>
          <a:lstStyle/>
          <a:p>
            <a:r>
              <a:rPr lang="de-DE" b="1" dirty="0" err="1" smtClean="0"/>
              <a:t>Examples</a:t>
            </a:r>
            <a:r>
              <a:rPr lang="de-DE" b="1" dirty="0"/>
              <a:t>:</a:t>
            </a:r>
          </a:p>
          <a:p>
            <a:r>
              <a:rPr lang="de-DE" sz="1600" b="1" dirty="0" err="1"/>
              <a:t>ns</a:t>
            </a:r>
            <a:r>
              <a:rPr lang="de-DE" sz="1600" b="1" dirty="0"/>
              <a:t>=2;s=</a:t>
            </a:r>
            <a:r>
              <a:rPr lang="de-DE" sz="1600" b="1" dirty="0" err="1"/>
              <a:t>MyTemperature</a:t>
            </a:r>
            <a:endParaRPr lang="de-DE" sz="1600" b="1" dirty="0"/>
          </a:p>
          <a:p>
            <a:r>
              <a:rPr lang="de-DE" sz="1600" dirty="0" err="1"/>
              <a:t>namespace</a:t>
            </a:r>
            <a:r>
              <a:rPr lang="de-DE" sz="1600" dirty="0"/>
              <a:t> </a:t>
            </a:r>
            <a:r>
              <a:rPr lang="de-DE" sz="1600" dirty="0" err="1"/>
              <a:t>index</a:t>
            </a:r>
            <a:r>
              <a:rPr lang="de-DE" sz="1600" dirty="0"/>
              <a:t> 2, </a:t>
            </a:r>
            <a:r>
              <a:rPr lang="de-DE" sz="1600" dirty="0" err="1"/>
              <a:t>string</a:t>
            </a:r>
            <a:r>
              <a:rPr lang="de-DE" sz="1600" dirty="0"/>
              <a:t> </a:t>
            </a:r>
            <a:r>
              <a:rPr lang="de-DE" sz="1600" dirty="0" err="1"/>
              <a:t>identifier</a:t>
            </a:r>
            <a:endParaRPr lang="de-DE" sz="1600" dirty="0"/>
          </a:p>
          <a:p>
            <a:r>
              <a:rPr lang="de-DE" sz="1600" b="1" dirty="0"/>
              <a:t>i=2045</a:t>
            </a:r>
          </a:p>
          <a:p>
            <a:r>
              <a:rPr lang="de-DE" sz="1600" dirty="0" err="1"/>
              <a:t>namespace</a:t>
            </a:r>
            <a:r>
              <a:rPr lang="de-DE" sz="1600" dirty="0"/>
              <a:t> </a:t>
            </a:r>
            <a:r>
              <a:rPr lang="de-DE" sz="1600" dirty="0" err="1"/>
              <a:t>index</a:t>
            </a:r>
            <a:r>
              <a:rPr lang="de-DE" sz="1600" dirty="0"/>
              <a:t> 0, </a:t>
            </a:r>
            <a:r>
              <a:rPr lang="de-DE" sz="1600" dirty="0" err="1"/>
              <a:t>numeric</a:t>
            </a:r>
            <a:r>
              <a:rPr lang="de-DE" sz="1600" dirty="0"/>
              <a:t> </a:t>
            </a:r>
            <a:r>
              <a:rPr lang="de-DE" sz="1600" dirty="0" err="1"/>
              <a:t>identifier</a:t>
            </a:r>
            <a:endParaRPr lang="de-DE" sz="1600" dirty="0"/>
          </a:p>
          <a:p>
            <a:r>
              <a:rPr lang="de-DE" sz="1600" b="1" dirty="0" err="1"/>
              <a:t>ns</a:t>
            </a:r>
            <a:r>
              <a:rPr lang="de-DE" sz="1600" b="1" dirty="0"/>
              <a:t>=1;g=09087e75-8e5e-499b-954f-f2a9603db28a</a:t>
            </a:r>
          </a:p>
          <a:p>
            <a:r>
              <a:rPr lang="de-DE" sz="1600" dirty="0" err="1"/>
              <a:t>namespace</a:t>
            </a:r>
            <a:r>
              <a:rPr lang="de-DE" sz="1600" dirty="0"/>
              <a:t> </a:t>
            </a:r>
            <a:r>
              <a:rPr lang="de-DE" sz="1600" dirty="0" err="1"/>
              <a:t>index</a:t>
            </a:r>
            <a:r>
              <a:rPr lang="de-DE" sz="1600" dirty="0"/>
              <a:t> 1, GUID </a:t>
            </a:r>
            <a:r>
              <a:rPr lang="de-DE" sz="1600" dirty="0" err="1"/>
              <a:t>identifier</a:t>
            </a:r>
            <a:endParaRPr lang="de-DE" sz="1600" dirty="0"/>
          </a:p>
          <a:p>
            <a:r>
              <a:rPr lang="de-DE" sz="1600" b="1" dirty="0" err="1"/>
              <a:t>ns</a:t>
            </a:r>
            <a:r>
              <a:rPr lang="de-DE" sz="1600" b="1" dirty="0"/>
              <a:t>=1;b=M/RbKBsRVkePCePcx24oRA=='</a:t>
            </a:r>
          </a:p>
          <a:p>
            <a:r>
              <a:rPr lang="de-DE" sz="1600" dirty="0" err="1"/>
              <a:t>namespace</a:t>
            </a:r>
            <a:r>
              <a:rPr lang="de-DE" sz="1600" dirty="0"/>
              <a:t> </a:t>
            </a:r>
            <a:r>
              <a:rPr lang="de-DE" sz="1600" dirty="0" err="1"/>
              <a:t>index</a:t>
            </a:r>
            <a:r>
              <a:rPr lang="de-DE" sz="1600" dirty="0"/>
              <a:t> 1, </a:t>
            </a:r>
            <a:r>
              <a:rPr lang="de-DE" sz="1600" dirty="0" err="1"/>
              <a:t>Opaque</a:t>
            </a:r>
            <a:r>
              <a:rPr lang="de-DE" sz="1600" dirty="0"/>
              <a:t>/</a:t>
            </a:r>
            <a:r>
              <a:rPr lang="de-DE" sz="1600" dirty="0" err="1"/>
              <a:t>ByteString</a:t>
            </a:r>
            <a:r>
              <a:rPr lang="de-DE" sz="1600" dirty="0"/>
              <a:t> </a:t>
            </a:r>
            <a:r>
              <a:rPr lang="de-DE" sz="1600" dirty="0" err="1"/>
              <a:t>identifier</a:t>
            </a:r>
            <a:endParaRPr lang="de-DE" sz="1600" dirty="0"/>
          </a:p>
        </p:txBody>
      </p:sp>
    </p:spTree>
    <p:extLst>
      <p:ext uri="{BB962C8B-B14F-4D97-AF65-F5344CB8AC3E}">
        <p14:creationId xmlns:p14="http://schemas.microsoft.com/office/powerpoint/2010/main" val="243107308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OPC UA </a:t>
            </a:r>
            <a:r>
              <a:rPr lang="de-DE" dirty="0" err="1" smtClean="0"/>
              <a:t>Configuration</a:t>
            </a:r>
            <a:r>
              <a:rPr lang="de-DE" dirty="0" smtClean="0"/>
              <a:t/>
            </a:r>
            <a:br>
              <a:rPr lang="de-DE" dirty="0" smtClean="0"/>
            </a:br>
            <a:r>
              <a:rPr lang="de-DE" b="0" i="1" u="sng" dirty="0" smtClean="0"/>
              <a:t>Hands-On </a:t>
            </a:r>
            <a:r>
              <a:rPr lang="de-DE" b="0" i="1" u="sng" dirty="0" err="1" smtClean="0"/>
              <a:t>Exercise</a:t>
            </a:r>
            <a:r>
              <a:rPr lang="de-DE" b="0" i="1" u="sng" dirty="0" smtClean="0"/>
              <a:t> 4</a:t>
            </a:r>
            <a:endParaRPr lang="en-US" b="0" i="1" u="sng" dirty="0"/>
          </a:p>
        </p:txBody>
      </p:sp>
      <p:grpSp>
        <p:nvGrpSpPr>
          <p:cNvPr id="42" name="Gruppieren 41"/>
          <p:cNvGrpSpPr/>
          <p:nvPr/>
        </p:nvGrpSpPr>
        <p:grpSpPr>
          <a:xfrm>
            <a:off x="2520000" y="3960000"/>
            <a:ext cx="5976664" cy="2232248"/>
            <a:chOff x="2354759" y="2508565"/>
            <a:chExt cx="5976664" cy="2232248"/>
          </a:xfrm>
          <a:solidFill>
            <a:srgbClr val="2387AA"/>
          </a:solidFill>
        </p:grpSpPr>
        <p:sp>
          <p:nvSpPr>
            <p:cNvPr id="43" name="Abgerundetes Rechteck 2"/>
            <p:cNvSpPr/>
            <p:nvPr/>
          </p:nvSpPr>
          <p:spPr bwMode="auto">
            <a:xfrm>
              <a:off x="2354759"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4"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9" name="Rechteck 8"/>
          <p:cNvSpPr>
            <a:spLocks/>
          </p:cNvSpPr>
          <p:nvPr/>
        </p:nvSpPr>
        <p:spPr bwMode="gray">
          <a:xfrm>
            <a:off x="295476" y="1552244"/>
            <a:ext cx="10423925"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Asset configuration OPC UA</a:t>
            </a: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86330" y="1387317"/>
            <a:ext cx="5605670" cy="5608590"/>
          </a:xfrm>
          <a:prstGeom prst="rect">
            <a:avLst/>
          </a:prstGeom>
        </p:spPr>
      </p:pic>
    </p:spTree>
    <p:extLst>
      <p:ext uri="{BB962C8B-B14F-4D97-AF65-F5344CB8AC3E}">
        <p14:creationId xmlns:p14="http://schemas.microsoft.com/office/powerpoint/2010/main" val="20904293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13415" y="1270799"/>
            <a:ext cx="12454271" cy="5040001"/>
          </a:xfrm>
          <a:prstGeom prst="rect">
            <a:avLst/>
          </a:prstGeom>
          <a:solidFill>
            <a:srgbClr val="28282C"/>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0" name="Ellipse 19"/>
          <p:cNvSpPr/>
          <p:nvPr/>
        </p:nvSpPr>
        <p:spPr bwMode="auto">
          <a:xfrm>
            <a:off x="8057541" y="1475640"/>
            <a:ext cx="3962380" cy="4193286"/>
          </a:xfrm>
          <a:prstGeom prst="ellipse">
            <a:avLst/>
          </a:prstGeom>
          <a:noFill/>
          <a:ln w="28575">
            <a:solidFill>
              <a:srgbClr val="0F8287"/>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5" name="Rectangle 34"/>
          <p:cNvSpPr/>
          <p:nvPr/>
        </p:nvSpPr>
        <p:spPr bwMode="auto">
          <a:xfrm>
            <a:off x="5554599" y="1658520"/>
            <a:ext cx="3451838" cy="4368004"/>
          </a:xfrm>
          <a:prstGeom prst="rect">
            <a:avLst/>
          </a:prstGeom>
          <a:solidFill>
            <a:srgbClr val="28282C"/>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8" name="Freihandform 388"/>
          <p:cNvSpPr/>
          <p:nvPr/>
        </p:nvSpPr>
        <p:spPr bwMode="auto">
          <a:xfrm flipH="1" flipV="1">
            <a:off x="508292" y="3513163"/>
            <a:ext cx="6083551"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noFill/>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6" name="Rechteck 380"/>
          <p:cNvSpPr/>
          <p:nvPr/>
        </p:nvSpPr>
        <p:spPr>
          <a:xfrm>
            <a:off x="1291267" y="1636619"/>
            <a:ext cx="3079450" cy="338554"/>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smtClean="0">
                <a:solidFill>
                  <a:srgbClr val="50BED7"/>
                </a:solidFill>
                <a:latin typeface="Arial" pitchFamily="34" charset="0"/>
                <a:ea typeface="ＭＳ Ｐゴシック" charset="-128"/>
              </a:rPr>
              <a:t>MindSphere Applications</a:t>
            </a:r>
            <a:endParaRPr lang="en-US" sz="2000" dirty="0">
              <a:solidFill>
                <a:srgbClr val="50BED7"/>
              </a:solidFill>
              <a:latin typeface="Arial" pitchFamily="34" charset="0"/>
              <a:ea typeface="ＭＳ Ｐゴシック" charset="-128"/>
            </a:endParaRPr>
          </a:p>
        </p:txBody>
      </p:sp>
      <p:sp>
        <p:nvSpPr>
          <p:cNvPr id="7" name="Rechteck 653"/>
          <p:cNvSpPr/>
          <p:nvPr/>
        </p:nvSpPr>
        <p:spPr>
          <a:xfrm>
            <a:off x="508288" y="2065468"/>
            <a:ext cx="4408486" cy="812530"/>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Powerful industry applications </a:t>
            </a:r>
            <a:br>
              <a:rPr lang="en-US" sz="1600" dirty="0">
                <a:solidFill>
                  <a:schemeClr val="bg1"/>
                </a:solidFill>
                <a:latin typeface="Arial" pitchFamily="34" charset="0"/>
                <a:ea typeface="ＭＳ Ｐゴシック" charset="-128"/>
              </a:rPr>
            </a:br>
            <a:r>
              <a:rPr lang="en-US" sz="1600" dirty="0">
                <a:solidFill>
                  <a:schemeClr val="bg1"/>
                </a:solidFill>
                <a:latin typeface="Arial" pitchFamily="34" charset="0"/>
                <a:ea typeface="ＭＳ Ｐゴシック" charset="-128"/>
              </a:rPr>
              <a:t>and digital services for asset transparency and analytical insights</a:t>
            </a:r>
          </a:p>
        </p:txBody>
      </p:sp>
      <p:sp>
        <p:nvSpPr>
          <p:cNvPr id="9" name="Rechteck 381"/>
          <p:cNvSpPr/>
          <p:nvPr/>
        </p:nvSpPr>
        <p:spPr>
          <a:xfrm>
            <a:off x="1291573" y="3207721"/>
            <a:ext cx="3959099"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smtClean="0">
                <a:solidFill>
                  <a:srgbClr val="50BED7"/>
                </a:solidFill>
                <a:latin typeface="Arial" pitchFamily="34" charset="0"/>
                <a:ea typeface="ＭＳ Ｐゴシック" charset="-128"/>
              </a:rPr>
              <a:t>MindSphere &amp; </a:t>
            </a:r>
            <a:r>
              <a:rPr lang="en-US" sz="2000" b="1" dirty="0" err="1" smtClean="0">
                <a:solidFill>
                  <a:srgbClr val="50BED7"/>
                </a:solidFill>
                <a:latin typeface="Arial" pitchFamily="34" charset="0"/>
                <a:ea typeface="ＭＳ Ｐゴシック" charset="-128"/>
              </a:rPr>
              <a:t>MindAccess</a:t>
            </a:r>
            <a:endParaRPr lang="en-US" sz="2000" dirty="0">
              <a:solidFill>
                <a:srgbClr val="50BED7"/>
              </a:solidFill>
              <a:latin typeface="Arial" pitchFamily="34" charset="0"/>
              <a:ea typeface="ＭＳ Ｐゴシック" charset="-128"/>
            </a:endParaRPr>
          </a:p>
        </p:txBody>
      </p:sp>
      <p:sp>
        <p:nvSpPr>
          <p:cNvPr id="10" name="Rechteck 654"/>
          <p:cNvSpPr/>
          <p:nvPr/>
        </p:nvSpPr>
        <p:spPr>
          <a:xfrm>
            <a:off x="508294" y="3704337"/>
            <a:ext cx="4408487" cy="812530"/>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Open Platform as a Service (</a:t>
            </a:r>
            <a:r>
              <a:rPr lang="en-US" sz="1600" dirty="0" err="1">
                <a:solidFill>
                  <a:schemeClr val="bg1"/>
                </a:solidFill>
                <a:latin typeface="Arial" pitchFamily="34" charset="0"/>
                <a:ea typeface="ＭＳ Ｐゴシック" charset="-128"/>
              </a:rPr>
              <a:t>PaaS</a:t>
            </a:r>
            <a:r>
              <a:rPr lang="en-US" sz="1600" dirty="0">
                <a:solidFill>
                  <a:schemeClr val="bg1"/>
                </a:solidFill>
                <a:latin typeface="Arial" pitchFamily="34" charset="0"/>
                <a:ea typeface="ＭＳ Ｐゴシック" charset="-128"/>
              </a:rPr>
              <a:t>) for scalable, global </a:t>
            </a:r>
            <a:r>
              <a:rPr lang="en-US" sz="1600" dirty="0" err="1">
                <a:solidFill>
                  <a:schemeClr val="bg1"/>
                </a:solidFill>
                <a:latin typeface="Arial" pitchFamily="34" charset="0"/>
                <a:ea typeface="ＭＳ Ｐゴシック" charset="-128"/>
              </a:rPr>
              <a:t>IoT</a:t>
            </a:r>
            <a:r>
              <a:rPr lang="en-US" sz="1600" dirty="0">
                <a:solidFill>
                  <a:schemeClr val="bg1"/>
                </a:solidFill>
                <a:latin typeface="Arial" pitchFamily="34" charset="0"/>
                <a:ea typeface="ＭＳ Ｐゴシック" charset="-128"/>
              </a:rPr>
              <a:t> connectivity and application development</a:t>
            </a:r>
          </a:p>
        </p:txBody>
      </p:sp>
      <p:sp>
        <p:nvSpPr>
          <p:cNvPr id="11" name="Rechteck 655"/>
          <p:cNvSpPr/>
          <p:nvPr/>
        </p:nvSpPr>
        <p:spPr>
          <a:xfrm>
            <a:off x="496465" y="5266446"/>
            <a:ext cx="4107308" cy="520655"/>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a:solidFill>
                  <a:schemeClr val="bg1"/>
                </a:solidFill>
                <a:latin typeface="Arial" pitchFamily="34" charset="0"/>
                <a:ea typeface="ＭＳ Ｐゴシック" charset="-128"/>
              </a:rPr>
              <a:t>Secure plug and play connection </a:t>
            </a:r>
            <a:r>
              <a:rPr lang="en-US" sz="1600" dirty="0" smtClean="0">
                <a:solidFill>
                  <a:schemeClr val="bg1"/>
                </a:solidFill>
                <a:latin typeface="Arial" pitchFamily="34" charset="0"/>
                <a:ea typeface="ＭＳ Ｐゴシック" charset="-128"/>
              </a:rPr>
              <a:t>of </a:t>
            </a:r>
            <a:r>
              <a:rPr lang="en-US" sz="1600" dirty="0">
                <a:solidFill>
                  <a:schemeClr val="bg1"/>
                </a:solidFill>
                <a:latin typeface="Arial" pitchFamily="34" charset="0"/>
                <a:ea typeface="ＭＳ Ｐゴシック" charset="-128"/>
              </a:rPr>
              <a:t>Siemens and third-party products and equipment</a:t>
            </a:r>
          </a:p>
        </p:txBody>
      </p:sp>
      <p:sp>
        <p:nvSpPr>
          <p:cNvPr id="12" name="Rechteck 382"/>
          <p:cNvSpPr/>
          <p:nvPr/>
        </p:nvSpPr>
        <p:spPr>
          <a:xfrm>
            <a:off x="1294308" y="4809475"/>
            <a:ext cx="341587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a:solidFill>
                  <a:srgbClr val="50BED7"/>
                </a:solidFill>
                <a:latin typeface="Arial" pitchFamily="34" charset="0"/>
                <a:ea typeface="ＭＳ Ｐゴシック" charset="-128"/>
              </a:rPr>
              <a:t>MindConnect</a:t>
            </a:r>
            <a:endParaRPr lang="en-US" sz="2000" dirty="0">
              <a:solidFill>
                <a:srgbClr val="50BED7"/>
              </a:solidFill>
              <a:latin typeface="Arial" pitchFamily="34" charset="0"/>
              <a:ea typeface="ＭＳ Ｐゴシック" charset="-128"/>
            </a:endParaRPr>
          </a:p>
        </p:txBody>
      </p:sp>
      <p:pic>
        <p:nvPicPr>
          <p:cNvPr id="13"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1795" y="1622880"/>
            <a:ext cx="4930256" cy="4257170"/>
          </a:xfrm>
          <a:prstGeom prst="rect">
            <a:avLst/>
          </a:prstGeom>
        </p:spPr>
      </p:pic>
      <p:sp>
        <p:nvSpPr>
          <p:cNvPr id="15" name="Freihandform 388"/>
          <p:cNvSpPr/>
          <p:nvPr/>
        </p:nvSpPr>
        <p:spPr bwMode="auto">
          <a:xfrm flipH="1" flipV="1">
            <a:off x="508294" y="1975173"/>
            <a:ext cx="4643808"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noFill/>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6" name="Freihandform 388"/>
          <p:cNvSpPr/>
          <p:nvPr/>
        </p:nvSpPr>
        <p:spPr bwMode="auto">
          <a:xfrm rot="10800000" flipV="1">
            <a:off x="508294" y="4828494"/>
            <a:ext cx="4643808"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9" name="Titel 4"/>
          <p:cNvSpPr>
            <a:spLocks noGrp="1"/>
          </p:cNvSpPr>
          <p:nvPr>
            <p:ph type="title"/>
          </p:nvPr>
        </p:nvSpPr>
        <p:spPr>
          <a:xfrm>
            <a:off x="0" y="0"/>
            <a:ext cx="12192000" cy="1440000"/>
          </a:xfrm>
        </p:spPr>
        <p:txBody>
          <a:bodyPr/>
          <a:lstStyle/>
          <a:p>
            <a:r>
              <a:rPr lang="en-US" dirty="0" smtClean="0">
                <a:latin typeface="+mn-lt"/>
              </a:rPr>
              <a:t>MindSphere Portfolio Overview</a:t>
            </a:r>
            <a:br>
              <a:rPr lang="en-US" dirty="0" smtClean="0">
                <a:latin typeface="+mn-lt"/>
              </a:rPr>
            </a:br>
            <a:endParaRPr lang="en-US" dirty="0">
              <a:latin typeface="+mn-lt"/>
            </a:endParaRPr>
          </a:p>
        </p:txBody>
      </p:sp>
      <p:sp>
        <p:nvSpPr>
          <p:cNvPr id="21" name="Rechteck 381"/>
          <p:cNvSpPr/>
          <p:nvPr/>
        </p:nvSpPr>
        <p:spPr>
          <a:xfrm>
            <a:off x="10173491" y="3252496"/>
            <a:ext cx="307945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smtClean="0">
                <a:solidFill>
                  <a:srgbClr val="50BED7"/>
                </a:solidFill>
                <a:latin typeface="Arial" pitchFamily="34" charset="0"/>
                <a:ea typeface="ＭＳ Ｐゴシック" charset="-128"/>
              </a:rPr>
              <a:t>MindServices</a:t>
            </a:r>
            <a:endParaRPr lang="en-US" sz="2000" dirty="0">
              <a:solidFill>
                <a:srgbClr val="50BED7"/>
              </a:solidFill>
              <a:latin typeface="Arial" pitchFamily="34" charset="0"/>
              <a:ea typeface="ＭＳ Ｐゴシック" charset="-128"/>
            </a:endParaRPr>
          </a:p>
        </p:txBody>
      </p:sp>
      <p:sp>
        <p:nvSpPr>
          <p:cNvPr id="22" name="Rechteck 654"/>
          <p:cNvSpPr/>
          <p:nvPr/>
        </p:nvSpPr>
        <p:spPr>
          <a:xfrm>
            <a:off x="10281745" y="3673857"/>
            <a:ext cx="4408487" cy="1625060"/>
          </a:xfrm>
          <a:prstGeom prst="rect">
            <a:avLst/>
          </a:prstGeom>
        </p:spPr>
        <p:txBody>
          <a:bodyPr wrap="square" lIns="0" tIns="0" rIns="0" bIns="0">
            <a:spAutoFit/>
          </a:bodyPr>
          <a:lstStyle/>
          <a:p>
            <a:pPr fontAlgn="base">
              <a:lnSpc>
                <a:spcPct val="110000"/>
              </a:lnSpc>
              <a:spcBef>
                <a:spcPct val="50000"/>
              </a:spcBef>
              <a:spcAft>
                <a:spcPct val="0"/>
              </a:spcAft>
            </a:pPr>
            <a:r>
              <a:rPr lang="en-US" sz="1600" dirty="0" smtClean="0">
                <a:solidFill>
                  <a:schemeClr val="bg1"/>
                </a:solidFill>
                <a:latin typeface="Arial" pitchFamily="34" charset="0"/>
                <a:ea typeface="ＭＳ Ｐゴシック" charset="-128"/>
              </a:rPr>
              <a:t>Training</a:t>
            </a:r>
            <a:r>
              <a:rPr lang="en-US" sz="1600" dirty="0">
                <a:solidFill>
                  <a:schemeClr val="bg1"/>
                </a:solidFill>
                <a:latin typeface="Arial" pitchFamily="34" charset="0"/>
                <a:ea typeface="ＭＳ Ｐゴシック" charset="-128"/>
              </a:rPr>
              <a:t/>
            </a:r>
            <a:br>
              <a:rPr lang="en-US" sz="1600" dirty="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Consultancy</a:t>
            </a:r>
            <a:br>
              <a:rPr lang="en-US" sz="1600" dirty="0" smtClean="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Proof of Value</a:t>
            </a:r>
            <a:br>
              <a:rPr lang="en-US" sz="1600" dirty="0" smtClean="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Co-creation</a:t>
            </a:r>
            <a:br>
              <a:rPr lang="en-US" sz="1600" dirty="0" smtClean="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Support</a:t>
            </a:r>
            <a:br>
              <a:rPr lang="en-US" sz="1600" dirty="0" smtClean="0">
                <a:solidFill>
                  <a:schemeClr val="bg1"/>
                </a:solidFill>
                <a:latin typeface="Arial" pitchFamily="34" charset="0"/>
                <a:ea typeface="ＭＳ Ｐゴシック" charset="-128"/>
              </a:rPr>
            </a:br>
            <a:r>
              <a:rPr lang="en-US" sz="1600" dirty="0" smtClean="0">
                <a:solidFill>
                  <a:schemeClr val="bg1"/>
                </a:solidFill>
                <a:latin typeface="Arial" pitchFamily="34" charset="0"/>
                <a:ea typeface="ＭＳ Ｐゴシック" charset="-128"/>
              </a:rPr>
              <a:t>… </a:t>
            </a:r>
          </a:p>
        </p:txBody>
      </p:sp>
      <p:pic>
        <p:nvPicPr>
          <p:cNvPr id="2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113" y="1333070"/>
            <a:ext cx="652211" cy="65221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9340" y="2473820"/>
            <a:ext cx="903178" cy="90317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0113" y="2910952"/>
            <a:ext cx="718426" cy="61633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7557" y="4516867"/>
            <a:ext cx="702368" cy="70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37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Callout 2 4"/>
          <p:cNvSpPr/>
          <p:nvPr/>
        </p:nvSpPr>
        <p:spPr bwMode="auto">
          <a:xfrm flipH="1">
            <a:off x="142874" y="1747307"/>
            <a:ext cx="4638673" cy="3634318"/>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solidFill>
                  <a:srgbClr val="FFFFFF"/>
                </a:solidFill>
                <a:ea typeface="Arial Unicode MS" panose="020B0604020202020204" pitchFamily="34" charset="-128"/>
                <a:cs typeface="Arial Unicode MS" panose="020B0604020202020204" pitchFamily="34" charset="-128"/>
              </a:rPr>
              <a:t>What is OPC UA and why is it important for MindSphere communication? </a:t>
            </a:r>
          </a:p>
          <a:p>
            <a:pPr algn="ctr">
              <a:lnSpc>
                <a:spcPct val="110000"/>
              </a:lnSpc>
              <a:spcBef>
                <a:spcPct val="0"/>
              </a:spcBef>
              <a:buFont typeface="Wingdings" charset="0"/>
              <a:buNone/>
            </a:pPr>
            <a:endParaRPr lang="en-US"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en-US" b="1" dirty="0">
                <a:solidFill>
                  <a:srgbClr val="FFFFFF"/>
                </a:solidFill>
                <a:ea typeface="Arial Unicode MS" panose="020B0604020202020204" pitchFamily="34" charset="-128"/>
                <a:cs typeface="Arial Unicode MS" panose="020B0604020202020204" pitchFamily="34" charset="-128"/>
              </a:rPr>
              <a:t>OPC UA is a M2M communication protocol for industrial automation developed by the OPC Foundation. It is an open, cross-platform, Service-oriented architecture with robust security.</a:t>
            </a:r>
          </a:p>
          <a:p>
            <a:pPr algn="ctr">
              <a:lnSpc>
                <a:spcPct val="110000"/>
              </a:lnSpc>
              <a:spcBef>
                <a:spcPct val="0"/>
              </a:spcBef>
              <a:buFont typeface="Wingdings" charset="0"/>
              <a:buNone/>
            </a:pPr>
            <a:r>
              <a:rPr lang="en-US" b="1" dirty="0">
                <a:solidFill>
                  <a:srgbClr val="FFFFFF"/>
                </a:solidFill>
                <a:ea typeface="Arial Unicode MS" panose="020B0604020202020204" pitchFamily="34" charset="-128"/>
                <a:cs typeface="Arial Unicode MS" panose="020B0604020202020204" pitchFamily="34" charset="-128"/>
              </a:rPr>
              <a:t>By being able to use OPC UA, MindSphere becomes an open source platform to connect 3rd party assets</a:t>
            </a:r>
            <a:r>
              <a:rPr lang="en-US" dirty="0">
                <a:solidFill>
                  <a:srgbClr val="FFFFFF"/>
                </a:solidFill>
                <a:ea typeface="Arial Unicode MS" panose="020B0604020202020204" pitchFamily="34" charset="-128"/>
                <a:cs typeface="Arial Unicode MS" panose="020B0604020202020204" pitchFamily="34" charset="-128"/>
              </a:rPr>
              <a:t>.</a:t>
            </a:r>
          </a:p>
        </p:txBody>
      </p:sp>
      <p:sp>
        <p:nvSpPr>
          <p:cNvPr id="2" name="Title 1"/>
          <p:cNvSpPr>
            <a:spLocks noGrp="1"/>
          </p:cNvSpPr>
          <p:nvPr>
            <p:ph type="title"/>
          </p:nvPr>
        </p:nvSpPr>
        <p:spPr/>
        <p:txBody>
          <a:bodyPr/>
          <a:lstStyle/>
          <a:p>
            <a:r>
              <a:rPr lang="de-DE" dirty="0" smtClean="0">
                <a:solidFill>
                  <a:srgbClr val="00646E"/>
                </a:solidFill>
              </a:rPr>
              <a:t>MindSphere </a:t>
            </a:r>
            <a:r>
              <a:rPr lang="de-DE" dirty="0" err="1" smtClean="0">
                <a:solidFill>
                  <a:srgbClr val="00646E"/>
                </a:solidFill>
              </a:rPr>
              <a:t>Launchpad</a:t>
            </a:r>
            <a:r>
              <a:rPr lang="de-DE" dirty="0" smtClean="0">
                <a:solidFill>
                  <a:srgbClr val="00646E"/>
                </a:solidFill>
              </a:rPr>
              <a:t/>
            </a:r>
            <a:br>
              <a:rPr lang="de-DE" dirty="0" smtClean="0">
                <a:solidFill>
                  <a:srgbClr val="00646E"/>
                </a:solidFill>
              </a:rPr>
            </a:br>
            <a:r>
              <a:rPr lang="en-US" b="0" dirty="0" smtClean="0">
                <a:solidFill>
                  <a:srgbClr val="00646E"/>
                </a:solidFill>
              </a:rPr>
              <a:t>Summary</a:t>
            </a:r>
            <a:endParaRPr lang="en-US" dirty="0">
              <a:solidFill>
                <a:srgbClr val="00646E"/>
              </a:solidFill>
            </a:endParaRPr>
          </a:p>
        </p:txBody>
      </p:sp>
    </p:spTree>
    <p:extLst>
      <p:ext uri="{BB962C8B-B14F-4D97-AF65-F5344CB8AC3E}">
        <p14:creationId xmlns:p14="http://schemas.microsoft.com/office/powerpoint/2010/main" val="274478117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111654"/>
            <a:ext cx="9297988" cy="172416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MindSphere Assets</a:t>
            </a:r>
          </a:p>
          <a:p>
            <a:r>
              <a:rPr lang="de-DE" sz="3200" kern="0" dirty="0" err="1" smtClean="0">
                <a:solidFill>
                  <a:schemeClr val="tx1"/>
                </a:solidFill>
              </a:rPr>
              <a:t>Configuration</a:t>
            </a:r>
            <a:r>
              <a:rPr lang="de-DE" sz="3200" kern="0" dirty="0" smtClean="0">
                <a:solidFill>
                  <a:schemeClr val="tx1"/>
                </a:solidFill>
              </a:rPr>
              <a:t> </a:t>
            </a:r>
            <a:r>
              <a:rPr lang="de-DE" sz="3200" kern="0" dirty="0" err="1" smtClean="0">
                <a:solidFill>
                  <a:schemeClr val="tx1"/>
                </a:solidFill>
              </a:rPr>
              <a:t>of</a:t>
            </a:r>
            <a:r>
              <a:rPr lang="de-DE" sz="3200" kern="0" dirty="0" smtClean="0">
                <a:solidFill>
                  <a:schemeClr val="tx1"/>
                </a:solidFill>
              </a:rPr>
              <a:t> MindConnect FB</a:t>
            </a:r>
            <a:endParaRPr lang="en-US" sz="3200" kern="0" dirty="0">
              <a:solidFill>
                <a:schemeClr val="tx1"/>
              </a:solidFill>
            </a:endParaRPr>
          </a:p>
          <a:p>
            <a:r>
              <a:rPr lang="en-US" sz="1999" kern="0" dirty="0" smtClean="0">
                <a:solidFill>
                  <a:schemeClr val="tx1"/>
                </a:solidFill>
              </a:rPr>
              <a:t>2018</a:t>
            </a:r>
            <a:endParaRPr lang="en-US" sz="1999" b="0" kern="0" dirty="0">
              <a:solidFill>
                <a:schemeClr val="tx1"/>
              </a:solidFill>
            </a:endParaRPr>
          </a:p>
        </p:txBody>
      </p:sp>
    </p:spTree>
    <p:extLst>
      <p:ext uri="{BB962C8B-B14F-4D97-AF65-F5344CB8AC3E}">
        <p14:creationId xmlns:p14="http://schemas.microsoft.com/office/powerpoint/2010/main" val="2428644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t>
            </a:r>
            <a:r>
              <a:rPr lang="de-DE" dirty="0" smtClean="0">
                <a:solidFill>
                  <a:srgbClr val="00646E"/>
                </a:solidFill>
              </a:rPr>
              <a:t>Assets</a:t>
            </a:r>
            <a:r>
              <a:rPr lang="de-DE" dirty="0">
                <a:solidFill>
                  <a:srgbClr val="00646E"/>
                </a:solidFill>
              </a:rPr>
              <a:t/>
            </a:r>
            <a:br>
              <a:rPr lang="de-DE" dirty="0">
                <a:solidFill>
                  <a:srgbClr val="00646E"/>
                </a:solidFill>
              </a:rPr>
            </a:br>
            <a:r>
              <a:rPr lang="en-US" b="0" dirty="0" smtClean="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286031"/>
            <a:ext cx="4732072"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Configure </a:t>
            </a:r>
            <a:r>
              <a:rPr lang="en-US" sz="2000" b="0" dirty="0" err="1"/>
              <a:t>MindConnect</a:t>
            </a:r>
            <a:r>
              <a:rPr lang="en-US" sz="2000" b="0" dirty="0"/>
              <a:t> FB in TIA-Portal</a:t>
            </a:r>
          </a:p>
          <a:p>
            <a:pPr marL="324000" indent="-285750">
              <a:buFont typeface="Arial" panose="020B0604020202020204" pitchFamily="34" charset="0"/>
              <a:buChar char="•"/>
            </a:pPr>
            <a:r>
              <a:rPr lang="en-US" sz="2000" b="0" dirty="0"/>
              <a:t>Onboard </a:t>
            </a:r>
            <a:r>
              <a:rPr lang="en-US" sz="2000" b="0" dirty="0" err="1"/>
              <a:t>MindConnect</a:t>
            </a:r>
            <a:r>
              <a:rPr lang="en-US" sz="2000" b="0" dirty="0"/>
              <a:t> FB to MindSphere</a:t>
            </a:r>
          </a:p>
        </p:txBody>
      </p:sp>
      <p:sp>
        <p:nvSpPr>
          <p:cNvPr id="5" name="Line Callout 2 4"/>
          <p:cNvSpPr/>
          <p:nvPr/>
        </p:nvSpPr>
        <p:spPr bwMode="auto">
          <a:xfrm flipH="1">
            <a:off x="626737" y="1680633"/>
            <a:ext cx="3391810" cy="1806845"/>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b="1" dirty="0" err="1">
                <a:solidFill>
                  <a:srgbClr val="FFFFFF"/>
                </a:solidFill>
                <a:ea typeface="Arial Unicode MS" panose="020B0604020202020204" pitchFamily="34" charset="-128"/>
                <a:cs typeface="Arial Unicode MS" panose="020B0604020202020204" pitchFamily="34" charset="-128"/>
              </a:rPr>
              <a:t>What</a:t>
            </a:r>
            <a:r>
              <a:rPr lang="de-DE" b="1" dirty="0">
                <a:solidFill>
                  <a:srgbClr val="FFFFFF"/>
                </a:solidFill>
                <a:ea typeface="Arial Unicode MS" panose="020B0604020202020204" pitchFamily="34" charset="-128"/>
                <a:cs typeface="Arial Unicode MS" panose="020B0604020202020204" pitchFamily="34" charset="-128"/>
              </a:rPr>
              <a:t> is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MindConnect</a:t>
            </a:r>
            <a:r>
              <a:rPr lang="de-DE" b="1" dirty="0">
                <a:solidFill>
                  <a:srgbClr val="FFFFFF"/>
                </a:solidFill>
                <a:ea typeface="Arial Unicode MS" panose="020B0604020202020204" pitchFamily="34" charset="-128"/>
                <a:cs typeface="Arial Unicode MS" panose="020B0604020202020204" pitchFamily="34" charset="-128"/>
              </a:rPr>
              <a:t> FB</a:t>
            </a:r>
          </a:p>
          <a:p>
            <a:pPr algn="ctr">
              <a:lnSpc>
                <a:spcPct val="110000"/>
              </a:lnSpc>
              <a:spcBef>
                <a:spcPct val="0"/>
              </a:spcBef>
              <a:buFont typeface="Wingdings" charset="0"/>
              <a:buNone/>
            </a:pPr>
            <a:r>
              <a:rPr lang="de-DE" b="1" dirty="0" err="1">
                <a:solidFill>
                  <a:srgbClr val="FFFFFF"/>
                </a:solidFill>
                <a:ea typeface="Arial Unicode MS" panose="020B0604020202020204" pitchFamily="34" charset="-128"/>
                <a:cs typeface="Arial Unicode MS" panose="020B0604020202020204" pitchFamily="34" charset="-128"/>
              </a:rPr>
              <a:t>And</a:t>
            </a: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MindConnect</a:t>
            </a:r>
            <a:r>
              <a:rPr lang="de-DE" b="1" dirty="0">
                <a:solidFill>
                  <a:srgbClr val="FFFFFF"/>
                </a:solidFill>
                <a:ea typeface="Arial Unicode MS" panose="020B0604020202020204" pitchFamily="34" charset="-128"/>
                <a:cs typeface="Arial Unicode MS" panose="020B0604020202020204" pitchFamily="34" charset="-128"/>
              </a:rPr>
              <a:t> FB </a:t>
            </a:r>
            <a:r>
              <a:rPr lang="de-DE" b="1" dirty="0" err="1">
                <a:solidFill>
                  <a:srgbClr val="FFFFFF"/>
                </a:solidFill>
                <a:ea typeface="Arial Unicode MS" panose="020B0604020202020204" pitchFamily="34" charset="-128"/>
                <a:cs typeface="Arial Unicode MS" panose="020B0604020202020204" pitchFamily="34" charset="-128"/>
              </a:rPr>
              <a:t>onboarded</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a:t>
            </a:r>
            <a:r>
              <a:rPr lang="de-DE" b="1" dirty="0">
                <a:solidFill>
                  <a:srgbClr val="FFFFFF"/>
                </a:solidFill>
                <a:ea typeface="Arial Unicode MS" panose="020B0604020202020204" pitchFamily="34" charset="-128"/>
                <a:cs typeface="Arial Unicode MS" panose="020B0604020202020204" pitchFamily="34" charset="-128"/>
              </a:rPr>
              <a:t> MindSphere?</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26430308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186258" y="1437894"/>
            <a:ext cx="11731194" cy="792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a:lnSpc>
                <a:spcPct val="110000"/>
              </a:lnSpc>
              <a:spcBef>
                <a:spcPct val="0"/>
              </a:spcBef>
            </a:pPr>
            <a:r>
              <a:rPr lang="en-US" sz="1400" dirty="0">
                <a:solidFill>
                  <a:sysClr val="windowText" lastClr="000000"/>
                </a:solidFill>
              </a:rPr>
              <a:t>MindConnect FB is a TIA Portal STEP7 </a:t>
            </a:r>
            <a:r>
              <a:rPr lang="en-US" sz="1400" dirty="0" smtClean="0">
                <a:solidFill>
                  <a:sysClr val="windowText" lastClr="000000"/>
                </a:solidFill>
              </a:rPr>
              <a:t>Library </a:t>
            </a:r>
            <a:r>
              <a:rPr lang="en-US" sz="1400" dirty="0">
                <a:solidFill>
                  <a:sysClr val="windowText" lastClr="000000"/>
                </a:solidFill>
              </a:rPr>
              <a:t>to extend the functionality of the S7-1500 PLC. It supports encrypted transmission of PLC data to MindSphere through a secure internet connection, to enable cloud-based applications and services. </a:t>
            </a:r>
          </a:p>
        </p:txBody>
      </p:sp>
      <p:sp>
        <p:nvSpPr>
          <p:cNvPr id="2" name="Titel 1"/>
          <p:cNvSpPr>
            <a:spLocks noGrp="1"/>
          </p:cNvSpPr>
          <p:nvPr>
            <p:ph type="title"/>
          </p:nvPr>
        </p:nvSpPr>
        <p:spPr/>
        <p:txBody>
          <a:bodyPr/>
          <a:lstStyle/>
          <a:p>
            <a:r>
              <a:rPr lang="en-US" dirty="0" smtClean="0"/>
              <a:t>MindSphere Connectivity Suite</a:t>
            </a:r>
            <a:br>
              <a:rPr lang="en-US" dirty="0" smtClean="0"/>
            </a:br>
            <a:r>
              <a:rPr lang="en-US" b="0" dirty="0"/>
              <a:t>MindConnect FB 1500* </a:t>
            </a:r>
          </a:p>
        </p:txBody>
      </p:sp>
      <p:sp>
        <p:nvSpPr>
          <p:cNvPr id="10" name="Rechteck 9"/>
          <p:cNvSpPr/>
          <p:nvPr>
            <p:custDataLst>
              <p:tags r:id="rId1"/>
            </p:custDataLst>
          </p:nvPr>
        </p:nvSpPr>
        <p:spPr bwMode="auto">
          <a:xfrm>
            <a:off x="186258" y="2389673"/>
            <a:ext cx="11731194" cy="1728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Fast and easy connectivity of industrial machines and automation systems to MindSphere</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Simple configuration and commissioning - Configure your data model in STEP 7 (TIA Portal V14)</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No additional hardware needed </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Unencrypted onsite (local) traffic which allows local package inspection</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Comprehensive security concept in accordance with applicable industry standards</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Local data buffering possible </a:t>
            </a:r>
          </a:p>
        </p:txBody>
      </p:sp>
      <p:sp>
        <p:nvSpPr>
          <p:cNvPr id="14" name="Rechteck 13"/>
          <p:cNvSpPr/>
          <p:nvPr/>
        </p:nvSpPr>
        <p:spPr bwMode="auto">
          <a:xfrm>
            <a:off x="215371" y="4277452"/>
            <a:ext cx="11731194" cy="108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1588" lvl="1">
              <a:lnSpc>
                <a:spcPct val="110000"/>
              </a:lnSpc>
              <a:spcBef>
                <a:spcPts val="0"/>
              </a:spcBef>
              <a:buClr>
                <a:schemeClr val="accent1"/>
              </a:buClr>
              <a:buSzPts val="1400"/>
            </a:pPr>
            <a:r>
              <a:rPr lang="en-US" sz="1400" dirty="0">
                <a:solidFill>
                  <a:sysClr val="windowText" lastClr="000000"/>
                </a:solidFill>
              </a:rPr>
              <a:t>S7-1500 acts as gateway into </a:t>
            </a:r>
            <a:r>
              <a:rPr lang="en-US" sz="1400" dirty="0">
                <a:solidFill>
                  <a:schemeClr val="tx1"/>
                </a:solidFill>
              </a:rPr>
              <a:t>field-level which </a:t>
            </a:r>
            <a:r>
              <a:rPr lang="en-US" sz="1400" dirty="0">
                <a:solidFill>
                  <a:sysClr val="windowText" lastClr="000000"/>
                </a:solidFill>
              </a:rPr>
              <a:t>allows access to various data sources</a:t>
            </a:r>
          </a:p>
        </p:txBody>
      </p:sp>
      <p:sp>
        <p:nvSpPr>
          <p:cNvPr id="19" name="Rechteck 18"/>
          <p:cNvSpPr/>
          <p:nvPr/>
        </p:nvSpPr>
        <p:spPr bwMode="auto">
          <a:xfrm>
            <a:off x="186258" y="5517232"/>
            <a:ext cx="11731194" cy="720000"/>
          </a:xfrm>
          <a:prstGeom prst="rect">
            <a:avLst/>
          </a:prstGeom>
          <a:solidFill>
            <a:schemeClr val="bg1">
              <a:alpha val="75000"/>
            </a:schemeClr>
          </a:solidFill>
          <a:ln>
            <a:noFill/>
          </a:ln>
          <a:effectLst/>
          <a:extLst/>
        </p:spPr>
        <p:txBody>
          <a:bodyPr wrap="square" lIns="1908000" tIns="54000" rIns="108000" bIns="54000" numCol="1" spcCol="72000" rtlCol="0" anchor="ctr">
            <a:noAutofit/>
          </a:bodyPr>
          <a:lstStyle/>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reading cycle: Up to 110 data points per second can be configured in TIA Portal (the exact amount of data points depends on each controller)</a:t>
            </a:r>
          </a:p>
          <a:p>
            <a:pPr marL="93663" lvl="1" indent="-92075">
              <a:lnSpc>
                <a:spcPct val="110000"/>
              </a:lnSpc>
              <a:spcBef>
                <a:spcPts val="0"/>
              </a:spcBef>
              <a:buClr>
                <a:srgbClr val="00646E"/>
              </a:buClr>
              <a:buSzPts val="1400"/>
              <a:buFont typeface="Arial" panose="020B0604020202020204" pitchFamily="34" charset="0"/>
              <a:buChar char="•"/>
            </a:pPr>
            <a:r>
              <a:rPr lang="en-US" sz="1400" dirty="0">
                <a:solidFill>
                  <a:schemeClr val="tx1"/>
                </a:solidFill>
              </a:rPr>
              <a:t>Data transfer cycle: Every 10 seconds</a:t>
            </a:r>
          </a:p>
        </p:txBody>
      </p:sp>
      <p:sp>
        <p:nvSpPr>
          <p:cNvPr id="8" name="Textfeld 7"/>
          <p:cNvSpPr txBox="1"/>
          <p:nvPr/>
        </p:nvSpPr>
        <p:spPr>
          <a:xfrm>
            <a:off x="931550" y="1739912"/>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Description</a:t>
            </a:r>
          </a:p>
        </p:txBody>
      </p:sp>
      <p:sp>
        <p:nvSpPr>
          <p:cNvPr id="31" name="Textfeld 30"/>
          <p:cNvSpPr txBox="1"/>
          <p:nvPr/>
        </p:nvSpPr>
        <p:spPr>
          <a:xfrm>
            <a:off x="931550" y="3158445"/>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Benefits</a:t>
            </a:r>
          </a:p>
        </p:txBody>
      </p:sp>
      <p:sp>
        <p:nvSpPr>
          <p:cNvPr id="35" name="Textfeld 34"/>
          <p:cNvSpPr txBox="1"/>
          <p:nvPr/>
        </p:nvSpPr>
        <p:spPr>
          <a:xfrm>
            <a:off x="931550" y="4597334"/>
            <a:ext cx="1259344" cy="473976"/>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Supporting</a:t>
            </a:r>
            <a:r>
              <a:rPr lang="en-US" sz="1400" b="1" dirty="0">
                <a:solidFill>
                  <a:srgbClr val="0F8287"/>
                </a:solidFill>
              </a:rPr>
              <a:t> </a:t>
            </a:r>
            <a:r>
              <a:rPr lang="en-US" sz="1400" b="1" dirty="0">
                <a:solidFill>
                  <a:srgbClr val="00646E"/>
                </a:solidFill>
              </a:rPr>
              <a:t>Protocols</a:t>
            </a:r>
          </a:p>
        </p:txBody>
      </p:sp>
      <p:sp>
        <p:nvSpPr>
          <p:cNvPr id="36" name="Textfeld 35"/>
          <p:cNvSpPr txBox="1"/>
          <p:nvPr/>
        </p:nvSpPr>
        <p:spPr>
          <a:xfrm>
            <a:off x="931550" y="5775180"/>
            <a:ext cx="1259344" cy="236988"/>
          </a:xfrm>
          <a:prstGeom prst="rect">
            <a:avLst/>
          </a:prstGeom>
          <a:noFill/>
        </p:spPr>
        <p:txBody>
          <a:bodyPr wrap="square" lIns="0" tIns="0" rIns="0" bIns="0" rtlCol="0">
            <a:spAutoFit/>
          </a:bodyPr>
          <a:lstStyle/>
          <a:p>
            <a:pPr>
              <a:lnSpc>
                <a:spcPct val="110000"/>
              </a:lnSpc>
              <a:spcBef>
                <a:spcPts val="0"/>
              </a:spcBef>
            </a:pPr>
            <a:r>
              <a:rPr lang="en-US" sz="1400" b="1" dirty="0">
                <a:solidFill>
                  <a:srgbClr val="00646E"/>
                </a:solidFill>
              </a:rPr>
              <a:t>Performance</a:t>
            </a:r>
          </a:p>
        </p:txBody>
      </p:sp>
      <p:pic>
        <p:nvPicPr>
          <p:cNvPr id="2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5193" r="53761"/>
          <a:stretch/>
        </p:blipFill>
        <p:spPr bwMode="auto">
          <a:xfrm>
            <a:off x="9883667" y="2492896"/>
            <a:ext cx="1862018" cy="1816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feld 22"/>
          <p:cNvSpPr txBox="1"/>
          <p:nvPr/>
        </p:nvSpPr>
        <p:spPr>
          <a:xfrm>
            <a:off x="7369291" y="6237391"/>
            <a:ext cx="4264973" cy="169277"/>
          </a:xfrm>
          <a:prstGeom prst="rect">
            <a:avLst/>
          </a:prstGeom>
          <a:noFill/>
        </p:spPr>
        <p:txBody>
          <a:bodyPr wrap="non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1100" b="0" i="0" u="none" strike="noStrike" kern="0" cap="none" spc="0" normalizeH="0" baseline="0" noProof="0" dirty="0" smtClean="0">
                <a:ln>
                  <a:noFill/>
                </a:ln>
                <a:solidFill>
                  <a:srgbClr val="000000"/>
                </a:solidFill>
                <a:effectLst/>
                <a:uLnTx/>
                <a:uFillTx/>
              </a:rPr>
              <a:t>* Compatible</a:t>
            </a:r>
            <a:r>
              <a:rPr kumimoji="0" lang="en-US" sz="1100" b="0" i="0" u="none" strike="noStrike" kern="0" cap="none" spc="0" normalizeH="0" noProof="0" dirty="0" smtClean="0">
                <a:ln>
                  <a:noFill/>
                </a:ln>
                <a:solidFill>
                  <a:srgbClr val="000000"/>
                </a:solidFill>
                <a:effectLst/>
                <a:uLnTx/>
                <a:uFillTx/>
              </a:rPr>
              <a:t> with S7-1511 to S7-1518 with firmware 2.0 or higher  </a:t>
            </a:r>
            <a:endParaRPr kumimoji="0" lang="en-US" sz="1100" b="0" i="0" u="none" strike="noStrike" kern="0" cap="none" spc="0" normalizeH="0" baseline="0" noProof="0" dirty="0" smtClean="0">
              <a:ln>
                <a:noFill/>
              </a:ln>
              <a:solidFill>
                <a:srgbClr val="000000"/>
              </a:solidFill>
              <a:effectLst/>
              <a:uLnTx/>
              <a:uFillTx/>
            </a:endParaRPr>
          </a:p>
        </p:txBody>
      </p:sp>
      <p:pic>
        <p:nvPicPr>
          <p:cNvPr id="20" name="Bild 42"/>
          <p:cNvPicPr>
            <a:picLocks noChangeAspect="1"/>
          </p:cNvPicPr>
          <p:nvPr/>
        </p:nvPicPr>
        <p:blipFill>
          <a:blip r:embed="rId7">
            <a:duotone>
              <a:schemeClr val="accent5">
                <a:shade val="45000"/>
                <a:satMod val="135000"/>
              </a:schemeClr>
              <a:prstClr val="white"/>
            </a:duotone>
          </a:blip>
          <a:stretch>
            <a:fillRect/>
          </a:stretch>
        </p:blipFill>
        <p:spPr>
          <a:xfrm>
            <a:off x="277975" y="5617174"/>
            <a:ext cx="539719" cy="513443"/>
          </a:xfrm>
          <a:prstGeom prst="rect">
            <a:avLst/>
          </a:prstGeom>
        </p:spPr>
      </p:pic>
      <p:grpSp>
        <p:nvGrpSpPr>
          <p:cNvPr id="24" name="Group 23"/>
          <p:cNvGrpSpPr/>
          <p:nvPr/>
        </p:nvGrpSpPr>
        <p:grpSpPr>
          <a:xfrm>
            <a:off x="295966" y="2992401"/>
            <a:ext cx="503738" cy="513204"/>
            <a:chOff x="296120" y="2992401"/>
            <a:chExt cx="504000" cy="513204"/>
          </a:xfrm>
        </p:grpSpPr>
        <p:sp>
          <p:nvSpPr>
            <p:cNvPr id="25" name="Freeform 20"/>
            <p:cNvSpPr>
              <a:spLocks/>
            </p:cNvSpPr>
            <p:nvPr/>
          </p:nvSpPr>
          <p:spPr bwMode="gray">
            <a:xfrm>
              <a:off x="449688" y="2992401"/>
              <a:ext cx="350432" cy="513204"/>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1"/>
            <p:cNvSpPr>
              <a:spLocks/>
            </p:cNvSpPr>
            <p:nvPr/>
          </p:nvSpPr>
          <p:spPr bwMode="gray">
            <a:xfrm>
              <a:off x="296120" y="3228898"/>
              <a:ext cx="123125" cy="249446"/>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solidFill>
              <a:srgbClr val="004D76">
                <a:alpha val="6902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27" name="general-information.png"/>
          <p:cNvPicPr>
            <a:picLocks noChangeAspect="1"/>
          </p:cNvPicPr>
          <p:nvPr>
            <p:custDataLst>
              <p:tags r:id="rId2"/>
            </p:custDataLst>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31947" y="1625478"/>
            <a:ext cx="431775" cy="432000"/>
          </a:xfrm>
          <a:prstGeom prst="rect">
            <a:avLst/>
          </a:prstGeom>
        </p:spPr>
      </p:pic>
      <p:pic>
        <p:nvPicPr>
          <p:cNvPr id="28" name="general_communication.png"/>
          <p:cNvPicPr>
            <a:picLocks noChangeAspect="1"/>
          </p:cNvPicPr>
          <p:nvPr>
            <p:custDataLst>
              <p:tags r:id="rId3"/>
            </p:custDataLst>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59985" y="4530970"/>
            <a:ext cx="575700" cy="576000"/>
          </a:xfrm>
          <a:prstGeom prst="rect">
            <a:avLst/>
          </a:prstGeom>
        </p:spPr>
      </p:pic>
      <p:sp>
        <p:nvSpPr>
          <p:cNvPr id="21" name="Textfeld 76"/>
          <p:cNvSpPr txBox="1"/>
          <p:nvPr/>
        </p:nvSpPr>
        <p:spPr>
          <a:xfrm>
            <a:off x="547835" y="95464"/>
            <a:ext cx="3163343" cy="218586"/>
          </a:xfrm>
          <a:prstGeom prst="rect">
            <a:avLst/>
          </a:prstGeom>
          <a:noFill/>
        </p:spPr>
        <p:txBody>
          <a:bodyPr wrap="square" lIns="0" tIns="0" rIns="0" bIns="0" rtlCol="0">
            <a:spAutoFit/>
          </a:bodyPr>
          <a:lstStyle/>
          <a:p>
            <a:pPr algn="l">
              <a:lnSpc>
                <a:spcPct val="110000"/>
              </a:lnSpc>
              <a:spcBef>
                <a:spcPts val="0"/>
              </a:spcBef>
            </a:pPr>
            <a:r>
              <a:rPr lang="en-US" sz="1400" b="1" dirty="0" smtClean="0">
                <a:solidFill>
                  <a:srgbClr val="004669"/>
                </a:solidFill>
              </a:rPr>
              <a:t>Integrated Gateway</a:t>
            </a:r>
            <a:endParaRPr lang="en-US" sz="1400" dirty="0" smtClean="0">
              <a:solidFill>
                <a:srgbClr val="004669"/>
              </a:solidFill>
            </a:endParaRPr>
          </a:p>
        </p:txBody>
      </p:sp>
      <p:sp>
        <p:nvSpPr>
          <p:cNvPr id="29" name="Oval 16"/>
          <p:cNvSpPr/>
          <p:nvPr/>
        </p:nvSpPr>
        <p:spPr bwMode="gray">
          <a:xfrm>
            <a:off x="47085" y="95464"/>
            <a:ext cx="252000" cy="252000"/>
          </a:xfrm>
          <a:prstGeom prst="ellipse">
            <a:avLst/>
          </a:prstGeom>
          <a:solidFill>
            <a:srgbClr val="006487"/>
          </a:solidFill>
          <a:ln>
            <a:solidFill>
              <a:srgbClr val="006487"/>
            </a:solidFill>
          </a:ln>
          <a:extLst/>
        </p:spPr>
        <p:txBody>
          <a:bodyPr lIns="0" tIns="0" rIns="0" bIns="0" rtlCol="0" anchor="ctr" anchorCtr="0"/>
          <a:lstStyle/>
          <a:p>
            <a:pPr marL="0" indent="0" algn="ctr">
              <a:spcBef>
                <a:spcPts val="0"/>
              </a:spcBef>
            </a:pPr>
            <a:r>
              <a:rPr lang="en-US" sz="1200" b="1" dirty="0">
                <a:solidFill>
                  <a:srgbClr val="FFFFFF"/>
                </a:solidFill>
              </a:rPr>
              <a:t>2</a:t>
            </a:r>
            <a:endParaRPr lang="en-US" sz="1200" b="1" dirty="0" smtClean="0">
              <a:solidFill>
                <a:srgbClr val="FFFFFF"/>
              </a:solidFill>
            </a:endParaRPr>
          </a:p>
        </p:txBody>
      </p:sp>
    </p:spTree>
    <p:extLst>
      <p:ext uri="{BB962C8B-B14F-4D97-AF65-F5344CB8AC3E}">
        <p14:creationId xmlns:p14="http://schemas.microsoft.com/office/powerpoint/2010/main" val="28817632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indConnect FB</a:t>
            </a:r>
            <a:endParaRPr lang="en-US" dirty="0"/>
          </a:p>
        </p:txBody>
      </p:sp>
      <p:sp>
        <p:nvSpPr>
          <p:cNvPr id="3" name="Rechteck 2"/>
          <p:cNvSpPr/>
          <p:nvPr/>
        </p:nvSpPr>
        <p:spPr>
          <a:xfrm>
            <a:off x="637672" y="1396532"/>
            <a:ext cx="7925415" cy="2585323"/>
          </a:xfrm>
          <a:prstGeom prst="rect">
            <a:avLst/>
          </a:prstGeom>
        </p:spPr>
        <p:txBody>
          <a:bodyPr wrap="square">
            <a:spAutoFit/>
          </a:bodyPr>
          <a:lstStyle/>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Sample of data configuration of a motor with its data points “temperature”, “voltage” and “power” of the aspect “</a:t>
            </a:r>
            <a:r>
              <a:rPr lang="en-US" spc="-70" dirty="0" err="1">
                <a:solidFill>
                  <a:schemeClr val="dk1"/>
                </a:solidFill>
                <a:latin typeface="Arial" panose="020B0604020202020204" pitchFamily="34" charset="0"/>
                <a:ea typeface="Siemens Sans" charset="0"/>
                <a:cs typeface="Arial" panose="020B0604020202020204" pitchFamily="34" charset="0"/>
              </a:rPr>
              <a:t>PowerConsumption</a:t>
            </a:r>
            <a:r>
              <a:rPr lang="en-US" spc="-70" dirty="0">
                <a:solidFill>
                  <a:schemeClr val="dk1"/>
                </a:solidFill>
                <a:latin typeface="Arial" panose="020B0604020202020204" pitchFamily="34" charset="0"/>
                <a:ea typeface="Siemens Sans" charset="0"/>
                <a:cs typeface="Arial" panose="020B0604020202020204" pitchFamily="34" charset="0"/>
              </a:rPr>
              <a:t>” in MindSphere and STEP7 (TIA Portal) professional.</a:t>
            </a:r>
          </a:p>
          <a:p>
            <a:pPr marL="285750" indent="-285750">
              <a:buSzPct val="75000"/>
              <a:buFont typeface="Arial" charset="0"/>
              <a:buChar char="•"/>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Configuring steps:</a:t>
            </a:r>
          </a:p>
          <a:p>
            <a:pPr marL="285750" indent="-285750">
              <a:buSzPct val="75000"/>
              <a:buFont typeface="Arial" charset="0"/>
              <a:buChar char="•"/>
            </a:pPr>
            <a:endParaRPr lang="en-US" spc="-70" dirty="0">
              <a:solidFill>
                <a:schemeClr val="dk1"/>
              </a:solidFill>
              <a:latin typeface="Arial" panose="020B0604020202020204" pitchFamily="34" charset="0"/>
              <a:ea typeface="Siemens Sans" charset="0"/>
              <a:cs typeface="Arial" panose="020B0604020202020204" pitchFamily="34" charset="0"/>
            </a:endParaRP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Configure </a:t>
            </a:r>
            <a:r>
              <a:rPr lang="en-US" spc="-70" dirty="0" smtClean="0">
                <a:solidFill>
                  <a:schemeClr val="dk1"/>
                </a:solidFill>
                <a:latin typeface="Arial" panose="020B0604020202020204" pitchFamily="34" charset="0"/>
                <a:ea typeface="Siemens Sans" charset="0"/>
                <a:cs typeface="Arial" panose="020B0604020202020204" pitchFamily="34" charset="0"/>
              </a:rPr>
              <a:t>Asset in </a:t>
            </a:r>
            <a:r>
              <a:rPr lang="en-US" spc="-70" dirty="0">
                <a:solidFill>
                  <a:schemeClr val="dk1"/>
                </a:solidFill>
                <a:latin typeface="Arial" panose="020B0604020202020204" pitchFamily="34" charset="0"/>
                <a:ea typeface="Siemens Sans" charset="0"/>
                <a:cs typeface="Arial" panose="020B0604020202020204" pitchFamily="34" charset="0"/>
              </a:rPr>
              <a:t>MindSphere</a:t>
            </a:r>
          </a:p>
          <a:p>
            <a:pPr marL="285750" indent="-285750">
              <a:buSzPct val="75000"/>
              <a:buFont typeface="Arial" charset="0"/>
              <a:buChar char="•"/>
            </a:pPr>
            <a:r>
              <a:rPr lang="en-US" spc="-70" dirty="0">
                <a:solidFill>
                  <a:schemeClr val="dk1"/>
                </a:solidFill>
                <a:latin typeface="Arial" panose="020B0604020202020204" pitchFamily="34" charset="0"/>
                <a:ea typeface="Siemens Sans" charset="0"/>
                <a:cs typeface="Arial" panose="020B0604020202020204" pitchFamily="34" charset="0"/>
              </a:rPr>
              <a:t>Configure </a:t>
            </a:r>
            <a:r>
              <a:rPr lang="en-US" spc="-70" dirty="0" err="1" smtClean="0">
                <a:solidFill>
                  <a:schemeClr val="dk1"/>
                </a:solidFill>
                <a:latin typeface="Arial" panose="020B0604020202020204" pitchFamily="34" charset="0"/>
                <a:ea typeface="Siemens Sans" charset="0"/>
                <a:cs typeface="Arial" panose="020B0604020202020204" pitchFamily="34" charset="0"/>
              </a:rPr>
              <a:t>MindConnect</a:t>
            </a:r>
            <a:r>
              <a:rPr lang="en-US" spc="-70" dirty="0" smtClean="0">
                <a:solidFill>
                  <a:schemeClr val="dk1"/>
                </a:solidFill>
                <a:latin typeface="Arial" panose="020B0604020202020204" pitchFamily="34" charset="0"/>
                <a:ea typeface="Siemens Sans" charset="0"/>
                <a:cs typeface="Arial" panose="020B0604020202020204" pitchFamily="34" charset="0"/>
              </a:rPr>
              <a:t> FB in TIA Portal </a:t>
            </a:r>
            <a:endParaRPr lang="en-US" spc="-70" dirty="0">
              <a:solidFill>
                <a:schemeClr val="dk1"/>
              </a:solidFill>
              <a:latin typeface="Arial" panose="020B0604020202020204" pitchFamily="34" charset="0"/>
              <a:ea typeface="Siemens Sans" charset="0"/>
              <a:cs typeface="Arial" panose="020B0604020202020204" pitchFamily="34" charset="0"/>
            </a:endParaRPr>
          </a:p>
          <a:p>
            <a:pPr marL="285750" indent="-285750">
              <a:buSzPct val="75000"/>
              <a:buFont typeface="Arial" charset="0"/>
              <a:buChar char="•"/>
            </a:pPr>
            <a:r>
              <a:rPr lang="en-US" spc="-70" dirty="0" smtClean="0">
                <a:solidFill>
                  <a:schemeClr val="dk1"/>
                </a:solidFill>
                <a:latin typeface="Arial" panose="020B0604020202020204" pitchFamily="34" charset="0"/>
                <a:ea typeface="Siemens Sans" charset="0"/>
                <a:cs typeface="Arial" panose="020B0604020202020204" pitchFamily="34" charset="0"/>
              </a:rPr>
              <a:t>Start onboarding and data sending</a:t>
            </a:r>
            <a:endParaRPr lang="en-US" spc="-70" dirty="0">
              <a:solidFill>
                <a:schemeClr val="dk1"/>
              </a:solidFill>
              <a:latin typeface="Arial" panose="020B0604020202020204" pitchFamily="34" charset="0"/>
              <a:ea typeface="Siemens Sans" charset="0"/>
              <a:cs typeface="Arial" panose="020B0604020202020204" pitchFamily="34" charset="0"/>
            </a:endParaRPr>
          </a:p>
        </p:txBody>
      </p:sp>
      <p:sp>
        <p:nvSpPr>
          <p:cNvPr id="5" name="Abgerundete rechteckige Legende 4"/>
          <p:cNvSpPr/>
          <p:nvPr/>
        </p:nvSpPr>
        <p:spPr bwMode="auto">
          <a:xfrm>
            <a:off x="2960973" y="4171766"/>
            <a:ext cx="2462513" cy="1733963"/>
          </a:xfrm>
          <a:prstGeom prst="wedgeRoundRectCallout">
            <a:avLst>
              <a:gd name="adj1" fmla="val -98248"/>
              <a:gd name="adj2" fmla="val 1219"/>
              <a:gd name="adj3" fmla="val 16667"/>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300" smtClean="0">
                <a:solidFill>
                  <a:schemeClr val="bg1"/>
                </a:solidFill>
                <a:ea typeface="Arial Unicode MS" panose="020B0604020202020204" pitchFamily="34" charset="-128"/>
                <a:cs typeface="Arial Unicode MS" panose="020B0604020202020204" pitchFamily="34" charset="-128"/>
              </a:rPr>
              <a:t>To use the </a:t>
            </a:r>
            <a:r>
              <a:rPr lang="en-US" sz="1300" dirty="0">
                <a:solidFill>
                  <a:schemeClr val="bg1"/>
                </a:solidFill>
                <a:ea typeface="Arial Unicode MS" panose="020B0604020202020204" pitchFamily="34" charset="-128"/>
                <a:cs typeface="Arial Unicode MS" panose="020B0604020202020204" pitchFamily="34" charset="-128"/>
              </a:rPr>
              <a:t>MindConnect </a:t>
            </a:r>
            <a:r>
              <a:rPr lang="en-US" sz="1300" dirty="0" smtClean="0">
                <a:solidFill>
                  <a:schemeClr val="bg1"/>
                </a:solidFill>
                <a:ea typeface="Arial Unicode MS" panose="020B0604020202020204" pitchFamily="34" charset="-128"/>
                <a:cs typeface="Arial Unicode MS" panose="020B0604020202020204" pitchFamily="34" charset="-128"/>
              </a:rPr>
              <a:t>FB, TIA </a:t>
            </a:r>
            <a:r>
              <a:rPr lang="en-US" sz="1300" dirty="0">
                <a:solidFill>
                  <a:schemeClr val="bg1"/>
                </a:solidFill>
                <a:ea typeface="Arial Unicode MS" panose="020B0604020202020204" pitchFamily="34" charset="-128"/>
                <a:cs typeface="Arial Unicode MS" panose="020B0604020202020204" pitchFamily="34" charset="-128"/>
              </a:rPr>
              <a:t>Portal V14 and S7-1500 V2.x is </a:t>
            </a:r>
            <a:r>
              <a:rPr lang="en-US" sz="1300" dirty="0" smtClean="0">
                <a:solidFill>
                  <a:schemeClr val="bg1"/>
                </a:solidFill>
                <a:ea typeface="Arial Unicode MS" panose="020B0604020202020204" pitchFamily="34" charset="-128"/>
                <a:cs typeface="Arial Unicode MS" panose="020B0604020202020204" pitchFamily="34" charset="-128"/>
              </a:rPr>
              <a:t>needed!</a:t>
            </a:r>
            <a:endParaRPr lang="en-US" sz="1300" dirty="0">
              <a:solidFill>
                <a:schemeClr val="bg1"/>
              </a:solidFill>
              <a:ea typeface="Arial Unicode MS" panose="020B0604020202020204" pitchFamily="34" charset="-128"/>
              <a:cs typeface="Arial Unicode MS" panose="020B0604020202020204" pitchFamily="34" charset="-128"/>
            </a:endParaRPr>
          </a:p>
        </p:txBody>
      </p:sp>
      <p:grpSp>
        <p:nvGrpSpPr>
          <p:cNvPr id="6" name="Group 22"/>
          <p:cNvGrpSpPr/>
          <p:nvPr/>
        </p:nvGrpSpPr>
        <p:grpSpPr>
          <a:xfrm flipH="1">
            <a:off x="380813" y="4626023"/>
            <a:ext cx="1544960" cy="1438653"/>
            <a:chOff x="6676605" y="575869"/>
            <a:chExt cx="3103772" cy="2907071"/>
          </a:xfrm>
        </p:grpSpPr>
        <p:sp>
          <p:nvSpPr>
            <p:cNvPr id="7" name="Oval 4"/>
            <p:cNvSpPr/>
            <p:nvPr/>
          </p:nvSpPr>
          <p:spPr bwMode="auto">
            <a:xfrm>
              <a:off x="8019337" y="1651728"/>
              <a:ext cx="297431" cy="432604"/>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97848 w 681651"/>
                <a:gd name="connsiteY0" fmla="*/ 787222 h 1146094"/>
                <a:gd name="connsiteX1" fmla="*/ 6523 w 681651"/>
                <a:gd name="connsiteY1" fmla="*/ 134313 h 1146094"/>
                <a:gd name="connsiteX2" fmla="*/ 313114 w 681651"/>
                <a:gd name="connsiteY2" fmla="*/ 29933 h 1146094"/>
                <a:gd name="connsiteX3" fmla="*/ 617896 w 681651"/>
                <a:gd name="connsiteY3" fmla="*/ 54569 h 1146094"/>
                <a:gd name="connsiteX4" fmla="*/ 678418 w 681651"/>
                <a:gd name="connsiteY4" fmla="*/ 478497 h 1146094"/>
                <a:gd name="connsiteX5" fmla="*/ 548783 w 681651"/>
                <a:gd name="connsiteY5" fmla="*/ 883908 h 1146094"/>
                <a:gd name="connsiteX6" fmla="*/ 307798 w 681651"/>
                <a:gd name="connsiteY6" fmla="*/ 1145026 h 1146094"/>
                <a:gd name="connsiteX7" fmla="*/ 27789 w 681651"/>
                <a:gd name="connsiteY7" fmla="*/ 968969 h 1146094"/>
                <a:gd name="connsiteX8" fmla="*/ 97848 w 681651"/>
                <a:gd name="connsiteY8" fmla="*/ 787222 h 1146094"/>
                <a:gd name="connsiteX0" fmla="*/ 97848 w 617900"/>
                <a:gd name="connsiteY0" fmla="*/ 794721 h 1153593"/>
                <a:gd name="connsiteX1" fmla="*/ 6523 w 617900"/>
                <a:gd name="connsiteY1" fmla="*/ 141812 h 1153593"/>
                <a:gd name="connsiteX2" fmla="*/ 313114 w 617900"/>
                <a:gd name="connsiteY2" fmla="*/ 37432 h 1153593"/>
                <a:gd name="connsiteX3" fmla="*/ 617896 w 617900"/>
                <a:gd name="connsiteY3" fmla="*/ 62068 h 1153593"/>
                <a:gd name="connsiteX4" fmla="*/ 321179 w 617900"/>
                <a:gd name="connsiteY4" fmla="*/ 725247 h 1153593"/>
                <a:gd name="connsiteX5" fmla="*/ 548783 w 617900"/>
                <a:gd name="connsiteY5" fmla="*/ 891407 h 1153593"/>
                <a:gd name="connsiteX6" fmla="*/ 307798 w 617900"/>
                <a:gd name="connsiteY6" fmla="*/ 1152525 h 1153593"/>
                <a:gd name="connsiteX7" fmla="*/ 27789 w 617900"/>
                <a:gd name="connsiteY7" fmla="*/ 976468 h 1153593"/>
                <a:gd name="connsiteX8" fmla="*/ 97848 w 617900"/>
                <a:gd name="connsiteY8" fmla="*/ 794721 h 1153593"/>
                <a:gd name="connsiteX0" fmla="*/ 97848 w 617901"/>
                <a:gd name="connsiteY0" fmla="*/ 794721 h 1153593"/>
                <a:gd name="connsiteX1" fmla="*/ 6523 w 617901"/>
                <a:gd name="connsiteY1" fmla="*/ 141812 h 1153593"/>
                <a:gd name="connsiteX2" fmla="*/ 313114 w 617901"/>
                <a:gd name="connsiteY2" fmla="*/ 37432 h 1153593"/>
                <a:gd name="connsiteX3" fmla="*/ 617896 w 617901"/>
                <a:gd name="connsiteY3" fmla="*/ 62068 h 1153593"/>
                <a:gd name="connsiteX4" fmla="*/ 321179 w 617901"/>
                <a:gd name="connsiteY4" fmla="*/ 725247 h 1153593"/>
                <a:gd name="connsiteX5" fmla="*/ 417686 w 617901"/>
                <a:gd name="connsiteY5" fmla="*/ 970065 h 1153593"/>
                <a:gd name="connsiteX6" fmla="*/ 307798 w 617901"/>
                <a:gd name="connsiteY6" fmla="*/ 1152525 h 1153593"/>
                <a:gd name="connsiteX7" fmla="*/ 27789 w 617901"/>
                <a:gd name="connsiteY7" fmla="*/ 976468 h 1153593"/>
                <a:gd name="connsiteX8" fmla="*/ 97848 w 617901"/>
                <a:gd name="connsiteY8" fmla="*/ 794721 h 1153593"/>
                <a:gd name="connsiteX0" fmla="*/ 98666 w 618719"/>
                <a:gd name="connsiteY0" fmla="*/ 794721 h 1163465"/>
                <a:gd name="connsiteX1" fmla="*/ 7341 w 618719"/>
                <a:gd name="connsiteY1" fmla="*/ 141812 h 1163465"/>
                <a:gd name="connsiteX2" fmla="*/ 313932 w 618719"/>
                <a:gd name="connsiteY2" fmla="*/ 37432 h 1163465"/>
                <a:gd name="connsiteX3" fmla="*/ 618714 w 618719"/>
                <a:gd name="connsiteY3" fmla="*/ 62068 h 1163465"/>
                <a:gd name="connsiteX4" fmla="*/ 321997 w 618719"/>
                <a:gd name="connsiteY4" fmla="*/ 725247 h 1163465"/>
                <a:gd name="connsiteX5" fmla="*/ 418504 w 618719"/>
                <a:gd name="connsiteY5" fmla="*/ 970065 h 1163465"/>
                <a:gd name="connsiteX6" fmla="*/ 308616 w 618719"/>
                <a:gd name="connsiteY6" fmla="*/ 1152525 h 1163465"/>
                <a:gd name="connsiteX7" fmla="*/ 133484 w 618719"/>
                <a:gd name="connsiteY7" fmla="*/ 1117397 h 1163465"/>
                <a:gd name="connsiteX8" fmla="*/ 98666 w 618719"/>
                <a:gd name="connsiteY8" fmla="*/ 794721 h 1163465"/>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119484 w 616595"/>
                <a:gd name="connsiteY0" fmla="*/ 948760 h 1157793"/>
                <a:gd name="connsiteX1" fmla="*/ 5217 w 616595"/>
                <a:gd name="connsiteY1" fmla="*/ 141812 h 1157793"/>
                <a:gd name="connsiteX2" fmla="*/ 311808 w 616595"/>
                <a:gd name="connsiteY2" fmla="*/ 37432 h 1157793"/>
                <a:gd name="connsiteX3" fmla="*/ 616590 w 616595"/>
                <a:gd name="connsiteY3" fmla="*/ 62068 h 1157793"/>
                <a:gd name="connsiteX4" fmla="*/ 319873 w 616595"/>
                <a:gd name="connsiteY4" fmla="*/ 725247 h 1157793"/>
                <a:gd name="connsiteX5" fmla="*/ 416380 w 616595"/>
                <a:gd name="connsiteY5" fmla="*/ 970065 h 1157793"/>
                <a:gd name="connsiteX6" fmla="*/ 306492 w 616595"/>
                <a:gd name="connsiteY6" fmla="*/ 1152525 h 1157793"/>
                <a:gd name="connsiteX7" fmla="*/ 131360 w 616595"/>
                <a:gd name="connsiteY7" fmla="*/ 1117397 h 1157793"/>
                <a:gd name="connsiteX8" fmla="*/ 119484 w 616595"/>
                <a:gd name="connsiteY8" fmla="*/ 948760 h 1157793"/>
                <a:gd name="connsiteX0" fmla="*/ 463 w 497574"/>
                <a:gd name="connsiteY0" fmla="*/ 999775 h 1208808"/>
                <a:gd name="connsiteX1" fmla="*/ 192787 w 497574"/>
                <a:gd name="connsiteY1" fmla="*/ 88447 h 1208808"/>
                <a:gd name="connsiteX2" fmla="*/ 497569 w 497574"/>
                <a:gd name="connsiteY2" fmla="*/ 113083 h 1208808"/>
                <a:gd name="connsiteX3" fmla="*/ 200852 w 497574"/>
                <a:gd name="connsiteY3" fmla="*/ 776262 h 1208808"/>
                <a:gd name="connsiteX4" fmla="*/ 297359 w 497574"/>
                <a:gd name="connsiteY4" fmla="*/ 1021080 h 1208808"/>
                <a:gd name="connsiteX5" fmla="*/ 187471 w 497574"/>
                <a:gd name="connsiteY5" fmla="*/ 1203540 h 1208808"/>
                <a:gd name="connsiteX6" fmla="*/ 12339 w 497574"/>
                <a:gd name="connsiteY6" fmla="*/ 1168412 h 1208808"/>
                <a:gd name="connsiteX7" fmla="*/ 463 w 497574"/>
                <a:gd name="connsiteY7" fmla="*/ 999775 h 1208808"/>
                <a:gd name="connsiteX0" fmla="*/ 463 w 500185"/>
                <a:gd name="connsiteY0" fmla="*/ 888500 h 1097533"/>
                <a:gd name="connsiteX1" fmla="*/ 497569 w 500185"/>
                <a:gd name="connsiteY1" fmla="*/ 1808 h 1097533"/>
                <a:gd name="connsiteX2" fmla="*/ 200852 w 500185"/>
                <a:gd name="connsiteY2" fmla="*/ 664987 h 1097533"/>
                <a:gd name="connsiteX3" fmla="*/ 297359 w 500185"/>
                <a:gd name="connsiteY3" fmla="*/ 909805 h 1097533"/>
                <a:gd name="connsiteX4" fmla="*/ 187471 w 500185"/>
                <a:gd name="connsiteY4" fmla="*/ 1092265 h 1097533"/>
                <a:gd name="connsiteX5" fmla="*/ 12339 w 500185"/>
                <a:gd name="connsiteY5" fmla="*/ 1057137 h 1097533"/>
                <a:gd name="connsiteX6" fmla="*/ 463 w 500185"/>
                <a:gd name="connsiteY6" fmla="*/ 888500 h 1097533"/>
                <a:gd name="connsiteX0" fmla="*/ 463 w 297431"/>
                <a:gd name="connsiteY0" fmla="*/ 223571 h 432604"/>
                <a:gd name="connsiteX1" fmla="*/ 200852 w 297431"/>
                <a:gd name="connsiteY1" fmla="*/ 58 h 432604"/>
                <a:gd name="connsiteX2" fmla="*/ 297359 w 297431"/>
                <a:gd name="connsiteY2" fmla="*/ 244876 h 432604"/>
                <a:gd name="connsiteX3" fmla="*/ 187471 w 297431"/>
                <a:gd name="connsiteY3" fmla="*/ 427336 h 432604"/>
                <a:gd name="connsiteX4" fmla="*/ 12339 w 297431"/>
                <a:gd name="connsiteY4" fmla="*/ 392208 h 432604"/>
                <a:gd name="connsiteX5" fmla="*/ 463 w 297431"/>
                <a:gd name="connsiteY5" fmla="*/ 223571 h 4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431" h="432604">
                  <a:moveTo>
                    <a:pt x="463" y="223571"/>
                  </a:moveTo>
                  <a:cubicBezTo>
                    <a:pt x="31882" y="158213"/>
                    <a:pt x="151369" y="-3493"/>
                    <a:pt x="200852" y="58"/>
                  </a:cubicBezTo>
                  <a:cubicBezTo>
                    <a:pt x="250335" y="3609"/>
                    <a:pt x="299589" y="173663"/>
                    <a:pt x="297359" y="244876"/>
                  </a:cubicBezTo>
                  <a:cubicBezTo>
                    <a:pt x="295129" y="316089"/>
                    <a:pt x="274303" y="413159"/>
                    <a:pt x="187471" y="427336"/>
                  </a:cubicBezTo>
                  <a:cubicBezTo>
                    <a:pt x="100639" y="441513"/>
                    <a:pt x="43507" y="426169"/>
                    <a:pt x="12339" y="392208"/>
                  </a:cubicBezTo>
                  <a:cubicBezTo>
                    <a:pt x="-18829" y="358247"/>
                    <a:pt x="21487" y="386168"/>
                    <a:pt x="463" y="223571"/>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8" name="Freeform 504"/>
            <p:cNvSpPr/>
            <p:nvPr/>
          </p:nvSpPr>
          <p:spPr bwMode="auto">
            <a:xfrm>
              <a:off x="9415346" y="2312429"/>
              <a:ext cx="365031" cy="366353"/>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29766"/>
                <a:gd name="connsiteX1" fmla="*/ 31803 w 326714"/>
                <a:gd name="connsiteY1" fmla="*/ 52218 h 329766"/>
                <a:gd name="connsiteX2" fmla="*/ 31803 w 326714"/>
                <a:gd name="connsiteY2" fmla="*/ 23463 h 329766"/>
                <a:gd name="connsiteX3" fmla="*/ 60557 w 326714"/>
                <a:gd name="connsiteY3" fmla="*/ 20587 h 329766"/>
                <a:gd name="connsiteX4" fmla="*/ 73997 w 326714"/>
                <a:gd name="connsiteY4" fmla="*/ 59301 h 329766"/>
                <a:gd name="connsiteX5" fmla="*/ 70455 w 326714"/>
                <a:gd name="connsiteY5" fmla="*/ 139420 h 329766"/>
                <a:gd name="connsiteX6" fmla="*/ 191830 w 326714"/>
                <a:gd name="connsiteY6" fmla="*/ 42593 h 329766"/>
                <a:gd name="connsiteX7" fmla="*/ 256090 w 326714"/>
                <a:gd name="connsiteY7" fmla="*/ 459 h 329766"/>
                <a:gd name="connsiteX8" fmla="*/ 266986 w 326714"/>
                <a:gd name="connsiteY8" fmla="*/ 23463 h 329766"/>
                <a:gd name="connsiteX9" fmla="*/ 219646 w 326714"/>
                <a:gd name="connsiteY9" fmla="*/ 73284 h 329766"/>
                <a:gd name="connsiteX10" fmla="*/ 169825 w 326714"/>
                <a:gd name="connsiteY10" fmla="*/ 115478 h 329766"/>
                <a:gd name="connsiteX11" fmla="*/ 149697 w 326714"/>
                <a:gd name="connsiteY11" fmla="*/ 149984 h 329766"/>
                <a:gd name="connsiteX12" fmla="*/ 184203 w 326714"/>
                <a:gd name="connsiteY12" fmla="*/ 118353 h 329766"/>
                <a:gd name="connsiteX13" fmla="*/ 250944 w 326714"/>
                <a:gd name="connsiteY13" fmla="*/ 66261 h 329766"/>
                <a:gd name="connsiteX14" fmla="*/ 291594 w 326714"/>
                <a:gd name="connsiteY14" fmla="*/ 37840 h 329766"/>
                <a:gd name="connsiteX15" fmla="*/ 309785 w 326714"/>
                <a:gd name="connsiteY15" fmla="*/ 48676 h 329766"/>
                <a:gd name="connsiteX16" fmla="*/ 276218 w 326714"/>
                <a:gd name="connsiteY16" fmla="*/ 89599 h 329766"/>
                <a:gd name="connsiteX17" fmla="*/ 224459 w 326714"/>
                <a:gd name="connsiteY17" fmla="*/ 141357 h 329766"/>
                <a:gd name="connsiteX18" fmla="*/ 191890 w 326714"/>
                <a:gd name="connsiteY18" fmla="*/ 171050 h 329766"/>
                <a:gd name="connsiteX19" fmla="*/ 250005 w 326714"/>
                <a:gd name="connsiteY19" fmla="*/ 131127 h 329766"/>
                <a:gd name="connsiteX20" fmla="*/ 304035 w 326714"/>
                <a:gd name="connsiteY20" fmla="*/ 90204 h 329766"/>
                <a:gd name="connsiteX21" fmla="*/ 326099 w 326714"/>
                <a:gd name="connsiteY21" fmla="*/ 106851 h 329766"/>
                <a:gd name="connsiteX22" fmla="*/ 282302 w 326714"/>
                <a:gd name="connsiteY22" fmla="*/ 142356 h 329766"/>
                <a:gd name="connsiteX23" fmla="*/ 233086 w 326714"/>
                <a:gd name="connsiteY23" fmla="*/ 187365 h 329766"/>
                <a:gd name="connsiteX24" fmla="*/ 201456 w 326714"/>
                <a:gd name="connsiteY24" fmla="*/ 216119 h 329766"/>
                <a:gd name="connsiteX25" fmla="*/ 264716 w 326714"/>
                <a:gd name="connsiteY25" fmla="*/ 175863 h 329766"/>
                <a:gd name="connsiteX26" fmla="*/ 292533 w 326714"/>
                <a:gd name="connsiteY26" fmla="*/ 173925 h 329766"/>
                <a:gd name="connsiteX27" fmla="*/ 273342 w 326714"/>
                <a:gd name="connsiteY27" fmla="*/ 201742 h 329766"/>
                <a:gd name="connsiteX28" fmla="*/ 210082 w 326714"/>
                <a:gd name="connsiteY28" fmla="*/ 259251 h 329766"/>
                <a:gd name="connsiteX29" fmla="*/ 149697 w 326714"/>
                <a:gd name="connsiteY29" fmla="*/ 299508 h 329766"/>
                <a:gd name="connsiteX30" fmla="*/ 138195 w 326714"/>
                <a:gd name="connsiteY30" fmla="*/ 313885 h 329766"/>
                <a:gd name="connsiteX31" fmla="*/ 115191 w 326714"/>
                <a:gd name="connsiteY31" fmla="*/ 328263 h 329766"/>
                <a:gd name="connsiteX32" fmla="*/ 59891 w 326714"/>
                <a:gd name="connsiteY32" fmla="*/ 275256 h 329766"/>
                <a:gd name="connsiteX33" fmla="*/ 3048 w 326714"/>
                <a:gd name="connsiteY33" fmla="*/ 216119 h 329766"/>
                <a:gd name="connsiteX0" fmla="*/ 41365 w 365031"/>
                <a:gd name="connsiteY0" fmla="*/ 216119 h 366037"/>
                <a:gd name="connsiteX1" fmla="*/ 70120 w 365031"/>
                <a:gd name="connsiteY1" fmla="*/ 52218 h 366037"/>
                <a:gd name="connsiteX2" fmla="*/ 70120 w 365031"/>
                <a:gd name="connsiteY2" fmla="*/ 23463 h 366037"/>
                <a:gd name="connsiteX3" fmla="*/ 98874 w 365031"/>
                <a:gd name="connsiteY3" fmla="*/ 20587 h 366037"/>
                <a:gd name="connsiteX4" fmla="*/ 112314 w 365031"/>
                <a:gd name="connsiteY4" fmla="*/ 59301 h 366037"/>
                <a:gd name="connsiteX5" fmla="*/ 108772 w 365031"/>
                <a:gd name="connsiteY5" fmla="*/ 139420 h 366037"/>
                <a:gd name="connsiteX6" fmla="*/ 230147 w 365031"/>
                <a:gd name="connsiteY6" fmla="*/ 42593 h 366037"/>
                <a:gd name="connsiteX7" fmla="*/ 294407 w 365031"/>
                <a:gd name="connsiteY7" fmla="*/ 459 h 366037"/>
                <a:gd name="connsiteX8" fmla="*/ 305303 w 365031"/>
                <a:gd name="connsiteY8" fmla="*/ 23463 h 366037"/>
                <a:gd name="connsiteX9" fmla="*/ 257963 w 365031"/>
                <a:gd name="connsiteY9" fmla="*/ 73284 h 366037"/>
                <a:gd name="connsiteX10" fmla="*/ 208142 w 365031"/>
                <a:gd name="connsiteY10" fmla="*/ 115478 h 366037"/>
                <a:gd name="connsiteX11" fmla="*/ 188014 w 365031"/>
                <a:gd name="connsiteY11" fmla="*/ 149984 h 366037"/>
                <a:gd name="connsiteX12" fmla="*/ 222520 w 365031"/>
                <a:gd name="connsiteY12" fmla="*/ 118353 h 366037"/>
                <a:gd name="connsiteX13" fmla="*/ 289261 w 365031"/>
                <a:gd name="connsiteY13" fmla="*/ 66261 h 366037"/>
                <a:gd name="connsiteX14" fmla="*/ 329911 w 365031"/>
                <a:gd name="connsiteY14" fmla="*/ 37840 h 366037"/>
                <a:gd name="connsiteX15" fmla="*/ 348102 w 365031"/>
                <a:gd name="connsiteY15" fmla="*/ 48676 h 366037"/>
                <a:gd name="connsiteX16" fmla="*/ 314535 w 365031"/>
                <a:gd name="connsiteY16" fmla="*/ 89599 h 366037"/>
                <a:gd name="connsiteX17" fmla="*/ 262776 w 365031"/>
                <a:gd name="connsiteY17" fmla="*/ 141357 h 366037"/>
                <a:gd name="connsiteX18" fmla="*/ 230207 w 365031"/>
                <a:gd name="connsiteY18" fmla="*/ 171050 h 366037"/>
                <a:gd name="connsiteX19" fmla="*/ 288322 w 365031"/>
                <a:gd name="connsiteY19" fmla="*/ 131127 h 366037"/>
                <a:gd name="connsiteX20" fmla="*/ 342352 w 365031"/>
                <a:gd name="connsiteY20" fmla="*/ 90204 h 366037"/>
                <a:gd name="connsiteX21" fmla="*/ 364416 w 365031"/>
                <a:gd name="connsiteY21" fmla="*/ 106851 h 366037"/>
                <a:gd name="connsiteX22" fmla="*/ 320619 w 365031"/>
                <a:gd name="connsiteY22" fmla="*/ 142356 h 366037"/>
                <a:gd name="connsiteX23" fmla="*/ 271403 w 365031"/>
                <a:gd name="connsiteY23" fmla="*/ 187365 h 366037"/>
                <a:gd name="connsiteX24" fmla="*/ 239773 w 365031"/>
                <a:gd name="connsiteY24" fmla="*/ 216119 h 366037"/>
                <a:gd name="connsiteX25" fmla="*/ 303033 w 365031"/>
                <a:gd name="connsiteY25" fmla="*/ 175863 h 366037"/>
                <a:gd name="connsiteX26" fmla="*/ 330850 w 365031"/>
                <a:gd name="connsiteY26" fmla="*/ 173925 h 366037"/>
                <a:gd name="connsiteX27" fmla="*/ 311659 w 365031"/>
                <a:gd name="connsiteY27" fmla="*/ 201742 h 366037"/>
                <a:gd name="connsiteX28" fmla="*/ 248399 w 365031"/>
                <a:gd name="connsiteY28" fmla="*/ 259251 h 366037"/>
                <a:gd name="connsiteX29" fmla="*/ 188014 w 365031"/>
                <a:gd name="connsiteY29" fmla="*/ 299508 h 366037"/>
                <a:gd name="connsiteX30" fmla="*/ 176512 w 365031"/>
                <a:gd name="connsiteY30" fmla="*/ 313885 h 366037"/>
                <a:gd name="connsiteX31" fmla="*/ 153508 w 365031"/>
                <a:gd name="connsiteY31" fmla="*/ 328263 h 366037"/>
                <a:gd name="connsiteX32" fmla="*/ 4520 w 365031"/>
                <a:gd name="connsiteY32" fmla="*/ 361450 h 366037"/>
                <a:gd name="connsiteX33" fmla="*/ 41365 w 365031"/>
                <a:gd name="connsiteY33" fmla="*/ 216119 h 366037"/>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76512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 name="connsiteX0" fmla="*/ 41365 w 365031"/>
                <a:gd name="connsiteY0" fmla="*/ 216119 h 366353"/>
                <a:gd name="connsiteX1" fmla="*/ 70120 w 365031"/>
                <a:gd name="connsiteY1" fmla="*/ 52218 h 366353"/>
                <a:gd name="connsiteX2" fmla="*/ 70120 w 365031"/>
                <a:gd name="connsiteY2" fmla="*/ 23463 h 366353"/>
                <a:gd name="connsiteX3" fmla="*/ 98874 w 365031"/>
                <a:gd name="connsiteY3" fmla="*/ 20587 h 366353"/>
                <a:gd name="connsiteX4" fmla="*/ 112314 w 365031"/>
                <a:gd name="connsiteY4" fmla="*/ 59301 h 366353"/>
                <a:gd name="connsiteX5" fmla="*/ 108772 w 365031"/>
                <a:gd name="connsiteY5" fmla="*/ 139420 h 366353"/>
                <a:gd name="connsiteX6" fmla="*/ 230147 w 365031"/>
                <a:gd name="connsiteY6" fmla="*/ 42593 h 366353"/>
                <a:gd name="connsiteX7" fmla="*/ 294407 w 365031"/>
                <a:gd name="connsiteY7" fmla="*/ 459 h 366353"/>
                <a:gd name="connsiteX8" fmla="*/ 305303 w 365031"/>
                <a:gd name="connsiteY8" fmla="*/ 23463 h 366353"/>
                <a:gd name="connsiteX9" fmla="*/ 257963 w 365031"/>
                <a:gd name="connsiteY9" fmla="*/ 73284 h 366353"/>
                <a:gd name="connsiteX10" fmla="*/ 208142 w 365031"/>
                <a:gd name="connsiteY10" fmla="*/ 115478 h 366353"/>
                <a:gd name="connsiteX11" fmla="*/ 188014 w 365031"/>
                <a:gd name="connsiteY11" fmla="*/ 149984 h 366353"/>
                <a:gd name="connsiteX12" fmla="*/ 222520 w 365031"/>
                <a:gd name="connsiteY12" fmla="*/ 118353 h 366353"/>
                <a:gd name="connsiteX13" fmla="*/ 289261 w 365031"/>
                <a:gd name="connsiteY13" fmla="*/ 66261 h 366353"/>
                <a:gd name="connsiteX14" fmla="*/ 329911 w 365031"/>
                <a:gd name="connsiteY14" fmla="*/ 37840 h 366353"/>
                <a:gd name="connsiteX15" fmla="*/ 348102 w 365031"/>
                <a:gd name="connsiteY15" fmla="*/ 48676 h 366353"/>
                <a:gd name="connsiteX16" fmla="*/ 314535 w 365031"/>
                <a:gd name="connsiteY16" fmla="*/ 89599 h 366353"/>
                <a:gd name="connsiteX17" fmla="*/ 262776 w 365031"/>
                <a:gd name="connsiteY17" fmla="*/ 141357 h 366353"/>
                <a:gd name="connsiteX18" fmla="*/ 230207 w 365031"/>
                <a:gd name="connsiteY18" fmla="*/ 171050 h 366353"/>
                <a:gd name="connsiteX19" fmla="*/ 288322 w 365031"/>
                <a:gd name="connsiteY19" fmla="*/ 131127 h 366353"/>
                <a:gd name="connsiteX20" fmla="*/ 342352 w 365031"/>
                <a:gd name="connsiteY20" fmla="*/ 90204 h 366353"/>
                <a:gd name="connsiteX21" fmla="*/ 364416 w 365031"/>
                <a:gd name="connsiteY21" fmla="*/ 106851 h 366353"/>
                <a:gd name="connsiteX22" fmla="*/ 320619 w 365031"/>
                <a:gd name="connsiteY22" fmla="*/ 142356 h 366353"/>
                <a:gd name="connsiteX23" fmla="*/ 271403 w 365031"/>
                <a:gd name="connsiteY23" fmla="*/ 187365 h 366353"/>
                <a:gd name="connsiteX24" fmla="*/ 239773 w 365031"/>
                <a:gd name="connsiteY24" fmla="*/ 216119 h 366353"/>
                <a:gd name="connsiteX25" fmla="*/ 303033 w 365031"/>
                <a:gd name="connsiteY25" fmla="*/ 175863 h 366353"/>
                <a:gd name="connsiteX26" fmla="*/ 330850 w 365031"/>
                <a:gd name="connsiteY26" fmla="*/ 173925 h 366353"/>
                <a:gd name="connsiteX27" fmla="*/ 311659 w 365031"/>
                <a:gd name="connsiteY27" fmla="*/ 201742 h 366353"/>
                <a:gd name="connsiteX28" fmla="*/ 248399 w 365031"/>
                <a:gd name="connsiteY28" fmla="*/ 259251 h 366353"/>
                <a:gd name="connsiteX29" fmla="*/ 188014 w 365031"/>
                <a:gd name="connsiteY29" fmla="*/ 299508 h 366353"/>
                <a:gd name="connsiteX30" fmla="*/ 146531 w 365031"/>
                <a:gd name="connsiteY30" fmla="*/ 313885 h 366353"/>
                <a:gd name="connsiteX31" fmla="*/ 101043 w 365031"/>
                <a:gd name="connsiteY31" fmla="*/ 332011 h 366353"/>
                <a:gd name="connsiteX32" fmla="*/ 4520 w 365031"/>
                <a:gd name="connsiteY32" fmla="*/ 361450 h 366353"/>
                <a:gd name="connsiteX33" fmla="*/ 41365 w 365031"/>
                <a:gd name="connsiteY33" fmla="*/ 216119 h 36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5031" h="366353">
                  <a:moveTo>
                    <a:pt x="41365" y="216119"/>
                  </a:moveTo>
                  <a:cubicBezTo>
                    <a:pt x="52298" y="164580"/>
                    <a:pt x="65327" y="84327"/>
                    <a:pt x="70120" y="52218"/>
                  </a:cubicBezTo>
                  <a:cubicBezTo>
                    <a:pt x="74913" y="20109"/>
                    <a:pt x="65328" y="28735"/>
                    <a:pt x="70120" y="23463"/>
                  </a:cubicBezTo>
                  <a:cubicBezTo>
                    <a:pt x="74912" y="18191"/>
                    <a:pt x="91842" y="14614"/>
                    <a:pt x="98874" y="20587"/>
                  </a:cubicBezTo>
                  <a:cubicBezTo>
                    <a:pt x="105906" y="26560"/>
                    <a:pt x="110664" y="39496"/>
                    <a:pt x="112314" y="59301"/>
                  </a:cubicBezTo>
                  <a:cubicBezTo>
                    <a:pt x="113964" y="79107"/>
                    <a:pt x="89133" y="142205"/>
                    <a:pt x="108772" y="139420"/>
                  </a:cubicBezTo>
                  <a:cubicBezTo>
                    <a:pt x="128411" y="136635"/>
                    <a:pt x="199208" y="65753"/>
                    <a:pt x="230147" y="42593"/>
                  </a:cubicBezTo>
                  <a:cubicBezTo>
                    <a:pt x="261086" y="19433"/>
                    <a:pt x="281881" y="3647"/>
                    <a:pt x="294407" y="459"/>
                  </a:cubicBezTo>
                  <a:cubicBezTo>
                    <a:pt x="306933" y="-2729"/>
                    <a:pt x="311377" y="11326"/>
                    <a:pt x="305303" y="23463"/>
                  </a:cubicBezTo>
                  <a:cubicBezTo>
                    <a:pt x="299229" y="35600"/>
                    <a:pt x="274156" y="57948"/>
                    <a:pt x="257963" y="73284"/>
                  </a:cubicBezTo>
                  <a:cubicBezTo>
                    <a:pt x="241770" y="88620"/>
                    <a:pt x="219800" y="102695"/>
                    <a:pt x="208142" y="115478"/>
                  </a:cubicBezTo>
                  <a:cubicBezTo>
                    <a:pt x="196484" y="128261"/>
                    <a:pt x="185618" y="149505"/>
                    <a:pt x="188014" y="149984"/>
                  </a:cubicBezTo>
                  <a:cubicBezTo>
                    <a:pt x="190410" y="150463"/>
                    <a:pt x="205646" y="132307"/>
                    <a:pt x="222520" y="118353"/>
                  </a:cubicBezTo>
                  <a:cubicBezTo>
                    <a:pt x="239394" y="104399"/>
                    <a:pt x="271363" y="79680"/>
                    <a:pt x="289261" y="66261"/>
                  </a:cubicBezTo>
                  <a:cubicBezTo>
                    <a:pt x="307160" y="52842"/>
                    <a:pt x="320104" y="40771"/>
                    <a:pt x="329911" y="37840"/>
                  </a:cubicBezTo>
                  <a:cubicBezTo>
                    <a:pt x="339718" y="34909"/>
                    <a:pt x="350665" y="40050"/>
                    <a:pt x="348102" y="48676"/>
                  </a:cubicBezTo>
                  <a:cubicBezTo>
                    <a:pt x="345539" y="57303"/>
                    <a:pt x="328756" y="74152"/>
                    <a:pt x="314535" y="89599"/>
                  </a:cubicBezTo>
                  <a:cubicBezTo>
                    <a:pt x="300314" y="105046"/>
                    <a:pt x="276831" y="127782"/>
                    <a:pt x="262776" y="141357"/>
                  </a:cubicBezTo>
                  <a:cubicBezTo>
                    <a:pt x="248721" y="154932"/>
                    <a:pt x="225949" y="172755"/>
                    <a:pt x="230207" y="171050"/>
                  </a:cubicBezTo>
                  <a:cubicBezTo>
                    <a:pt x="234465" y="169345"/>
                    <a:pt x="269631" y="144601"/>
                    <a:pt x="288322" y="131127"/>
                  </a:cubicBezTo>
                  <a:cubicBezTo>
                    <a:pt x="307013" y="117653"/>
                    <a:pt x="329670" y="94250"/>
                    <a:pt x="342352" y="90204"/>
                  </a:cubicBezTo>
                  <a:cubicBezTo>
                    <a:pt x="355034" y="86158"/>
                    <a:pt x="368038" y="98159"/>
                    <a:pt x="364416" y="106851"/>
                  </a:cubicBezTo>
                  <a:cubicBezTo>
                    <a:pt x="360794" y="115543"/>
                    <a:pt x="336121" y="128937"/>
                    <a:pt x="320619" y="142356"/>
                  </a:cubicBezTo>
                  <a:cubicBezTo>
                    <a:pt x="305117" y="155775"/>
                    <a:pt x="284877" y="175071"/>
                    <a:pt x="271403" y="187365"/>
                  </a:cubicBezTo>
                  <a:cubicBezTo>
                    <a:pt x="257929" y="199659"/>
                    <a:pt x="234501" y="218036"/>
                    <a:pt x="239773" y="216119"/>
                  </a:cubicBezTo>
                  <a:cubicBezTo>
                    <a:pt x="245045" y="214202"/>
                    <a:pt x="287854" y="182895"/>
                    <a:pt x="303033" y="175863"/>
                  </a:cubicBezTo>
                  <a:cubicBezTo>
                    <a:pt x="318212" y="168831"/>
                    <a:pt x="329412" y="169612"/>
                    <a:pt x="330850" y="173925"/>
                  </a:cubicBezTo>
                  <a:cubicBezTo>
                    <a:pt x="332288" y="178238"/>
                    <a:pt x="325401" y="187521"/>
                    <a:pt x="311659" y="201742"/>
                  </a:cubicBezTo>
                  <a:cubicBezTo>
                    <a:pt x="297917" y="215963"/>
                    <a:pt x="269006" y="242957"/>
                    <a:pt x="248399" y="259251"/>
                  </a:cubicBezTo>
                  <a:cubicBezTo>
                    <a:pt x="227792" y="275545"/>
                    <a:pt x="204992" y="290402"/>
                    <a:pt x="188014" y="299508"/>
                  </a:cubicBezTo>
                  <a:cubicBezTo>
                    <a:pt x="171036" y="308614"/>
                    <a:pt x="152282" y="309093"/>
                    <a:pt x="146531" y="313885"/>
                  </a:cubicBezTo>
                  <a:cubicBezTo>
                    <a:pt x="140780" y="318677"/>
                    <a:pt x="124711" y="324084"/>
                    <a:pt x="101043" y="332011"/>
                  </a:cubicBezTo>
                  <a:cubicBezTo>
                    <a:pt x="77375" y="339938"/>
                    <a:pt x="23210" y="380141"/>
                    <a:pt x="4520" y="361450"/>
                  </a:cubicBezTo>
                  <a:cubicBezTo>
                    <a:pt x="-14170" y="342759"/>
                    <a:pt x="30432" y="267658"/>
                    <a:pt x="41365"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9" name="Freeform 505"/>
            <p:cNvSpPr/>
            <p:nvPr/>
          </p:nvSpPr>
          <p:spPr bwMode="auto">
            <a:xfrm rot="478380" flipH="1">
              <a:off x="6676605" y="2216679"/>
              <a:ext cx="336199" cy="328736"/>
            </a:xfrm>
            <a:custGeom>
              <a:avLst/>
              <a:gdLst>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2059 w 318934"/>
                <a:gd name="connsiteY5" fmla="*/ 144694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69184 w 318934"/>
                <a:gd name="connsiteY4" fmla="*/ 46928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580 h 332681"/>
                <a:gd name="connsiteX1" fmla="*/ 31803 w 318934"/>
                <a:gd name="connsiteY1" fmla="*/ 52679 h 332681"/>
                <a:gd name="connsiteX2" fmla="*/ 31803 w 318934"/>
                <a:gd name="connsiteY2" fmla="*/ 23924 h 332681"/>
                <a:gd name="connsiteX3" fmla="*/ 60557 w 318934"/>
                <a:gd name="connsiteY3" fmla="*/ 21048 h 332681"/>
                <a:gd name="connsiteX4" fmla="*/ 73997 w 318934"/>
                <a:gd name="connsiteY4" fmla="*/ 59762 h 332681"/>
                <a:gd name="connsiteX5" fmla="*/ 70455 w 318934"/>
                <a:gd name="connsiteY5" fmla="*/ 139881 h 332681"/>
                <a:gd name="connsiteX6" fmla="*/ 201456 w 318934"/>
                <a:gd name="connsiteY6" fmla="*/ 52679 h 332681"/>
                <a:gd name="connsiteX7" fmla="*/ 256090 w 318934"/>
                <a:gd name="connsiteY7" fmla="*/ 920 h 332681"/>
                <a:gd name="connsiteX8" fmla="*/ 258965 w 318934"/>
                <a:gd name="connsiteY8" fmla="*/ 23924 h 332681"/>
                <a:gd name="connsiteX9" fmla="*/ 224459 w 318934"/>
                <a:gd name="connsiteY9" fmla="*/ 78558 h 332681"/>
                <a:gd name="connsiteX10" fmla="*/ 169825 w 318934"/>
                <a:gd name="connsiteY10" fmla="*/ 115939 h 332681"/>
                <a:gd name="connsiteX11" fmla="*/ 149697 w 318934"/>
                <a:gd name="connsiteY11" fmla="*/ 150445 h 332681"/>
                <a:gd name="connsiteX12" fmla="*/ 184203 w 318934"/>
                <a:gd name="connsiteY12" fmla="*/ 118814 h 332681"/>
                <a:gd name="connsiteX13" fmla="*/ 258965 w 318934"/>
                <a:gd name="connsiteY13" fmla="*/ 69931 h 332681"/>
                <a:gd name="connsiteX14" fmla="*/ 281969 w 318934"/>
                <a:gd name="connsiteY14" fmla="*/ 38301 h 332681"/>
                <a:gd name="connsiteX15" fmla="*/ 304973 w 318934"/>
                <a:gd name="connsiteY15" fmla="*/ 55554 h 332681"/>
                <a:gd name="connsiteX16" fmla="*/ 276218 w 318934"/>
                <a:gd name="connsiteY16" fmla="*/ 90060 h 332681"/>
                <a:gd name="connsiteX17" fmla="*/ 224459 w 318934"/>
                <a:gd name="connsiteY17" fmla="*/ 141818 h 332681"/>
                <a:gd name="connsiteX18" fmla="*/ 187078 w 318934"/>
                <a:gd name="connsiteY18" fmla="*/ 176324 h 332681"/>
                <a:gd name="connsiteX19" fmla="*/ 253214 w 318934"/>
                <a:gd name="connsiteY19" fmla="*/ 133192 h 332681"/>
                <a:gd name="connsiteX20" fmla="*/ 299222 w 318934"/>
                <a:gd name="connsiteY20" fmla="*/ 98686 h 332681"/>
                <a:gd name="connsiteX21" fmla="*/ 313599 w 318934"/>
                <a:gd name="connsiteY21" fmla="*/ 95811 h 332681"/>
                <a:gd name="connsiteX22" fmla="*/ 316474 w 318934"/>
                <a:gd name="connsiteY22" fmla="*/ 107312 h 332681"/>
                <a:gd name="connsiteX23" fmla="*/ 279093 w 318934"/>
                <a:gd name="connsiteY23" fmla="*/ 133192 h 332681"/>
                <a:gd name="connsiteX24" fmla="*/ 233086 w 318934"/>
                <a:gd name="connsiteY24" fmla="*/ 187826 h 332681"/>
                <a:gd name="connsiteX25" fmla="*/ 210082 w 318934"/>
                <a:gd name="connsiteY25" fmla="*/ 199328 h 332681"/>
                <a:gd name="connsiteX26" fmla="*/ 201456 w 318934"/>
                <a:gd name="connsiteY26" fmla="*/ 216580 h 332681"/>
                <a:gd name="connsiteX27" fmla="*/ 264716 w 318934"/>
                <a:gd name="connsiteY27" fmla="*/ 176324 h 332681"/>
                <a:gd name="connsiteX28" fmla="*/ 287720 w 318934"/>
                <a:gd name="connsiteY28" fmla="*/ 179199 h 332681"/>
                <a:gd name="connsiteX29" fmla="*/ 273342 w 318934"/>
                <a:gd name="connsiteY29" fmla="*/ 202203 h 332681"/>
                <a:gd name="connsiteX30" fmla="*/ 210082 w 318934"/>
                <a:gd name="connsiteY30" fmla="*/ 259712 h 332681"/>
                <a:gd name="connsiteX31" fmla="*/ 149697 w 318934"/>
                <a:gd name="connsiteY31" fmla="*/ 299969 h 332681"/>
                <a:gd name="connsiteX32" fmla="*/ 138195 w 318934"/>
                <a:gd name="connsiteY32" fmla="*/ 314346 h 332681"/>
                <a:gd name="connsiteX33" fmla="*/ 115191 w 318934"/>
                <a:gd name="connsiteY33" fmla="*/ 328724 h 332681"/>
                <a:gd name="connsiteX34" fmla="*/ 3048 w 318934"/>
                <a:gd name="connsiteY34" fmla="*/ 216580 h 332681"/>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58965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41 h 332242"/>
                <a:gd name="connsiteX1" fmla="*/ 31803 w 318934"/>
                <a:gd name="connsiteY1" fmla="*/ 52240 h 332242"/>
                <a:gd name="connsiteX2" fmla="*/ 31803 w 318934"/>
                <a:gd name="connsiteY2" fmla="*/ 23485 h 332242"/>
                <a:gd name="connsiteX3" fmla="*/ 60557 w 318934"/>
                <a:gd name="connsiteY3" fmla="*/ 20609 h 332242"/>
                <a:gd name="connsiteX4" fmla="*/ 73997 w 318934"/>
                <a:gd name="connsiteY4" fmla="*/ 59323 h 332242"/>
                <a:gd name="connsiteX5" fmla="*/ 70455 w 318934"/>
                <a:gd name="connsiteY5" fmla="*/ 139442 h 332242"/>
                <a:gd name="connsiteX6" fmla="*/ 191830 w 318934"/>
                <a:gd name="connsiteY6" fmla="*/ 42615 h 332242"/>
                <a:gd name="connsiteX7" fmla="*/ 256090 w 318934"/>
                <a:gd name="connsiteY7" fmla="*/ 481 h 332242"/>
                <a:gd name="connsiteX8" fmla="*/ 266986 w 318934"/>
                <a:gd name="connsiteY8" fmla="*/ 23485 h 332242"/>
                <a:gd name="connsiteX9" fmla="*/ 224459 w 318934"/>
                <a:gd name="connsiteY9" fmla="*/ 78119 h 332242"/>
                <a:gd name="connsiteX10" fmla="*/ 169825 w 318934"/>
                <a:gd name="connsiteY10" fmla="*/ 115500 h 332242"/>
                <a:gd name="connsiteX11" fmla="*/ 149697 w 318934"/>
                <a:gd name="connsiteY11" fmla="*/ 150006 h 332242"/>
                <a:gd name="connsiteX12" fmla="*/ 184203 w 318934"/>
                <a:gd name="connsiteY12" fmla="*/ 118375 h 332242"/>
                <a:gd name="connsiteX13" fmla="*/ 258965 w 318934"/>
                <a:gd name="connsiteY13" fmla="*/ 69492 h 332242"/>
                <a:gd name="connsiteX14" fmla="*/ 281969 w 318934"/>
                <a:gd name="connsiteY14" fmla="*/ 37862 h 332242"/>
                <a:gd name="connsiteX15" fmla="*/ 304973 w 318934"/>
                <a:gd name="connsiteY15" fmla="*/ 55115 h 332242"/>
                <a:gd name="connsiteX16" fmla="*/ 276218 w 318934"/>
                <a:gd name="connsiteY16" fmla="*/ 89621 h 332242"/>
                <a:gd name="connsiteX17" fmla="*/ 224459 w 318934"/>
                <a:gd name="connsiteY17" fmla="*/ 141379 h 332242"/>
                <a:gd name="connsiteX18" fmla="*/ 187078 w 318934"/>
                <a:gd name="connsiteY18" fmla="*/ 175885 h 332242"/>
                <a:gd name="connsiteX19" fmla="*/ 253214 w 318934"/>
                <a:gd name="connsiteY19" fmla="*/ 132753 h 332242"/>
                <a:gd name="connsiteX20" fmla="*/ 299222 w 318934"/>
                <a:gd name="connsiteY20" fmla="*/ 98247 h 332242"/>
                <a:gd name="connsiteX21" fmla="*/ 313599 w 318934"/>
                <a:gd name="connsiteY21" fmla="*/ 95372 h 332242"/>
                <a:gd name="connsiteX22" fmla="*/ 316474 w 318934"/>
                <a:gd name="connsiteY22" fmla="*/ 106873 h 332242"/>
                <a:gd name="connsiteX23" fmla="*/ 279093 w 318934"/>
                <a:gd name="connsiteY23" fmla="*/ 132753 h 332242"/>
                <a:gd name="connsiteX24" fmla="*/ 233086 w 318934"/>
                <a:gd name="connsiteY24" fmla="*/ 187387 h 332242"/>
                <a:gd name="connsiteX25" fmla="*/ 210082 w 318934"/>
                <a:gd name="connsiteY25" fmla="*/ 198889 h 332242"/>
                <a:gd name="connsiteX26" fmla="*/ 201456 w 318934"/>
                <a:gd name="connsiteY26" fmla="*/ 216141 h 332242"/>
                <a:gd name="connsiteX27" fmla="*/ 264716 w 318934"/>
                <a:gd name="connsiteY27" fmla="*/ 175885 h 332242"/>
                <a:gd name="connsiteX28" fmla="*/ 287720 w 318934"/>
                <a:gd name="connsiteY28" fmla="*/ 178760 h 332242"/>
                <a:gd name="connsiteX29" fmla="*/ 273342 w 318934"/>
                <a:gd name="connsiteY29" fmla="*/ 201764 h 332242"/>
                <a:gd name="connsiteX30" fmla="*/ 210082 w 318934"/>
                <a:gd name="connsiteY30" fmla="*/ 259273 h 332242"/>
                <a:gd name="connsiteX31" fmla="*/ 149697 w 318934"/>
                <a:gd name="connsiteY31" fmla="*/ 299530 h 332242"/>
                <a:gd name="connsiteX32" fmla="*/ 138195 w 318934"/>
                <a:gd name="connsiteY32" fmla="*/ 313907 h 332242"/>
                <a:gd name="connsiteX33" fmla="*/ 115191 w 318934"/>
                <a:gd name="connsiteY33" fmla="*/ 328285 h 332242"/>
                <a:gd name="connsiteX34" fmla="*/ 3048 w 318934"/>
                <a:gd name="connsiteY34" fmla="*/ 216141 h 332242"/>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8965 w 318934"/>
                <a:gd name="connsiteY13" fmla="*/ 69470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81969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4973 w 318934"/>
                <a:gd name="connsiteY15" fmla="*/ 55093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87078 w 318934"/>
                <a:gd name="connsiteY18" fmla="*/ 175863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3214 w 318934"/>
                <a:gd name="connsiteY19" fmla="*/ 132731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8934"/>
                <a:gd name="connsiteY0" fmla="*/ 216119 h 332220"/>
                <a:gd name="connsiteX1" fmla="*/ 31803 w 318934"/>
                <a:gd name="connsiteY1" fmla="*/ 52218 h 332220"/>
                <a:gd name="connsiteX2" fmla="*/ 31803 w 318934"/>
                <a:gd name="connsiteY2" fmla="*/ 23463 h 332220"/>
                <a:gd name="connsiteX3" fmla="*/ 60557 w 318934"/>
                <a:gd name="connsiteY3" fmla="*/ 20587 h 332220"/>
                <a:gd name="connsiteX4" fmla="*/ 73997 w 318934"/>
                <a:gd name="connsiteY4" fmla="*/ 59301 h 332220"/>
                <a:gd name="connsiteX5" fmla="*/ 70455 w 318934"/>
                <a:gd name="connsiteY5" fmla="*/ 139420 h 332220"/>
                <a:gd name="connsiteX6" fmla="*/ 191830 w 318934"/>
                <a:gd name="connsiteY6" fmla="*/ 42593 h 332220"/>
                <a:gd name="connsiteX7" fmla="*/ 256090 w 318934"/>
                <a:gd name="connsiteY7" fmla="*/ 459 h 332220"/>
                <a:gd name="connsiteX8" fmla="*/ 266986 w 318934"/>
                <a:gd name="connsiteY8" fmla="*/ 23463 h 332220"/>
                <a:gd name="connsiteX9" fmla="*/ 219646 w 318934"/>
                <a:gd name="connsiteY9" fmla="*/ 73284 h 332220"/>
                <a:gd name="connsiteX10" fmla="*/ 169825 w 318934"/>
                <a:gd name="connsiteY10" fmla="*/ 115478 h 332220"/>
                <a:gd name="connsiteX11" fmla="*/ 149697 w 318934"/>
                <a:gd name="connsiteY11" fmla="*/ 149984 h 332220"/>
                <a:gd name="connsiteX12" fmla="*/ 184203 w 318934"/>
                <a:gd name="connsiteY12" fmla="*/ 118353 h 332220"/>
                <a:gd name="connsiteX13" fmla="*/ 250944 w 318934"/>
                <a:gd name="connsiteY13" fmla="*/ 66261 h 332220"/>
                <a:gd name="connsiteX14" fmla="*/ 291594 w 318934"/>
                <a:gd name="connsiteY14" fmla="*/ 37840 h 332220"/>
                <a:gd name="connsiteX15" fmla="*/ 309785 w 318934"/>
                <a:gd name="connsiteY15" fmla="*/ 48676 h 332220"/>
                <a:gd name="connsiteX16" fmla="*/ 276218 w 318934"/>
                <a:gd name="connsiteY16" fmla="*/ 89599 h 332220"/>
                <a:gd name="connsiteX17" fmla="*/ 224459 w 318934"/>
                <a:gd name="connsiteY17" fmla="*/ 141357 h 332220"/>
                <a:gd name="connsiteX18" fmla="*/ 191890 w 318934"/>
                <a:gd name="connsiteY18" fmla="*/ 171050 h 332220"/>
                <a:gd name="connsiteX19" fmla="*/ 250005 w 318934"/>
                <a:gd name="connsiteY19" fmla="*/ 131127 h 332220"/>
                <a:gd name="connsiteX20" fmla="*/ 299222 w 318934"/>
                <a:gd name="connsiteY20" fmla="*/ 98225 h 332220"/>
                <a:gd name="connsiteX21" fmla="*/ 313599 w 318934"/>
                <a:gd name="connsiteY21" fmla="*/ 95350 h 332220"/>
                <a:gd name="connsiteX22" fmla="*/ 316474 w 318934"/>
                <a:gd name="connsiteY22" fmla="*/ 106851 h 332220"/>
                <a:gd name="connsiteX23" fmla="*/ 279093 w 318934"/>
                <a:gd name="connsiteY23" fmla="*/ 132731 h 332220"/>
                <a:gd name="connsiteX24" fmla="*/ 233086 w 318934"/>
                <a:gd name="connsiteY24" fmla="*/ 187365 h 332220"/>
                <a:gd name="connsiteX25" fmla="*/ 210082 w 318934"/>
                <a:gd name="connsiteY25" fmla="*/ 198867 h 332220"/>
                <a:gd name="connsiteX26" fmla="*/ 201456 w 318934"/>
                <a:gd name="connsiteY26" fmla="*/ 216119 h 332220"/>
                <a:gd name="connsiteX27" fmla="*/ 264716 w 318934"/>
                <a:gd name="connsiteY27" fmla="*/ 175863 h 332220"/>
                <a:gd name="connsiteX28" fmla="*/ 287720 w 318934"/>
                <a:gd name="connsiteY28" fmla="*/ 178738 h 332220"/>
                <a:gd name="connsiteX29" fmla="*/ 273342 w 318934"/>
                <a:gd name="connsiteY29" fmla="*/ 201742 h 332220"/>
                <a:gd name="connsiteX30" fmla="*/ 210082 w 318934"/>
                <a:gd name="connsiteY30" fmla="*/ 259251 h 332220"/>
                <a:gd name="connsiteX31" fmla="*/ 149697 w 318934"/>
                <a:gd name="connsiteY31" fmla="*/ 299508 h 332220"/>
                <a:gd name="connsiteX32" fmla="*/ 138195 w 318934"/>
                <a:gd name="connsiteY32" fmla="*/ 313885 h 332220"/>
                <a:gd name="connsiteX33" fmla="*/ 115191 w 318934"/>
                <a:gd name="connsiteY33" fmla="*/ 328263 h 332220"/>
                <a:gd name="connsiteX34" fmla="*/ 3048 w 318934"/>
                <a:gd name="connsiteY34" fmla="*/ 216119 h 332220"/>
                <a:gd name="connsiteX0" fmla="*/ 3048 w 317412"/>
                <a:gd name="connsiteY0" fmla="*/ 216119 h 332220"/>
                <a:gd name="connsiteX1" fmla="*/ 31803 w 317412"/>
                <a:gd name="connsiteY1" fmla="*/ 52218 h 332220"/>
                <a:gd name="connsiteX2" fmla="*/ 31803 w 317412"/>
                <a:gd name="connsiteY2" fmla="*/ 23463 h 332220"/>
                <a:gd name="connsiteX3" fmla="*/ 60557 w 317412"/>
                <a:gd name="connsiteY3" fmla="*/ 20587 h 332220"/>
                <a:gd name="connsiteX4" fmla="*/ 73997 w 317412"/>
                <a:gd name="connsiteY4" fmla="*/ 59301 h 332220"/>
                <a:gd name="connsiteX5" fmla="*/ 70455 w 317412"/>
                <a:gd name="connsiteY5" fmla="*/ 139420 h 332220"/>
                <a:gd name="connsiteX6" fmla="*/ 191830 w 317412"/>
                <a:gd name="connsiteY6" fmla="*/ 42593 h 332220"/>
                <a:gd name="connsiteX7" fmla="*/ 256090 w 317412"/>
                <a:gd name="connsiteY7" fmla="*/ 459 h 332220"/>
                <a:gd name="connsiteX8" fmla="*/ 266986 w 317412"/>
                <a:gd name="connsiteY8" fmla="*/ 23463 h 332220"/>
                <a:gd name="connsiteX9" fmla="*/ 219646 w 317412"/>
                <a:gd name="connsiteY9" fmla="*/ 73284 h 332220"/>
                <a:gd name="connsiteX10" fmla="*/ 169825 w 317412"/>
                <a:gd name="connsiteY10" fmla="*/ 115478 h 332220"/>
                <a:gd name="connsiteX11" fmla="*/ 149697 w 317412"/>
                <a:gd name="connsiteY11" fmla="*/ 149984 h 332220"/>
                <a:gd name="connsiteX12" fmla="*/ 184203 w 317412"/>
                <a:gd name="connsiteY12" fmla="*/ 118353 h 332220"/>
                <a:gd name="connsiteX13" fmla="*/ 250944 w 317412"/>
                <a:gd name="connsiteY13" fmla="*/ 66261 h 332220"/>
                <a:gd name="connsiteX14" fmla="*/ 291594 w 317412"/>
                <a:gd name="connsiteY14" fmla="*/ 37840 h 332220"/>
                <a:gd name="connsiteX15" fmla="*/ 309785 w 317412"/>
                <a:gd name="connsiteY15" fmla="*/ 48676 h 332220"/>
                <a:gd name="connsiteX16" fmla="*/ 276218 w 317412"/>
                <a:gd name="connsiteY16" fmla="*/ 89599 h 332220"/>
                <a:gd name="connsiteX17" fmla="*/ 224459 w 317412"/>
                <a:gd name="connsiteY17" fmla="*/ 141357 h 332220"/>
                <a:gd name="connsiteX18" fmla="*/ 191890 w 317412"/>
                <a:gd name="connsiteY18" fmla="*/ 171050 h 332220"/>
                <a:gd name="connsiteX19" fmla="*/ 250005 w 317412"/>
                <a:gd name="connsiteY19" fmla="*/ 131127 h 332220"/>
                <a:gd name="connsiteX20" fmla="*/ 299222 w 317412"/>
                <a:gd name="connsiteY20" fmla="*/ 98225 h 332220"/>
                <a:gd name="connsiteX21" fmla="*/ 305578 w 317412"/>
                <a:gd name="connsiteY21" fmla="*/ 92142 h 332220"/>
                <a:gd name="connsiteX22" fmla="*/ 316474 w 317412"/>
                <a:gd name="connsiteY22" fmla="*/ 106851 h 332220"/>
                <a:gd name="connsiteX23" fmla="*/ 279093 w 317412"/>
                <a:gd name="connsiteY23" fmla="*/ 132731 h 332220"/>
                <a:gd name="connsiteX24" fmla="*/ 233086 w 317412"/>
                <a:gd name="connsiteY24" fmla="*/ 187365 h 332220"/>
                <a:gd name="connsiteX25" fmla="*/ 210082 w 317412"/>
                <a:gd name="connsiteY25" fmla="*/ 198867 h 332220"/>
                <a:gd name="connsiteX26" fmla="*/ 201456 w 317412"/>
                <a:gd name="connsiteY26" fmla="*/ 216119 h 332220"/>
                <a:gd name="connsiteX27" fmla="*/ 264716 w 317412"/>
                <a:gd name="connsiteY27" fmla="*/ 175863 h 332220"/>
                <a:gd name="connsiteX28" fmla="*/ 287720 w 317412"/>
                <a:gd name="connsiteY28" fmla="*/ 178738 h 332220"/>
                <a:gd name="connsiteX29" fmla="*/ 273342 w 317412"/>
                <a:gd name="connsiteY29" fmla="*/ 201742 h 332220"/>
                <a:gd name="connsiteX30" fmla="*/ 210082 w 317412"/>
                <a:gd name="connsiteY30" fmla="*/ 259251 h 332220"/>
                <a:gd name="connsiteX31" fmla="*/ 149697 w 317412"/>
                <a:gd name="connsiteY31" fmla="*/ 299508 h 332220"/>
                <a:gd name="connsiteX32" fmla="*/ 138195 w 317412"/>
                <a:gd name="connsiteY32" fmla="*/ 313885 h 332220"/>
                <a:gd name="connsiteX33" fmla="*/ 115191 w 317412"/>
                <a:gd name="connsiteY33" fmla="*/ 328263 h 332220"/>
                <a:gd name="connsiteX34" fmla="*/ 3048 w 317412"/>
                <a:gd name="connsiteY34" fmla="*/ 216119 h 332220"/>
                <a:gd name="connsiteX0" fmla="*/ 3048 w 317156"/>
                <a:gd name="connsiteY0" fmla="*/ 216119 h 332220"/>
                <a:gd name="connsiteX1" fmla="*/ 31803 w 317156"/>
                <a:gd name="connsiteY1" fmla="*/ 52218 h 332220"/>
                <a:gd name="connsiteX2" fmla="*/ 31803 w 317156"/>
                <a:gd name="connsiteY2" fmla="*/ 23463 h 332220"/>
                <a:gd name="connsiteX3" fmla="*/ 60557 w 317156"/>
                <a:gd name="connsiteY3" fmla="*/ 20587 h 332220"/>
                <a:gd name="connsiteX4" fmla="*/ 73997 w 317156"/>
                <a:gd name="connsiteY4" fmla="*/ 59301 h 332220"/>
                <a:gd name="connsiteX5" fmla="*/ 70455 w 317156"/>
                <a:gd name="connsiteY5" fmla="*/ 139420 h 332220"/>
                <a:gd name="connsiteX6" fmla="*/ 191830 w 317156"/>
                <a:gd name="connsiteY6" fmla="*/ 42593 h 332220"/>
                <a:gd name="connsiteX7" fmla="*/ 256090 w 317156"/>
                <a:gd name="connsiteY7" fmla="*/ 459 h 332220"/>
                <a:gd name="connsiteX8" fmla="*/ 266986 w 317156"/>
                <a:gd name="connsiteY8" fmla="*/ 23463 h 332220"/>
                <a:gd name="connsiteX9" fmla="*/ 219646 w 317156"/>
                <a:gd name="connsiteY9" fmla="*/ 73284 h 332220"/>
                <a:gd name="connsiteX10" fmla="*/ 169825 w 317156"/>
                <a:gd name="connsiteY10" fmla="*/ 115478 h 332220"/>
                <a:gd name="connsiteX11" fmla="*/ 149697 w 317156"/>
                <a:gd name="connsiteY11" fmla="*/ 149984 h 332220"/>
                <a:gd name="connsiteX12" fmla="*/ 184203 w 317156"/>
                <a:gd name="connsiteY12" fmla="*/ 118353 h 332220"/>
                <a:gd name="connsiteX13" fmla="*/ 250944 w 317156"/>
                <a:gd name="connsiteY13" fmla="*/ 66261 h 332220"/>
                <a:gd name="connsiteX14" fmla="*/ 291594 w 317156"/>
                <a:gd name="connsiteY14" fmla="*/ 37840 h 332220"/>
                <a:gd name="connsiteX15" fmla="*/ 309785 w 317156"/>
                <a:gd name="connsiteY15" fmla="*/ 48676 h 332220"/>
                <a:gd name="connsiteX16" fmla="*/ 276218 w 317156"/>
                <a:gd name="connsiteY16" fmla="*/ 89599 h 332220"/>
                <a:gd name="connsiteX17" fmla="*/ 224459 w 317156"/>
                <a:gd name="connsiteY17" fmla="*/ 141357 h 332220"/>
                <a:gd name="connsiteX18" fmla="*/ 191890 w 317156"/>
                <a:gd name="connsiteY18" fmla="*/ 171050 h 332220"/>
                <a:gd name="connsiteX19" fmla="*/ 250005 w 317156"/>
                <a:gd name="connsiteY19" fmla="*/ 131127 h 332220"/>
                <a:gd name="connsiteX20" fmla="*/ 299222 w 317156"/>
                <a:gd name="connsiteY20" fmla="*/ 98225 h 332220"/>
                <a:gd name="connsiteX21" fmla="*/ 316474 w 317156"/>
                <a:gd name="connsiteY21" fmla="*/ 106851 h 332220"/>
                <a:gd name="connsiteX22" fmla="*/ 279093 w 317156"/>
                <a:gd name="connsiteY22" fmla="*/ 132731 h 332220"/>
                <a:gd name="connsiteX23" fmla="*/ 233086 w 317156"/>
                <a:gd name="connsiteY23" fmla="*/ 187365 h 332220"/>
                <a:gd name="connsiteX24" fmla="*/ 210082 w 317156"/>
                <a:gd name="connsiteY24" fmla="*/ 198867 h 332220"/>
                <a:gd name="connsiteX25" fmla="*/ 201456 w 317156"/>
                <a:gd name="connsiteY25" fmla="*/ 216119 h 332220"/>
                <a:gd name="connsiteX26" fmla="*/ 264716 w 317156"/>
                <a:gd name="connsiteY26" fmla="*/ 175863 h 332220"/>
                <a:gd name="connsiteX27" fmla="*/ 287720 w 317156"/>
                <a:gd name="connsiteY27" fmla="*/ 178738 h 332220"/>
                <a:gd name="connsiteX28" fmla="*/ 273342 w 317156"/>
                <a:gd name="connsiteY28" fmla="*/ 201742 h 332220"/>
                <a:gd name="connsiteX29" fmla="*/ 210082 w 317156"/>
                <a:gd name="connsiteY29" fmla="*/ 259251 h 332220"/>
                <a:gd name="connsiteX30" fmla="*/ 149697 w 317156"/>
                <a:gd name="connsiteY30" fmla="*/ 299508 h 332220"/>
                <a:gd name="connsiteX31" fmla="*/ 138195 w 317156"/>
                <a:gd name="connsiteY31" fmla="*/ 313885 h 332220"/>
                <a:gd name="connsiteX32" fmla="*/ 115191 w 317156"/>
                <a:gd name="connsiteY32" fmla="*/ 328263 h 332220"/>
                <a:gd name="connsiteX33" fmla="*/ 3048 w 317156"/>
                <a:gd name="connsiteY33" fmla="*/ 216119 h 332220"/>
                <a:gd name="connsiteX0" fmla="*/ 3048 w 317857"/>
                <a:gd name="connsiteY0" fmla="*/ 216119 h 332220"/>
                <a:gd name="connsiteX1" fmla="*/ 31803 w 317857"/>
                <a:gd name="connsiteY1" fmla="*/ 52218 h 332220"/>
                <a:gd name="connsiteX2" fmla="*/ 31803 w 317857"/>
                <a:gd name="connsiteY2" fmla="*/ 23463 h 332220"/>
                <a:gd name="connsiteX3" fmla="*/ 60557 w 317857"/>
                <a:gd name="connsiteY3" fmla="*/ 20587 h 332220"/>
                <a:gd name="connsiteX4" fmla="*/ 73997 w 317857"/>
                <a:gd name="connsiteY4" fmla="*/ 59301 h 332220"/>
                <a:gd name="connsiteX5" fmla="*/ 70455 w 317857"/>
                <a:gd name="connsiteY5" fmla="*/ 139420 h 332220"/>
                <a:gd name="connsiteX6" fmla="*/ 191830 w 317857"/>
                <a:gd name="connsiteY6" fmla="*/ 42593 h 332220"/>
                <a:gd name="connsiteX7" fmla="*/ 256090 w 317857"/>
                <a:gd name="connsiteY7" fmla="*/ 459 h 332220"/>
                <a:gd name="connsiteX8" fmla="*/ 266986 w 317857"/>
                <a:gd name="connsiteY8" fmla="*/ 23463 h 332220"/>
                <a:gd name="connsiteX9" fmla="*/ 219646 w 317857"/>
                <a:gd name="connsiteY9" fmla="*/ 73284 h 332220"/>
                <a:gd name="connsiteX10" fmla="*/ 169825 w 317857"/>
                <a:gd name="connsiteY10" fmla="*/ 115478 h 332220"/>
                <a:gd name="connsiteX11" fmla="*/ 149697 w 317857"/>
                <a:gd name="connsiteY11" fmla="*/ 149984 h 332220"/>
                <a:gd name="connsiteX12" fmla="*/ 184203 w 317857"/>
                <a:gd name="connsiteY12" fmla="*/ 118353 h 332220"/>
                <a:gd name="connsiteX13" fmla="*/ 250944 w 317857"/>
                <a:gd name="connsiteY13" fmla="*/ 66261 h 332220"/>
                <a:gd name="connsiteX14" fmla="*/ 291594 w 317857"/>
                <a:gd name="connsiteY14" fmla="*/ 37840 h 332220"/>
                <a:gd name="connsiteX15" fmla="*/ 309785 w 317857"/>
                <a:gd name="connsiteY15" fmla="*/ 48676 h 332220"/>
                <a:gd name="connsiteX16" fmla="*/ 276218 w 317857"/>
                <a:gd name="connsiteY16" fmla="*/ 89599 h 332220"/>
                <a:gd name="connsiteX17" fmla="*/ 224459 w 317857"/>
                <a:gd name="connsiteY17" fmla="*/ 141357 h 332220"/>
                <a:gd name="connsiteX18" fmla="*/ 191890 w 317857"/>
                <a:gd name="connsiteY18" fmla="*/ 171050 h 332220"/>
                <a:gd name="connsiteX19" fmla="*/ 250005 w 317857"/>
                <a:gd name="connsiteY19" fmla="*/ 131127 h 332220"/>
                <a:gd name="connsiteX20" fmla="*/ 304035 w 317857"/>
                <a:gd name="connsiteY20" fmla="*/ 90204 h 332220"/>
                <a:gd name="connsiteX21" fmla="*/ 316474 w 317857"/>
                <a:gd name="connsiteY21" fmla="*/ 106851 h 332220"/>
                <a:gd name="connsiteX22" fmla="*/ 279093 w 317857"/>
                <a:gd name="connsiteY22" fmla="*/ 132731 h 332220"/>
                <a:gd name="connsiteX23" fmla="*/ 233086 w 317857"/>
                <a:gd name="connsiteY23" fmla="*/ 187365 h 332220"/>
                <a:gd name="connsiteX24" fmla="*/ 210082 w 317857"/>
                <a:gd name="connsiteY24" fmla="*/ 198867 h 332220"/>
                <a:gd name="connsiteX25" fmla="*/ 201456 w 317857"/>
                <a:gd name="connsiteY25" fmla="*/ 216119 h 332220"/>
                <a:gd name="connsiteX26" fmla="*/ 264716 w 317857"/>
                <a:gd name="connsiteY26" fmla="*/ 175863 h 332220"/>
                <a:gd name="connsiteX27" fmla="*/ 287720 w 317857"/>
                <a:gd name="connsiteY27" fmla="*/ 178738 h 332220"/>
                <a:gd name="connsiteX28" fmla="*/ 273342 w 317857"/>
                <a:gd name="connsiteY28" fmla="*/ 201742 h 332220"/>
                <a:gd name="connsiteX29" fmla="*/ 210082 w 317857"/>
                <a:gd name="connsiteY29" fmla="*/ 259251 h 332220"/>
                <a:gd name="connsiteX30" fmla="*/ 149697 w 317857"/>
                <a:gd name="connsiteY30" fmla="*/ 299508 h 332220"/>
                <a:gd name="connsiteX31" fmla="*/ 138195 w 317857"/>
                <a:gd name="connsiteY31" fmla="*/ 313885 h 332220"/>
                <a:gd name="connsiteX32" fmla="*/ 115191 w 317857"/>
                <a:gd name="connsiteY32" fmla="*/ 328263 h 332220"/>
                <a:gd name="connsiteX33" fmla="*/ 3048 w 317857"/>
                <a:gd name="connsiteY33" fmla="*/ 216119 h 332220"/>
                <a:gd name="connsiteX0" fmla="*/ 3048 w 326864"/>
                <a:gd name="connsiteY0" fmla="*/ 216119 h 332220"/>
                <a:gd name="connsiteX1" fmla="*/ 31803 w 326864"/>
                <a:gd name="connsiteY1" fmla="*/ 52218 h 332220"/>
                <a:gd name="connsiteX2" fmla="*/ 31803 w 326864"/>
                <a:gd name="connsiteY2" fmla="*/ 23463 h 332220"/>
                <a:gd name="connsiteX3" fmla="*/ 60557 w 326864"/>
                <a:gd name="connsiteY3" fmla="*/ 20587 h 332220"/>
                <a:gd name="connsiteX4" fmla="*/ 73997 w 326864"/>
                <a:gd name="connsiteY4" fmla="*/ 59301 h 332220"/>
                <a:gd name="connsiteX5" fmla="*/ 70455 w 326864"/>
                <a:gd name="connsiteY5" fmla="*/ 139420 h 332220"/>
                <a:gd name="connsiteX6" fmla="*/ 191830 w 326864"/>
                <a:gd name="connsiteY6" fmla="*/ 42593 h 332220"/>
                <a:gd name="connsiteX7" fmla="*/ 256090 w 326864"/>
                <a:gd name="connsiteY7" fmla="*/ 459 h 332220"/>
                <a:gd name="connsiteX8" fmla="*/ 266986 w 326864"/>
                <a:gd name="connsiteY8" fmla="*/ 23463 h 332220"/>
                <a:gd name="connsiteX9" fmla="*/ 219646 w 326864"/>
                <a:gd name="connsiteY9" fmla="*/ 73284 h 332220"/>
                <a:gd name="connsiteX10" fmla="*/ 169825 w 326864"/>
                <a:gd name="connsiteY10" fmla="*/ 115478 h 332220"/>
                <a:gd name="connsiteX11" fmla="*/ 149697 w 326864"/>
                <a:gd name="connsiteY11" fmla="*/ 149984 h 332220"/>
                <a:gd name="connsiteX12" fmla="*/ 184203 w 326864"/>
                <a:gd name="connsiteY12" fmla="*/ 118353 h 332220"/>
                <a:gd name="connsiteX13" fmla="*/ 250944 w 326864"/>
                <a:gd name="connsiteY13" fmla="*/ 66261 h 332220"/>
                <a:gd name="connsiteX14" fmla="*/ 291594 w 326864"/>
                <a:gd name="connsiteY14" fmla="*/ 37840 h 332220"/>
                <a:gd name="connsiteX15" fmla="*/ 309785 w 326864"/>
                <a:gd name="connsiteY15" fmla="*/ 48676 h 332220"/>
                <a:gd name="connsiteX16" fmla="*/ 276218 w 326864"/>
                <a:gd name="connsiteY16" fmla="*/ 89599 h 332220"/>
                <a:gd name="connsiteX17" fmla="*/ 224459 w 326864"/>
                <a:gd name="connsiteY17" fmla="*/ 141357 h 332220"/>
                <a:gd name="connsiteX18" fmla="*/ 191890 w 326864"/>
                <a:gd name="connsiteY18" fmla="*/ 171050 h 332220"/>
                <a:gd name="connsiteX19" fmla="*/ 250005 w 326864"/>
                <a:gd name="connsiteY19" fmla="*/ 131127 h 332220"/>
                <a:gd name="connsiteX20" fmla="*/ 304035 w 326864"/>
                <a:gd name="connsiteY20" fmla="*/ 90204 h 332220"/>
                <a:gd name="connsiteX21" fmla="*/ 326099 w 326864"/>
                <a:gd name="connsiteY21" fmla="*/ 106851 h 332220"/>
                <a:gd name="connsiteX22" fmla="*/ 279093 w 326864"/>
                <a:gd name="connsiteY22" fmla="*/ 132731 h 332220"/>
                <a:gd name="connsiteX23" fmla="*/ 233086 w 326864"/>
                <a:gd name="connsiteY23" fmla="*/ 187365 h 332220"/>
                <a:gd name="connsiteX24" fmla="*/ 210082 w 326864"/>
                <a:gd name="connsiteY24" fmla="*/ 198867 h 332220"/>
                <a:gd name="connsiteX25" fmla="*/ 201456 w 326864"/>
                <a:gd name="connsiteY25" fmla="*/ 216119 h 332220"/>
                <a:gd name="connsiteX26" fmla="*/ 264716 w 326864"/>
                <a:gd name="connsiteY26" fmla="*/ 175863 h 332220"/>
                <a:gd name="connsiteX27" fmla="*/ 287720 w 326864"/>
                <a:gd name="connsiteY27" fmla="*/ 178738 h 332220"/>
                <a:gd name="connsiteX28" fmla="*/ 273342 w 326864"/>
                <a:gd name="connsiteY28" fmla="*/ 201742 h 332220"/>
                <a:gd name="connsiteX29" fmla="*/ 210082 w 326864"/>
                <a:gd name="connsiteY29" fmla="*/ 259251 h 332220"/>
                <a:gd name="connsiteX30" fmla="*/ 149697 w 326864"/>
                <a:gd name="connsiteY30" fmla="*/ 299508 h 332220"/>
                <a:gd name="connsiteX31" fmla="*/ 138195 w 326864"/>
                <a:gd name="connsiteY31" fmla="*/ 313885 h 332220"/>
                <a:gd name="connsiteX32" fmla="*/ 115191 w 326864"/>
                <a:gd name="connsiteY32" fmla="*/ 328263 h 332220"/>
                <a:gd name="connsiteX33" fmla="*/ 3048 w 326864"/>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87720 w 326788"/>
                <a:gd name="connsiteY27" fmla="*/ 178738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5741 w 326788"/>
                <a:gd name="connsiteY27" fmla="*/ 181946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88"/>
                <a:gd name="connsiteY0" fmla="*/ 216119 h 332220"/>
                <a:gd name="connsiteX1" fmla="*/ 31803 w 326788"/>
                <a:gd name="connsiteY1" fmla="*/ 52218 h 332220"/>
                <a:gd name="connsiteX2" fmla="*/ 31803 w 326788"/>
                <a:gd name="connsiteY2" fmla="*/ 23463 h 332220"/>
                <a:gd name="connsiteX3" fmla="*/ 60557 w 326788"/>
                <a:gd name="connsiteY3" fmla="*/ 20587 h 332220"/>
                <a:gd name="connsiteX4" fmla="*/ 73997 w 326788"/>
                <a:gd name="connsiteY4" fmla="*/ 59301 h 332220"/>
                <a:gd name="connsiteX5" fmla="*/ 70455 w 326788"/>
                <a:gd name="connsiteY5" fmla="*/ 139420 h 332220"/>
                <a:gd name="connsiteX6" fmla="*/ 191830 w 326788"/>
                <a:gd name="connsiteY6" fmla="*/ 42593 h 332220"/>
                <a:gd name="connsiteX7" fmla="*/ 256090 w 326788"/>
                <a:gd name="connsiteY7" fmla="*/ 459 h 332220"/>
                <a:gd name="connsiteX8" fmla="*/ 266986 w 326788"/>
                <a:gd name="connsiteY8" fmla="*/ 23463 h 332220"/>
                <a:gd name="connsiteX9" fmla="*/ 219646 w 326788"/>
                <a:gd name="connsiteY9" fmla="*/ 73284 h 332220"/>
                <a:gd name="connsiteX10" fmla="*/ 169825 w 326788"/>
                <a:gd name="connsiteY10" fmla="*/ 115478 h 332220"/>
                <a:gd name="connsiteX11" fmla="*/ 149697 w 326788"/>
                <a:gd name="connsiteY11" fmla="*/ 149984 h 332220"/>
                <a:gd name="connsiteX12" fmla="*/ 184203 w 326788"/>
                <a:gd name="connsiteY12" fmla="*/ 118353 h 332220"/>
                <a:gd name="connsiteX13" fmla="*/ 250944 w 326788"/>
                <a:gd name="connsiteY13" fmla="*/ 66261 h 332220"/>
                <a:gd name="connsiteX14" fmla="*/ 291594 w 326788"/>
                <a:gd name="connsiteY14" fmla="*/ 37840 h 332220"/>
                <a:gd name="connsiteX15" fmla="*/ 309785 w 326788"/>
                <a:gd name="connsiteY15" fmla="*/ 48676 h 332220"/>
                <a:gd name="connsiteX16" fmla="*/ 276218 w 326788"/>
                <a:gd name="connsiteY16" fmla="*/ 89599 h 332220"/>
                <a:gd name="connsiteX17" fmla="*/ 224459 w 326788"/>
                <a:gd name="connsiteY17" fmla="*/ 141357 h 332220"/>
                <a:gd name="connsiteX18" fmla="*/ 191890 w 326788"/>
                <a:gd name="connsiteY18" fmla="*/ 171050 h 332220"/>
                <a:gd name="connsiteX19" fmla="*/ 250005 w 326788"/>
                <a:gd name="connsiteY19" fmla="*/ 131127 h 332220"/>
                <a:gd name="connsiteX20" fmla="*/ 304035 w 326788"/>
                <a:gd name="connsiteY20" fmla="*/ 90204 h 332220"/>
                <a:gd name="connsiteX21" fmla="*/ 326099 w 326788"/>
                <a:gd name="connsiteY21" fmla="*/ 106851 h 332220"/>
                <a:gd name="connsiteX22" fmla="*/ 280698 w 326788"/>
                <a:gd name="connsiteY22" fmla="*/ 137544 h 332220"/>
                <a:gd name="connsiteX23" fmla="*/ 233086 w 326788"/>
                <a:gd name="connsiteY23" fmla="*/ 187365 h 332220"/>
                <a:gd name="connsiteX24" fmla="*/ 210082 w 326788"/>
                <a:gd name="connsiteY24" fmla="*/ 198867 h 332220"/>
                <a:gd name="connsiteX25" fmla="*/ 201456 w 326788"/>
                <a:gd name="connsiteY25" fmla="*/ 216119 h 332220"/>
                <a:gd name="connsiteX26" fmla="*/ 264716 w 326788"/>
                <a:gd name="connsiteY26" fmla="*/ 175863 h 332220"/>
                <a:gd name="connsiteX27" fmla="*/ 292533 w 326788"/>
                <a:gd name="connsiteY27" fmla="*/ 173925 h 332220"/>
                <a:gd name="connsiteX28" fmla="*/ 273342 w 326788"/>
                <a:gd name="connsiteY28" fmla="*/ 201742 h 332220"/>
                <a:gd name="connsiteX29" fmla="*/ 210082 w 326788"/>
                <a:gd name="connsiteY29" fmla="*/ 259251 h 332220"/>
                <a:gd name="connsiteX30" fmla="*/ 149697 w 326788"/>
                <a:gd name="connsiteY30" fmla="*/ 299508 h 332220"/>
                <a:gd name="connsiteX31" fmla="*/ 138195 w 326788"/>
                <a:gd name="connsiteY31" fmla="*/ 313885 h 332220"/>
                <a:gd name="connsiteX32" fmla="*/ 115191 w 326788"/>
                <a:gd name="connsiteY32" fmla="*/ 328263 h 332220"/>
                <a:gd name="connsiteX33" fmla="*/ 3048 w 326788"/>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10082 w 326714"/>
                <a:gd name="connsiteY24" fmla="*/ 198867 h 332220"/>
                <a:gd name="connsiteX25" fmla="*/ 201456 w 326714"/>
                <a:gd name="connsiteY25" fmla="*/ 216119 h 332220"/>
                <a:gd name="connsiteX26" fmla="*/ 264716 w 326714"/>
                <a:gd name="connsiteY26" fmla="*/ 175863 h 332220"/>
                <a:gd name="connsiteX27" fmla="*/ 292533 w 326714"/>
                <a:gd name="connsiteY27" fmla="*/ 173925 h 332220"/>
                <a:gd name="connsiteX28" fmla="*/ 273342 w 326714"/>
                <a:gd name="connsiteY28" fmla="*/ 201742 h 332220"/>
                <a:gd name="connsiteX29" fmla="*/ 210082 w 326714"/>
                <a:gd name="connsiteY29" fmla="*/ 259251 h 332220"/>
                <a:gd name="connsiteX30" fmla="*/ 149697 w 326714"/>
                <a:gd name="connsiteY30" fmla="*/ 299508 h 332220"/>
                <a:gd name="connsiteX31" fmla="*/ 138195 w 326714"/>
                <a:gd name="connsiteY31" fmla="*/ 313885 h 332220"/>
                <a:gd name="connsiteX32" fmla="*/ 115191 w 326714"/>
                <a:gd name="connsiteY32" fmla="*/ 328263 h 332220"/>
                <a:gd name="connsiteX33" fmla="*/ 3048 w 326714"/>
                <a:gd name="connsiteY33" fmla="*/ 216119 h 332220"/>
                <a:gd name="connsiteX0" fmla="*/ 3048 w 326714"/>
                <a:gd name="connsiteY0" fmla="*/ 216119 h 332220"/>
                <a:gd name="connsiteX1" fmla="*/ 31803 w 326714"/>
                <a:gd name="connsiteY1" fmla="*/ 52218 h 332220"/>
                <a:gd name="connsiteX2" fmla="*/ 31803 w 326714"/>
                <a:gd name="connsiteY2" fmla="*/ 23463 h 332220"/>
                <a:gd name="connsiteX3" fmla="*/ 60557 w 326714"/>
                <a:gd name="connsiteY3" fmla="*/ 20587 h 332220"/>
                <a:gd name="connsiteX4" fmla="*/ 73997 w 326714"/>
                <a:gd name="connsiteY4" fmla="*/ 59301 h 332220"/>
                <a:gd name="connsiteX5" fmla="*/ 70455 w 326714"/>
                <a:gd name="connsiteY5" fmla="*/ 139420 h 332220"/>
                <a:gd name="connsiteX6" fmla="*/ 191830 w 326714"/>
                <a:gd name="connsiteY6" fmla="*/ 42593 h 332220"/>
                <a:gd name="connsiteX7" fmla="*/ 256090 w 326714"/>
                <a:gd name="connsiteY7" fmla="*/ 459 h 332220"/>
                <a:gd name="connsiteX8" fmla="*/ 266986 w 326714"/>
                <a:gd name="connsiteY8" fmla="*/ 23463 h 332220"/>
                <a:gd name="connsiteX9" fmla="*/ 219646 w 326714"/>
                <a:gd name="connsiteY9" fmla="*/ 73284 h 332220"/>
                <a:gd name="connsiteX10" fmla="*/ 169825 w 326714"/>
                <a:gd name="connsiteY10" fmla="*/ 115478 h 332220"/>
                <a:gd name="connsiteX11" fmla="*/ 149697 w 326714"/>
                <a:gd name="connsiteY11" fmla="*/ 149984 h 332220"/>
                <a:gd name="connsiteX12" fmla="*/ 184203 w 326714"/>
                <a:gd name="connsiteY12" fmla="*/ 118353 h 332220"/>
                <a:gd name="connsiteX13" fmla="*/ 250944 w 326714"/>
                <a:gd name="connsiteY13" fmla="*/ 66261 h 332220"/>
                <a:gd name="connsiteX14" fmla="*/ 291594 w 326714"/>
                <a:gd name="connsiteY14" fmla="*/ 37840 h 332220"/>
                <a:gd name="connsiteX15" fmla="*/ 309785 w 326714"/>
                <a:gd name="connsiteY15" fmla="*/ 48676 h 332220"/>
                <a:gd name="connsiteX16" fmla="*/ 276218 w 326714"/>
                <a:gd name="connsiteY16" fmla="*/ 89599 h 332220"/>
                <a:gd name="connsiteX17" fmla="*/ 224459 w 326714"/>
                <a:gd name="connsiteY17" fmla="*/ 141357 h 332220"/>
                <a:gd name="connsiteX18" fmla="*/ 191890 w 326714"/>
                <a:gd name="connsiteY18" fmla="*/ 171050 h 332220"/>
                <a:gd name="connsiteX19" fmla="*/ 250005 w 326714"/>
                <a:gd name="connsiteY19" fmla="*/ 131127 h 332220"/>
                <a:gd name="connsiteX20" fmla="*/ 304035 w 326714"/>
                <a:gd name="connsiteY20" fmla="*/ 90204 h 332220"/>
                <a:gd name="connsiteX21" fmla="*/ 326099 w 326714"/>
                <a:gd name="connsiteY21" fmla="*/ 106851 h 332220"/>
                <a:gd name="connsiteX22" fmla="*/ 282302 w 326714"/>
                <a:gd name="connsiteY22" fmla="*/ 142356 h 332220"/>
                <a:gd name="connsiteX23" fmla="*/ 233086 w 326714"/>
                <a:gd name="connsiteY23" fmla="*/ 187365 h 332220"/>
                <a:gd name="connsiteX24" fmla="*/ 201456 w 326714"/>
                <a:gd name="connsiteY24" fmla="*/ 216119 h 332220"/>
                <a:gd name="connsiteX25" fmla="*/ 264716 w 326714"/>
                <a:gd name="connsiteY25" fmla="*/ 175863 h 332220"/>
                <a:gd name="connsiteX26" fmla="*/ 292533 w 326714"/>
                <a:gd name="connsiteY26" fmla="*/ 173925 h 332220"/>
                <a:gd name="connsiteX27" fmla="*/ 273342 w 326714"/>
                <a:gd name="connsiteY27" fmla="*/ 201742 h 332220"/>
                <a:gd name="connsiteX28" fmla="*/ 210082 w 326714"/>
                <a:gd name="connsiteY28" fmla="*/ 259251 h 332220"/>
                <a:gd name="connsiteX29" fmla="*/ 149697 w 326714"/>
                <a:gd name="connsiteY29" fmla="*/ 299508 h 332220"/>
                <a:gd name="connsiteX30" fmla="*/ 138195 w 326714"/>
                <a:gd name="connsiteY30" fmla="*/ 313885 h 332220"/>
                <a:gd name="connsiteX31" fmla="*/ 115191 w 326714"/>
                <a:gd name="connsiteY31" fmla="*/ 328263 h 332220"/>
                <a:gd name="connsiteX32" fmla="*/ 3048 w 326714"/>
                <a:gd name="connsiteY32" fmla="*/ 216119 h 332220"/>
                <a:gd name="connsiteX0" fmla="*/ 3048 w 326714"/>
                <a:gd name="connsiteY0" fmla="*/ 216119 h 330875"/>
                <a:gd name="connsiteX1" fmla="*/ 31803 w 326714"/>
                <a:gd name="connsiteY1" fmla="*/ 52218 h 330875"/>
                <a:gd name="connsiteX2" fmla="*/ 31803 w 326714"/>
                <a:gd name="connsiteY2" fmla="*/ 23463 h 330875"/>
                <a:gd name="connsiteX3" fmla="*/ 60557 w 326714"/>
                <a:gd name="connsiteY3" fmla="*/ 20587 h 330875"/>
                <a:gd name="connsiteX4" fmla="*/ 73997 w 326714"/>
                <a:gd name="connsiteY4" fmla="*/ 59301 h 330875"/>
                <a:gd name="connsiteX5" fmla="*/ 70455 w 326714"/>
                <a:gd name="connsiteY5" fmla="*/ 139420 h 330875"/>
                <a:gd name="connsiteX6" fmla="*/ 191830 w 326714"/>
                <a:gd name="connsiteY6" fmla="*/ 42593 h 330875"/>
                <a:gd name="connsiteX7" fmla="*/ 256090 w 326714"/>
                <a:gd name="connsiteY7" fmla="*/ 459 h 330875"/>
                <a:gd name="connsiteX8" fmla="*/ 266986 w 326714"/>
                <a:gd name="connsiteY8" fmla="*/ 23463 h 330875"/>
                <a:gd name="connsiteX9" fmla="*/ 219646 w 326714"/>
                <a:gd name="connsiteY9" fmla="*/ 73284 h 330875"/>
                <a:gd name="connsiteX10" fmla="*/ 169825 w 326714"/>
                <a:gd name="connsiteY10" fmla="*/ 115478 h 330875"/>
                <a:gd name="connsiteX11" fmla="*/ 149697 w 326714"/>
                <a:gd name="connsiteY11" fmla="*/ 149984 h 330875"/>
                <a:gd name="connsiteX12" fmla="*/ 184203 w 326714"/>
                <a:gd name="connsiteY12" fmla="*/ 118353 h 330875"/>
                <a:gd name="connsiteX13" fmla="*/ 250944 w 326714"/>
                <a:gd name="connsiteY13" fmla="*/ 66261 h 330875"/>
                <a:gd name="connsiteX14" fmla="*/ 291594 w 326714"/>
                <a:gd name="connsiteY14" fmla="*/ 37840 h 330875"/>
                <a:gd name="connsiteX15" fmla="*/ 309785 w 326714"/>
                <a:gd name="connsiteY15" fmla="*/ 48676 h 330875"/>
                <a:gd name="connsiteX16" fmla="*/ 276218 w 326714"/>
                <a:gd name="connsiteY16" fmla="*/ 89599 h 330875"/>
                <a:gd name="connsiteX17" fmla="*/ 224459 w 326714"/>
                <a:gd name="connsiteY17" fmla="*/ 141357 h 330875"/>
                <a:gd name="connsiteX18" fmla="*/ 191890 w 326714"/>
                <a:gd name="connsiteY18" fmla="*/ 171050 h 330875"/>
                <a:gd name="connsiteX19" fmla="*/ 250005 w 326714"/>
                <a:gd name="connsiteY19" fmla="*/ 131127 h 330875"/>
                <a:gd name="connsiteX20" fmla="*/ 304035 w 326714"/>
                <a:gd name="connsiteY20" fmla="*/ 90204 h 330875"/>
                <a:gd name="connsiteX21" fmla="*/ 326099 w 326714"/>
                <a:gd name="connsiteY21" fmla="*/ 106851 h 330875"/>
                <a:gd name="connsiteX22" fmla="*/ 282302 w 326714"/>
                <a:gd name="connsiteY22" fmla="*/ 142356 h 330875"/>
                <a:gd name="connsiteX23" fmla="*/ 233086 w 326714"/>
                <a:gd name="connsiteY23" fmla="*/ 187365 h 330875"/>
                <a:gd name="connsiteX24" fmla="*/ 201456 w 326714"/>
                <a:gd name="connsiteY24" fmla="*/ 216119 h 330875"/>
                <a:gd name="connsiteX25" fmla="*/ 264716 w 326714"/>
                <a:gd name="connsiteY25" fmla="*/ 175863 h 330875"/>
                <a:gd name="connsiteX26" fmla="*/ 292533 w 326714"/>
                <a:gd name="connsiteY26" fmla="*/ 173925 h 330875"/>
                <a:gd name="connsiteX27" fmla="*/ 273342 w 326714"/>
                <a:gd name="connsiteY27" fmla="*/ 201742 h 330875"/>
                <a:gd name="connsiteX28" fmla="*/ 210082 w 326714"/>
                <a:gd name="connsiteY28" fmla="*/ 259251 h 330875"/>
                <a:gd name="connsiteX29" fmla="*/ 149697 w 326714"/>
                <a:gd name="connsiteY29" fmla="*/ 299508 h 330875"/>
                <a:gd name="connsiteX30" fmla="*/ 138195 w 326714"/>
                <a:gd name="connsiteY30" fmla="*/ 313885 h 330875"/>
                <a:gd name="connsiteX31" fmla="*/ 115191 w 326714"/>
                <a:gd name="connsiteY31" fmla="*/ 328263 h 330875"/>
                <a:gd name="connsiteX32" fmla="*/ 30858 w 326714"/>
                <a:gd name="connsiteY32" fmla="*/ 256918 h 330875"/>
                <a:gd name="connsiteX33" fmla="*/ 3048 w 326714"/>
                <a:gd name="connsiteY33" fmla="*/ 216119 h 330875"/>
                <a:gd name="connsiteX0" fmla="*/ 12533 w 336199"/>
                <a:gd name="connsiteY0" fmla="*/ 216119 h 328736"/>
                <a:gd name="connsiteX1" fmla="*/ 41288 w 336199"/>
                <a:gd name="connsiteY1" fmla="*/ 52218 h 328736"/>
                <a:gd name="connsiteX2" fmla="*/ 41288 w 336199"/>
                <a:gd name="connsiteY2" fmla="*/ 23463 h 328736"/>
                <a:gd name="connsiteX3" fmla="*/ 70042 w 336199"/>
                <a:gd name="connsiteY3" fmla="*/ 20587 h 328736"/>
                <a:gd name="connsiteX4" fmla="*/ 83482 w 336199"/>
                <a:gd name="connsiteY4" fmla="*/ 59301 h 328736"/>
                <a:gd name="connsiteX5" fmla="*/ 79940 w 336199"/>
                <a:gd name="connsiteY5" fmla="*/ 139420 h 328736"/>
                <a:gd name="connsiteX6" fmla="*/ 201315 w 336199"/>
                <a:gd name="connsiteY6" fmla="*/ 42593 h 328736"/>
                <a:gd name="connsiteX7" fmla="*/ 265575 w 336199"/>
                <a:gd name="connsiteY7" fmla="*/ 459 h 328736"/>
                <a:gd name="connsiteX8" fmla="*/ 276471 w 336199"/>
                <a:gd name="connsiteY8" fmla="*/ 23463 h 328736"/>
                <a:gd name="connsiteX9" fmla="*/ 229131 w 336199"/>
                <a:gd name="connsiteY9" fmla="*/ 73284 h 328736"/>
                <a:gd name="connsiteX10" fmla="*/ 179310 w 336199"/>
                <a:gd name="connsiteY10" fmla="*/ 115478 h 328736"/>
                <a:gd name="connsiteX11" fmla="*/ 159182 w 336199"/>
                <a:gd name="connsiteY11" fmla="*/ 149984 h 328736"/>
                <a:gd name="connsiteX12" fmla="*/ 193688 w 336199"/>
                <a:gd name="connsiteY12" fmla="*/ 118353 h 328736"/>
                <a:gd name="connsiteX13" fmla="*/ 260429 w 336199"/>
                <a:gd name="connsiteY13" fmla="*/ 66261 h 328736"/>
                <a:gd name="connsiteX14" fmla="*/ 301079 w 336199"/>
                <a:gd name="connsiteY14" fmla="*/ 37840 h 328736"/>
                <a:gd name="connsiteX15" fmla="*/ 319270 w 336199"/>
                <a:gd name="connsiteY15" fmla="*/ 48676 h 328736"/>
                <a:gd name="connsiteX16" fmla="*/ 285703 w 336199"/>
                <a:gd name="connsiteY16" fmla="*/ 89599 h 328736"/>
                <a:gd name="connsiteX17" fmla="*/ 233944 w 336199"/>
                <a:gd name="connsiteY17" fmla="*/ 141357 h 328736"/>
                <a:gd name="connsiteX18" fmla="*/ 201375 w 336199"/>
                <a:gd name="connsiteY18" fmla="*/ 171050 h 328736"/>
                <a:gd name="connsiteX19" fmla="*/ 259490 w 336199"/>
                <a:gd name="connsiteY19" fmla="*/ 131127 h 328736"/>
                <a:gd name="connsiteX20" fmla="*/ 313520 w 336199"/>
                <a:gd name="connsiteY20" fmla="*/ 90204 h 328736"/>
                <a:gd name="connsiteX21" fmla="*/ 335584 w 336199"/>
                <a:gd name="connsiteY21" fmla="*/ 106851 h 328736"/>
                <a:gd name="connsiteX22" fmla="*/ 291787 w 336199"/>
                <a:gd name="connsiteY22" fmla="*/ 142356 h 328736"/>
                <a:gd name="connsiteX23" fmla="*/ 242571 w 336199"/>
                <a:gd name="connsiteY23" fmla="*/ 187365 h 328736"/>
                <a:gd name="connsiteX24" fmla="*/ 210941 w 336199"/>
                <a:gd name="connsiteY24" fmla="*/ 216119 h 328736"/>
                <a:gd name="connsiteX25" fmla="*/ 274201 w 336199"/>
                <a:gd name="connsiteY25" fmla="*/ 175863 h 328736"/>
                <a:gd name="connsiteX26" fmla="*/ 302018 w 336199"/>
                <a:gd name="connsiteY26" fmla="*/ 173925 h 328736"/>
                <a:gd name="connsiteX27" fmla="*/ 282827 w 336199"/>
                <a:gd name="connsiteY27" fmla="*/ 201742 h 328736"/>
                <a:gd name="connsiteX28" fmla="*/ 219567 w 336199"/>
                <a:gd name="connsiteY28" fmla="*/ 259251 h 328736"/>
                <a:gd name="connsiteX29" fmla="*/ 159182 w 336199"/>
                <a:gd name="connsiteY29" fmla="*/ 299508 h 328736"/>
                <a:gd name="connsiteX30" fmla="*/ 147680 w 336199"/>
                <a:gd name="connsiteY30" fmla="*/ 313885 h 328736"/>
                <a:gd name="connsiteX31" fmla="*/ 124676 w 336199"/>
                <a:gd name="connsiteY31" fmla="*/ 328263 h 328736"/>
                <a:gd name="connsiteX32" fmla="*/ 8468 w 336199"/>
                <a:gd name="connsiteY32" fmla="*/ 295477 h 328736"/>
                <a:gd name="connsiteX33" fmla="*/ 12533 w 336199"/>
                <a:gd name="connsiteY33" fmla="*/ 216119 h 3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6199" h="328736">
                  <a:moveTo>
                    <a:pt x="12533" y="216119"/>
                  </a:moveTo>
                  <a:cubicBezTo>
                    <a:pt x="18003" y="175576"/>
                    <a:pt x="36495" y="84327"/>
                    <a:pt x="41288" y="52218"/>
                  </a:cubicBezTo>
                  <a:cubicBezTo>
                    <a:pt x="46081" y="20109"/>
                    <a:pt x="36496" y="28735"/>
                    <a:pt x="41288" y="23463"/>
                  </a:cubicBezTo>
                  <a:cubicBezTo>
                    <a:pt x="46080" y="18191"/>
                    <a:pt x="63010" y="14614"/>
                    <a:pt x="70042" y="20587"/>
                  </a:cubicBezTo>
                  <a:cubicBezTo>
                    <a:pt x="77074" y="26560"/>
                    <a:pt x="81832" y="39496"/>
                    <a:pt x="83482" y="59301"/>
                  </a:cubicBezTo>
                  <a:cubicBezTo>
                    <a:pt x="85132" y="79107"/>
                    <a:pt x="60301" y="142205"/>
                    <a:pt x="79940" y="139420"/>
                  </a:cubicBezTo>
                  <a:cubicBezTo>
                    <a:pt x="99579" y="136635"/>
                    <a:pt x="170376" y="65753"/>
                    <a:pt x="201315" y="42593"/>
                  </a:cubicBezTo>
                  <a:cubicBezTo>
                    <a:pt x="232254" y="19433"/>
                    <a:pt x="253049" y="3647"/>
                    <a:pt x="265575" y="459"/>
                  </a:cubicBezTo>
                  <a:cubicBezTo>
                    <a:pt x="278101" y="-2729"/>
                    <a:pt x="282545" y="11326"/>
                    <a:pt x="276471" y="23463"/>
                  </a:cubicBezTo>
                  <a:cubicBezTo>
                    <a:pt x="270397" y="35600"/>
                    <a:pt x="245324" y="57948"/>
                    <a:pt x="229131" y="73284"/>
                  </a:cubicBezTo>
                  <a:cubicBezTo>
                    <a:pt x="212938" y="88620"/>
                    <a:pt x="190968" y="102695"/>
                    <a:pt x="179310" y="115478"/>
                  </a:cubicBezTo>
                  <a:cubicBezTo>
                    <a:pt x="167652" y="128261"/>
                    <a:pt x="156786" y="149505"/>
                    <a:pt x="159182" y="149984"/>
                  </a:cubicBezTo>
                  <a:cubicBezTo>
                    <a:pt x="161578" y="150463"/>
                    <a:pt x="176814" y="132307"/>
                    <a:pt x="193688" y="118353"/>
                  </a:cubicBezTo>
                  <a:cubicBezTo>
                    <a:pt x="210562" y="104399"/>
                    <a:pt x="242531" y="79680"/>
                    <a:pt x="260429" y="66261"/>
                  </a:cubicBezTo>
                  <a:cubicBezTo>
                    <a:pt x="278328" y="52842"/>
                    <a:pt x="291272" y="40771"/>
                    <a:pt x="301079" y="37840"/>
                  </a:cubicBezTo>
                  <a:cubicBezTo>
                    <a:pt x="310886" y="34909"/>
                    <a:pt x="321833" y="40050"/>
                    <a:pt x="319270" y="48676"/>
                  </a:cubicBezTo>
                  <a:cubicBezTo>
                    <a:pt x="316707" y="57303"/>
                    <a:pt x="299924" y="74152"/>
                    <a:pt x="285703" y="89599"/>
                  </a:cubicBezTo>
                  <a:cubicBezTo>
                    <a:pt x="271482" y="105046"/>
                    <a:pt x="247999" y="127782"/>
                    <a:pt x="233944" y="141357"/>
                  </a:cubicBezTo>
                  <a:cubicBezTo>
                    <a:pt x="219889" y="154932"/>
                    <a:pt x="197117" y="172755"/>
                    <a:pt x="201375" y="171050"/>
                  </a:cubicBezTo>
                  <a:cubicBezTo>
                    <a:pt x="205633" y="169345"/>
                    <a:pt x="240799" y="144601"/>
                    <a:pt x="259490" y="131127"/>
                  </a:cubicBezTo>
                  <a:cubicBezTo>
                    <a:pt x="278181" y="117653"/>
                    <a:pt x="300838" y="94250"/>
                    <a:pt x="313520" y="90204"/>
                  </a:cubicBezTo>
                  <a:cubicBezTo>
                    <a:pt x="326202" y="86158"/>
                    <a:pt x="339206" y="98159"/>
                    <a:pt x="335584" y="106851"/>
                  </a:cubicBezTo>
                  <a:cubicBezTo>
                    <a:pt x="331962" y="115543"/>
                    <a:pt x="307289" y="128937"/>
                    <a:pt x="291787" y="142356"/>
                  </a:cubicBezTo>
                  <a:cubicBezTo>
                    <a:pt x="276285" y="155775"/>
                    <a:pt x="256045" y="175071"/>
                    <a:pt x="242571" y="187365"/>
                  </a:cubicBezTo>
                  <a:cubicBezTo>
                    <a:pt x="229097" y="199659"/>
                    <a:pt x="205669" y="218036"/>
                    <a:pt x="210941" y="216119"/>
                  </a:cubicBezTo>
                  <a:cubicBezTo>
                    <a:pt x="216213" y="214202"/>
                    <a:pt x="259022" y="182895"/>
                    <a:pt x="274201" y="175863"/>
                  </a:cubicBezTo>
                  <a:cubicBezTo>
                    <a:pt x="289380" y="168831"/>
                    <a:pt x="300580" y="169612"/>
                    <a:pt x="302018" y="173925"/>
                  </a:cubicBezTo>
                  <a:cubicBezTo>
                    <a:pt x="303456" y="178238"/>
                    <a:pt x="296569" y="187521"/>
                    <a:pt x="282827" y="201742"/>
                  </a:cubicBezTo>
                  <a:cubicBezTo>
                    <a:pt x="269085" y="215963"/>
                    <a:pt x="240174" y="242957"/>
                    <a:pt x="219567" y="259251"/>
                  </a:cubicBezTo>
                  <a:cubicBezTo>
                    <a:pt x="198960" y="275545"/>
                    <a:pt x="171163" y="290402"/>
                    <a:pt x="159182" y="299508"/>
                  </a:cubicBezTo>
                  <a:cubicBezTo>
                    <a:pt x="147201" y="308614"/>
                    <a:pt x="153431" y="309093"/>
                    <a:pt x="147680" y="313885"/>
                  </a:cubicBezTo>
                  <a:cubicBezTo>
                    <a:pt x="141929" y="318677"/>
                    <a:pt x="147878" y="331331"/>
                    <a:pt x="124676" y="328263"/>
                  </a:cubicBezTo>
                  <a:cubicBezTo>
                    <a:pt x="101474" y="325195"/>
                    <a:pt x="27158" y="314168"/>
                    <a:pt x="8468" y="295477"/>
                  </a:cubicBezTo>
                  <a:cubicBezTo>
                    <a:pt x="-10222" y="276786"/>
                    <a:pt x="7063" y="256662"/>
                    <a:pt x="12533" y="21611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sp>
          <p:nvSpPr>
            <p:cNvPr id="10" name="Freeform 506"/>
            <p:cNvSpPr/>
            <p:nvPr/>
          </p:nvSpPr>
          <p:spPr bwMode="auto">
            <a:xfrm flipH="1">
              <a:off x="8031214" y="1560221"/>
              <a:ext cx="367216"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216" h="87683">
                  <a:moveTo>
                    <a:pt x="6808" y="78289"/>
                  </a:moveTo>
                  <a:cubicBezTo>
                    <a:pt x="-13070" y="77185"/>
                    <a:pt x="16195" y="80498"/>
                    <a:pt x="23373" y="71663"/>
                  </a:cubicBezTo>
                  <a:cubicBezTo>
                    <a:pt x="30551" y="62828"/>
                    <a:pt x="29446" y="19207"/>
                    <a:pt x="79694" y="8716"/>
                  </a:cubicBezTo>
                  <a:cubicBezTo>
                    <a:pt x="129942" y="-1775"/>
                    <a:pt x="277373" y="-3984"/>
                    <a:pt x="324860" y="8716"/>
                  </a:cubicBezTo>
                  <a:cubicBezTo>
                    <a:pt x="372347" y="21416"/>
                    <a:pt x="369586" y="74425"/>
                    <a:pt x="364616" y="84916"/>
                  </a:cubicBezTo>
                  <a:cubicBezTo>
                    <a:pt x="359646" y="95407"/>
                    <a:pt x="332038" y="72767"/>
                    <a:pt x="295042" y="71663"/>
                  </a:cubicBezTo>
                  <a:cubicBezTo>
                    <a:pt x="258046" y="70559"/>
                    <a:pt x="190681" y="77186"/>
                    <a:pt x="142642" y="78290"/>
                  </a:cubicBezTo>
                  <a:cubicBezTo>
                    <a:pt x="94603" y="79394"/>
                    <a:pt x="17299" y="89885"/>
                    <a:pt x="6808" y="78289"/>
                  </a:cubicBezTo>
                  <a:close/>
                </a:path>
              </a:pathLst>
            </a:cu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11" name="Oval 4"/>
            <p:cNvSpPr/>
            <p:nvPr/>
          </p:nvSpPr>
          <p:spPr bwMode="auto">
            <a:xfrm>
              <a:off x="7782252" y="846186"/>
              <a:ext cx="785455" cy="1093768"/>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86977"/>
                <a:gd name="connsiteY0" fmla="*/ 574189 h 1049304"/>
                <a:gd name="connsiteX1" fmla="*/ 112043 w 786977"/>
                <a:gd name="connsiteY1" fmla="*/ 134313 h 1049304"/>
                <a:gd name="connsiteX2" fmla="*/ 418634 w 786977"/>
                <a:gd name="connsiteY2" fmla="*/ 29933 h 1049304"/>
                <a:gd name="connsiteX3" fmla="*/ 723416 w 786977"/>
                <a:gd name="connsiteY3" fmla="*/ 54569 h 1049304"/>
                <a:gd name="connsiteX4" fmla="*/ 783938 w 786977"/>
                <a:gd name="connsiteY4" fmla="*/ 478497 h 1049304"/>
                <a:gd name="connsiteX5" fmla="*/ 654303 w 786977"/>
                <a:gd name="connsiteY5" fmla="*/ 883908 h 1049304"/>
                <a:gd name="connsiteX6" fmla="*/ 450532 w 786977"/>
                <a:gd name="connsiteY6" fmla="*/ 1044016 h 1049304"/>
                <a:gd name="connsiteX7" fmla="*/ 133309 w 786977"/>
                <a:gd name="connsiteY7" fmla="*/ 968969 h 1049304"/>
                <a:gd name="connsiteX8" fmla="*/ 168 w 786977"/>
                <a:gd name="connsiteY8" fmla="*/ 574189 h 1049304"/>
                <a:gd name="connsiteX0" fmla="*/ 199 w 787008"/>
                <a:gd name="connsiteY0" fmla="*/ 574189 h 1045659"/>
                <a:gd name="connsiteX1" fmla="*/ 112074 w 787008"/>
                <a:gd name="connsiteY1" fmla="*/ 134313 h 1045659"/>
                <a:gd name="connsiteX2" fmla="*/ 418665 w 787008"/>
                <a:gd name="connsiteY2" fmla="*/ 29933 h 1045659"/>
                <a:gd name="connsiteX3" fmla="*/ 723447 w 787008"/>
                <a:gd name="connsiteY3" fmla="*/ 54569 h 1045659"/>
                <a:gd name="connsiteX4" fmla="*/ 783969 w 787008"/>
                <a:gd name="connsiteY4" fmla="*/ 478497 h 1045659"/>
                <a:gd name="connsiteX5" fmla="*/ 654334 w 787008"/>
                <a:gd name="connsiteY5" fmla="*/ 883908 h 1045659"/>
                <a:gd name="connsiteX6" fmla="*/ 450563 w 787008"/>
                <a:gd name="connsiteY6" fmla="*/ 1044016 h 1045659"/>
                <a:gd name="connsiteX7" fmla="*/ 96127 w 787008"/>
                <a:gd name="connsiteY7" fmla="*/ 899857 h 1045659"/>
                <a:gd name="connsiteX8" fmla="*/ 199 w 787008"/>
                <a:gd name="connsiteY8" fmla="*/ 574189 h 1045659"/>
                <a:gd name="connsiteX0" fmla="*/ 2662 w 789471"/>
                <a:gd name="connsiteY0" fmla="*/ 574189 h 1052396"/>
                <a:gd name="connsiteX1" fmla="*/ 114537 w 789471"/>
                <a:gd name="connsiteY1" fmla="*/ 134313 h 1052396"/>
                <a:gd name="connsiteX2" fmla="*/ 421128 w 789471"/>
                <a:gd name="connsiteY2" fmla="*/ 29933 h 1052396"/>
                <a:gd name="connsiteX3" fmla="*/ 725910 w 789471"/>
                <a:gd name="connsiteY3" fmla="*/ 54569 h 1052396"/>
                <a:gd name="connsiteX4" fmla="*/ 786432 w 789471"/>
                <a:gd name="connsiteY4" fmla="*/ 478497 h 1052396"/>
                <a:gd name="connsiteX5" fmla="*/ 656797 w 789471"/>
                <a:gd name="connsiteY5" fmla="*/ 883908 h 1052396"/>
                <a:gd name="connsiteX6" fmla="*/ 453026 w 789471"/>
                <a:gd name="connsiteY6" fmla="*/ 1044016 h 1052396"/>
                <a:gd name="connsiteX7" fmla="*/ 215548 w 789471"/>
                <a:gd name="connsiteY7" fmla="*/ 984918 h 1052396"/>
                <a:gd name="connsiteX8" fmla="*/ 2662 w 789471"/>
                <a:gd name="connsiteY8" fmla="*/ 574189 h 1052396"/>
                <a:gd name="connsiteX0" fmla="*/ 2662 w 789541"/>
                <a:gd name="connsiteY0" fmla="*/ 574189 h 1094929"/>
                <a:gd name="connsiteX1" fmla="*/ 114537 w 789541"/>
                <a:gd name="connsiteY1" fmla="*/ 134313 h 1094929"/>
                <a:gd name="connsiteX2" fmla="*/ 421128 w 789541"/>
                <a:gd name="connsiteY2" fmla="*/ 29933 h 1094929"/>
                <a:gd name="connsiteX3" fmla="*/ 725910 w 789541"/>
                <a:gd name="connsiteY3" fmla="*/ 54569 h 1094929"/>
                <a:gd name="connsiteX4" fmla="*/ 786432 w 789541"/>
                <a:gd name="connsiteY4" fmla="*/ 478497 h 1094929"/>
                <a:gd name="connsiteX5" fmla="*/ 656797 w 789541"/>
                <a:gd name="connsiteY5" fmla="*/ 883908 h 1094929"/>
                <a:gd name="connsiteX6" fmla="*/ 437078 w 789541"/>
                <a:gd name="connsiteY6" fmla="*/ 1091862 h 1094929"/>
                <a:gd name="connsiteX7" fmla="*/ 215548 w 789541"/>
                <a:gd name="connsiteY7" fmla="*/ 984918 h 1094929"/>
                <a:gd name="connsiteX8" fmla="*/ 2662 w 789541"/>
                <a:gd name="connsiteY8" fmla="*/ 574189 h 1094929"/>
                <a:gd name="connsiteX0" fmla="*/ 2662 w 787860"/>
                <a:gd name="connsiteY0" fmla="*/ 574189 h 1094929"/>
                <a:gd name="connsiteX1" fmla="*/ 114537 w 787860"/>
                <a:gd name="connsiteY1" fmla="*/ 134313 h 1094929"/>
                <a:gd name="connsiteX2" fmla="*/ 421128 w 787860"/>
                <a:gd name="connsiteY2" fmla="*/ 29933 h 1094929"/>
                <a:gd name="connsiteX3" fmla="*/ 725910 w 787860"/>
                <a:gd name="connsiteY3" fmla="*/ 54569 h 1094929"/>
                <a:gd name="connsiteX4" fmla="*/ 786432 w 787860"/>
                <a:gd name="connsiteY4" fmla="*/ 478497 h 1094929"/>
                <a:gd name="connsiteX5" fmla="*/ 699328 w 787860"/>
                <a:gd name="connsiteY5" fmla="*/ 905173 h 1094929"/>
                <a:gd name="connsiteX6" fmla="*/ 437078 w 787860"/>
                <a:gd name="connsiteY6" fmla="*/ 1091862 h 1094929"/>
                <a:gd name="connsiteX7" fmla="*/ 215548 w 787860"/>
                <a:gd name="connsiteY7" fmla="*/ 984918 h 1094929"/>
                <a:gd name="connsiteX8" fmla="*/ 2662 w 787860"/>
                <a:gd name="connsiteY8" fmla="*/ 574189 h 1094929"/>
                <a:gd name="connsiteX0" fmla="*/ 257 w 785455"/>
                <a:gd name="connsiteY0" fmla="*/ 574189 h 1093012"/>
                <a:gd name="connsiteX1" fmla="*/ 112132 w 785455"/>
                <a:gd name="connsiteY1" fmla="*/ 134313 h 1093012"/>
                <a:gd name="connsiteX2" fmla="*/ 418723 w 785455"/>
                <a:gd name="connsiteY2" fmla="*/ 29933 h 1093012"/>
                <a:gd name="connsiteX3" fmla="*/ 723505 w 785455"/>
                <a:gd name="connsiteY3" fmla="*/ 54569 h 1093012"/>
                <a:gd name="connsiteX4" fmla="*/ 784027 w 785455"/>
                <a:gd name="connsiteY4" fmla="*/ 478497 h 1093012"/>
                <a:gd name="connsiteX5" fmla="*/ 696923 w 785455"/>
                <a:gd name="connsiteY5" fmla="*/ 905173 h 1093012"/>
                <a:gd name="connsiteX6" fmla="*/ 434673 w 785455"/>
                <a:gd name="connsiteY6" fmla="*/ 1091862 h 1093012"/>
                <a:gd name="connsiteX7" fmla="*/ 138715 w 785455"/>
                <a:gd name="connsiteY7" fmla="*/ 899857 h 1093012"/>
                <a:gd name="connsiteX8" fmla="*/ 257 w 785455"/>
                <a:gd name="connsiteY8" fmla="*/ 574189 h 1093012"/>
                <a:gd name="connsiteX0" fmla="*/ 257 w 785455"/>
                <a:gd name="connsiteY0" fmla="*/ 574189 h 1093768"/>
                <a:gd name="connsiteX1" fmla="*/ 112132 w 785455"/>
                <a:gd name="connsiteY1" fmla="*/ 134313 h 1093768"/>
                <a:gd name="connsiteX2" fmla="*/ 418723 w 785455"/>
                <a:gd name="connsiteY2" fmla="*/ 29933 h 1093768"/>
                <a:gd name="connsiteX3" fmla="*/ 723505 w 785455"/>
                <a:gd name="connsiteY3" fmla="*/ 54569 h 1093768"/>
                <a:gd name="connsiteX4" fmla="*/ 784027 w 785455"/>
                <a:gd name="connsiteY4" fmla="*/ 478497 h 1093768"/>
                <a:gd name="connsiteX5" fmla="*/ 696923 w 785455"/>
                <a:gd name="connsiteY5" fmla="*/ 905173 h 1093768"/>
                <a:gd name="connsiteX6" fmla="*/ 434673 w 785455"/>
                <a:gd name="connsiteY6" fmla="*/ 1091862 h 1093768"/>
                <a:gd name="connsiteX7" fmla="*/ 138715 w 785455"/>
                <a:gd name="connsiteY7" fmla="*/ 953020 h 1093768"/>
                <a:gd name="connsiteX8" fmla="*/ 257 w 785455"/>
                <a:gd name="connsiteY8" fmla="*/ 574189 h 10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455" h="1093768">
                  <a:moveTo>
                    <a:pt x="257" y="574189"/>
                  </a:moveTo>
                  <a:cubicBezTo>
                    <a:pt x="-4173" y="437738"/>
                    <a:pt x="49476" y="231225"/>
                    <a:pt x="112132" y="134313"/>
                  </a:cubicBezTo>
                  <a:cubicBezTo>
                    <a:pt x="174788" y="37401"/>
                    <a:pt x="316827" y="43224"/>
                    <a:pt x="418723" y="29933"/>
                  </a:cubicBezTo>
                  <a:cubicBezTo>
                    <a:pt x="520619" y="16642"/>
                    <a:pt x="660849" y="-42343"/>
                    <a:pt x="723505" y="54569"/>
                  </a:cubicBezTo>
                  <a:cubicBezTo>
                    <a:pt x="786161" y="151481"/>
                    <a:pt x="788457" y="336730"/>
                    <a:pt x="784027" y="478497"/>
                  </a:cubicBezTo>
                  <a:cubicBezTo>
                    <a:pt x="779597" y="620264"/>
                    <a:pt x="755149" y="802946"/>
                    <a:pt x="696923" y="905173"/>
                  </a:cubicBezTo>
                  <a:cubicBezTo>
                    <a:pt x="638697" y="1007400"/>
                    <a:pt x="521505" y="1077685"/>
                    <a:pt x="434673" y="1091862"/>
                  </a:cubicBezTo>
                  <a:cubicBezTo>
                    <a:pt x="347841" y="1106039"/>
                    <a:pt x="211118" y="1039299"/>
                    <a:pt x="138715" y="953020"/>
                  </a:cubicBezTo>
                  <a:cubicBezTo>
                    <a:pt x="66312" y="866741"/>
                    <a:pt x="4687" y="710640"/>
                    <a:pt x="257" y="574189"/>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2" name="Freeform 508"/>
            <p:cNvSpPr/>
            <p:nvPr/>
          </p:nvSpPr>
          <p:spPr bwMode="auto">
            <a:xfrm>
              <a:off x="7910141" y="1177331"/>
              <a:ext cx="272034" cy="79234"/>
            </a:xfrm>
            <a:custGeom>
              <a:avLst/>
              <a:gdLst>
                <a:gd name="connsiteX0" fmla="*/ 414 w 272034"/>
                <a:gd name="connsiteY0" fmla="*/ 68471 h 79234"/>
                <a:gd name="connsiteX1" fmla="*/ 67089 w 272034"/>
                <a:gd name="connsiteY1" fmla="*/ 8146 h 79234"/>
                <a:gd name="connsiteX2" fmla="*/ 254414 w 272034"/>
                <a:gd name="connsiteY2" fmla="*/ 8146 h 79234"/>
                <a:gd name="connsiteX3" fmla="*/ 254414 w 272034"/>
                <a:gd name="connsiteY3" fmla="*/ 77996 h 79234"/>
                <a:gd name="connsiteX4" fmla="*/ 168689 w 272034"/>
                <a:gd name="connsiteY4" fmla="*/ 52596 h 79234"/>
                <a:gd name="connsiteX5" fmla="*/ 92489 w 272034"/>
                <a:gd name="connsiteY5" fmla="*/ 49421 h 79234"/>
                <a:gd name="connsiteX6" fmla="*/ 414 w 272034"/>
                <a:gd name="connsiteY6" fmla="*/ 68471 h 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034" h="79234">
                  <a:moveTo>
                    <a:pt x="414" y="68471"/>
                  </a:moveTo>
                  <a:cubicBezTo>
                    <a:pt x="-3819" y="61592"/>
                    <a:pt x="24756" y="18200"/>
                    <a:pt x="67089" y="8146"/>
                  </a:cubicBezTo>
                  <a:cubicBezTo>
                    <a:pt x="109422" y="-1908"/>
                    <a:pt x="223193" y="-3496"/>
                    <a:pt x="254414" y="8146"/>
                  </a:cubicBezTo>
                  <a:cubicBezTo>
                    <a:pt x="285635" y="19788"/>
                    <a:pt x="268701" y="70588"/>
                    <a:pt x="254414" y="77996"/>
                  </a:cubicBezTo>
                  <a:cubicBezTo>
                    <a:pt x="240127" y="85404"/>
                    <a:pt x="195676" y="57358"/>
                    <a:pt x="168689" y="52596"/>
                  </a:cubicBezTo>
                  <a:cubicBezTo>
                    <a:pt x="141702" y="47834"/>
                    <a:pt x="118947" y="47833"/>
                    <a:pt x="92489" y="49421"/>
                  </a:cubicBezTo>
                  <a:cubicBezTo>
                    <a:pt x="66031" y="51008"/>
                    <a:pt x="4647" y="75350"/>
                    <a:pt x="414" y="68471"/>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3" name="Freeform 509"/>
            <p:cNvSpPr/>
            <p:nvPr/>
          </p:nvSpPr>
          <p:spPr bwMode="auto">
            <a:xfrm>
              <a:off x="8284901" y="1182164"/>
              <a:ext cx="260711" cy="64624"/>
            </a:xfrm>
            <a:custGeom>
              <a:avLst/>
              <a:gdLst>
                <a:gd name="connsiteX0" fmla="*/ 260654 w 260711"/>
                <a:gd name="connsiteY0" fmla="*/ 60463 h 64624"/>
                <a:gd name="connsiteX1" fmla="*/ 203504 w 260711"/>
                <a:gd name="connsiteY1" fmla="*/ 3313 h 64624"/>
                <a:gd name="connsiteX2" fmla="*/ 120954 w 260711"/>
                <a:gd name="connsiteY2" fmla="*/ 6488 h 64624"/>
                <a:gd name="connsiteX3" fmla="*/ 19354 w 260711"/>
                <a:gd name="connsiteY3" fmla="*/ 9663 h 64624"/>
                <a:gd name="connsiteX4" fmla="*/ 13004 w 260711"/>
                <a:gd name="connsiteY4" fmla="*/ 63638 h 64624"/>
                <a:gd name="connsiteX5" fmla="*/ 159054 w 260711"/>
                <a:gd name="connsiteY5" fmla="*/ 44588 h 64624"/>
                <a:gd name="connsiteX6" fmla="*/ 213029 w 260711"/>
                <a:gd name="connsiteY6" fmla="*/ 44588 h 64624"/>
                <a:gd name="connsiteX7" fmla="*/ 260654 w 260711"/>
                <a:gd name="connsiteY7" fmla="*/ 60463 h 6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11" h="64624">
                  <a:moveTo>
                    <a:pt x="260654" y="60463"/>
                  </a:moveTo>
                  <a:cubicBezTo>
                    <a:pt x="259067" y="53584"/>
                    <a:pt x="226787" y="12309"/>
                    <a:pt x="203504" y="3313"/>
                  </a:cubicBezTo>
                  <a:cubicBezTo>
                    <a:pt x="180221" y="-5683"/>
                    <a:pt x="120954" y="6488"/>
                    <a:pt x="120954" y="6488"/>
                  </a:cubicBezTo>
                  <a:cubicBezTo>
                    <a:pt x="90262" y="7546"/>
                    <a:pt x="37346" y="138"/>
                    <a:pt x="19354" y="9663"/>
                  </a:cubicBezTo>
                  <a:cubicBezTo>
                    <a:pt x="1362" y="19188"/>
                    <a:pt x="-10279" y="57817"/>
                    <a:pt x="13004" y="63638"/>
                  </a:cubicBezTo>
                  <a:cubicBezTo>
                    <a:pt x="36287" y="69459"/>
                    <a:pt x="125717" y="47763"/>
                    <a:pt x="159054" y="44588"/>
                  </a:cubicBezTo>
                  <a:cubicBezTo>
                    <a:pt x="192391" y="41413"/>
                    <a:pt x="195566" y="41942"/>
                    <a:pt x="213029" y="44588"/>
                  </a:cubicBezTo>
                  <a:cubicBezTo>
                    <a:pt x="230492" y="47234"/>
                    <a:pt x="262241" y="67342"/>
                    <a:pt x="260654" y="60463"/>
                  </a:cubicBezTo>
                  <a:close/>
                </a:path>
              </a:pathLst>
            </a:custGeom>
            <a:solidFill>
              <a:srgbClr val="EFE3C2"/>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4" name="Oval 510"/>
            <p:cNvSpPr/>
            <p:nvPr/>
          </p:nvSpPr>
          <p:spPr bwMode="auto">
            <a:xfrm>
              <a:off x="8030303" y="1280296"/>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5" name="Oval 511"/>
            <p:cNvSpPr/>
            <p:nvPr/>
          </p:nvSpPr>
          <p:spPr bwMode="auto">
            <a:xfrm>
              <a:off x="8048096" y="1297616"/>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6" name="Oval 512"/>
            <p:cNvSpPr/>
            <p:nvPr/>
          </p:nvSpPr>
          <p:spPr bwMode="auto">
            <a:xfrm>
              <a:off x="8047988" y="1292044"/>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7" name="Oval 513"/>
            <p:cNvSpPr/>
            <p:nvPr/>
          </p:nvSpPr>
          <p:spPr bwMode="auto">
            <a:xfrm>
              <a:off x="8069880" y="1319057"/>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8" name="Freeform 514"/>
            <p:cNvSpPr/>
            <p:nvPr/>
          </p:nvSpPr>
          <p:spPr bwMode="auto">
            <a:xfrm>
              <a:off x="8222097" y="1257008"/>
              <a:ext cx="83981" cy="310010"/>
            </a:xfrm>
            <a:custGeom>
              <a:avLst/>
              <a:gdLst>
                <a:gd name="connsiteX0" fmla="*/ 15056 w 83981"/>
                <a:gd name="connsiteY0" fmla="*/ 130 h 310010"/>
                <a:gd name="connsiteX1" fmla="*/ 20136 w 83981"/>
                <a:gd name="connsiteY1" fmla="*/ 101730 h 310010"/>
                <a:gd name="connsiteX2" fmla="*/ 76016 w 83981"/>
                <a:gd name="connsiteY2" fmla="*/ 249050 h 310010"/>
                <a:gd name="connsiteX3" fmla="*/ 76016 w 83981"/>
                <a:gd name="connsiteY3" fmla="*/ 289690 h 310010"/>
                <a:gd name="connsiteX4" fmla="*/ 4896 w 83981"/>
                <a:gd name="connsiteY4" fmla="*/ 310010 h 310010"/>
                <a:gd name="connsiteX5" fmla="*/ 9976 w 83981"/>
                <a:gd name="connsiteY5" fmla="*/ 289690 h 310010"/>
                <a:gd name="connsiteX6" fmla="*/ 40456 w 83981"/>
                <a:gd name="connsiteY6" fmla="*/ 264290 h 310010"/>
                <a:gd name="connsiteX7" fmla="*/ 20136 w 83981"/>
                <a:gd name="connsiteY7" fmla="*/ 208410 h 310010"/>
                <a:gd name="connsiteX8" fmla="*/ 9976 w 83981"/>
                <a:gd name="connsiteY8" fmla="*/ 122050 h 310010"/>
                <a:gd name="connsiteX9" fmla="*/ 15056 w 83981"/>
                <a:gd name="connsiteY9" fmla="*/ 130 h 3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1" h="310010">
                  <a:moveTo>
                    <a:pt x="15056" y="130"/>
                  </a:moveTo>
                  <a:cubicBezTo>
                    <a:pt x="16749" y="-3257"/>
                    <a:pt x="9976" y="60243"/>
                    <a:pt x="20136" y="101730"/>
                  </a:cubicBezTo>
                  <a:cubicBezTo>
                    <a:pt x="30296" y="143217"/>
                    <a:pt x="66703" y="217723"/>
                    <a:pt x="76016" y="249050"/>
                  </a:cubicBezTo>
                  <a:cubicBezTo>
                    <a:pt x="85329" y="280377"/>
                    <a:pt x="87869" y="279530"/>
                    <a:pt x="76016" y="289690"/>
                  </a:cubicBezTo>
                  <a:cubicBezTo>
                    <a:pt x="64163" y="299850"/>
                    <a:pt x="15903" y="310010"/>
                    <a:pt x="4896" y="310010"/>
                  </a:cubicBezTo>
                  <a:cubicBezTo>
                    <a:pt x="-6111" y="310010"/>
                    <a:pt x="4049" y="297310"/>
                    <a:pt x="9976" y="289690"/>
                  </a:cubicBezTo>
                  <a:cubicBezTo>
                    <a:pt x="15903" y="282070"/>
                    <a:pt x="38763" y="277837"/>
                    <a:pt x="40456" y="264290"/>
                  </a:cubicBezTo>
                  <a:cubicBezTo>
                    <a:pt x="42149" y="250743"/>
                    <a:pt x="25216" y="232117"/>
                    <a:pt x="20136" y="208410"/>
                  </a:cubicBezTo>
                  <a:cubicBezTo>
                    <a:pt x="15056" y="184703"/>
                    <a:pt x="10823" y="153377"/>
                    <a:pt x="9976" y="122050"/>
                  </a:cubicBezTo>
                  <a:cubicBezTo>
                    <a:pt x="9129" y="90723"/>
                    <a:pt x="13363" y="3517"/>
                    <a:pt x="15056" y="130"/>
                  </a:cubicBez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19" name="Rectangle 39"/>
            <p:cNvSpPr/>
            <p:nvPr/>
          </p:nvSpPr>
          <p:spPr bwMode="auto">
            <a:xfrm>
              <a:off x="8086957" y="1644504"/>
              <a:ext cx="245835" cy="109537"/>
            </a:xfrm>
            <a:custGeom>
              <a:avLst/>
              <a:gdLst>
                <a:gd name="connsiteX0" fmla="*/ 0 w 344260"/>
                <a:gd name="connsiteY0" fmla="*/ 0 h 131023"/>
                <a:gd name="connsiteX1" fmla="*/ 344260 w 344260"/>
                <a:gd name="connsiteY1" fmla="*/ 0 h 131023"/>
                <a:gd name="connsiteX2" fmla="*/ 344260 w 344260"/>
                <a:gd name="connsiteY2" fmla="*/ 131023 h 131023"/>
                <a:gd name="connsiteX3" fmla="*/ 0 w 344260"/>
                <a:gd name="connsiteY3" fmla="*/ 131023 h 131023"/>
                <a:gd name="connsiteX4" fmla="*/ 0 w 344260"/>
                <a:gd name="connsiteY4" fmla="*/ 0 h 131023"/>
                <a:gd name="connsiteX0" fmla="*/ 0 w 344260"/>
                <a:gd name="connsiteY0" fmla="*/ 2280 h 133303"/>
                <a:gd name="connsiteX1" fmla="*/ 137336 w 344260"/>
                <a:gd name="connsiteY1" fmla="*/ 0 h 133303"/>
                <a:gd name="connsiteX2" fmla="*/ 344260 w 344260"/>
                <a:gd name="connsiteY2" fmla="*/ 2280 h 133303"/>
                <a:gd name="connsiteX3" fmla="*/ 344260 w 344260"/>
                <a:gd name="connsiteY3" fmla="*/ 133303 h 133303"/>
                <a:gd name="connsiteX4" fmla="*/ 0 w 344260"/>
                <a:gd name="connsiteY4" fmla="*/ 133303 h 133303"/>
                <a:gd name="connsiteX5" fmla="*/ 0 w 344260"/>
                <a:gd name="connsiteY5" fmla="*/ 2280 h 133303"/>
                <a:gd name="connsiteX0" fmla="*/ 0 w 344260"/>
                <a:gd name="connsiteY0" fmla="*/ 2280 h 133350"/>
                <a:gd name="connsiteX1" fmla="*/ 137336 w 344260"/>
                <a:gd name="connsiteY1" fmla="*/ 0 h 133350"/>
                <a:gd name="connsiteX2" fmla="*/ 344260 w 344260"/>
                <a:gd name="connsiteY2" fmla="*/ 2280 h 133350"/>
                <a:gd name="connsiteX3" fmla="*/ 344260 w 344260"/>
                <a:gd name="connsiteY3" fmla="*/ 133303 h 133350"/>
                <a:gd name="connsiteX4" fmla="*/ 164323 w 344260"/>
                <a:gd name="connsiteY4" fmla="*/ 133350 h 133350"/>
                <a:gd name="connsiteX5" fmla="*/ 0 w 344260"/>
                <a:gd name="connsiteY5" fmla="*/ 133303 h 133350"/>
                <a:gd name="connsiteX6" fmla="*/ 0 w 344260"/>
                <a:gd name="connsiteY6" fmla="*/ 2280 h 133350"/>
                <a:gd name="connsiteX0" fmla="*/ 2364 w 346624"/>
                <a:gd name="connsiteY0" fmla="*/ 2280 h 133350"/>
                <a:gd name="connsiteX1" fmla="*/ 139700 w 346624"/>
                <a:gd name="connsiteY1" fmla="*/ 0 h 133350"/>
                <a:gd name="connsiteX2" fmla="*/ 346624 w 346624"/>
                <a:gd name="connsiteY2" fmla="*/ 2280 h 133350"/>
                <a:gd name="connsiteX3" fmla="*/ 346624 w 346624"/>
                <a:gd name="connsiteY3" fmla="*/ 133303 h 133350"/>
                <a:gd name="connsiteX4" fmla="*/ 166687 w 346624"/>
                <a:gd name="connsiteY4" fmla="*/ 133350 h 133350"/>
                <a:gd name="connsiteX5" fmla="*/ 2364 w 346624"/>
                <a:gd name="connsiteY5" fmla="*/ 133303 h 133350"/>
                <a:gd name="connsiteX6" fmla="*/ 0 w 346624"/>
                <a:gd name="connsiteY6" fmla="*/ 77787 h 133350"/>
                <a:gd name="connsiteX7" fmla="*/ 2364 w 346624"/>
                <a:gd name="connsiteY7" fmla="*/ 2280 h 133350"/>
                <a:gd name="connsiteX0" fmla="*/ 2364 w 346624"/>
                <a:gd name="connsiteY0" fmla="*/ 2280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2364 w 346624"/>
                <a:gd name="connsiteY8" fmla="*/ 2280 h 133350"/>
                <a:gd name="connsiteX0" fmla="*/ 32527 w 346624"/>
                <a:gd name="connsiteY0" fmla="*/ 10217 h 133350"/>
                <a:gd name="connsiteX1" fmla="*/ 139700 w 346624"/>
                <a:gd name="connsiteY1" fmla="*/ 0 h 133350"/>
                <a:gd name="connsiteX2" fmla="*/ 346624 w 346624"/>
                <a:gd name="connsiteY2" fmla="*/ 2280 h 133350"/>
                <a:gd name="connsiteX3" fmla="*/ 346075 w 346624"/>
                <a:gd name="connsiteY3" fmla="*/ 96837 h 133350"/>
                <a:gd name="connsiteX4" fmla="*/ 346624 w 346624"/>
                <a:gd name="connsiteY4" fmla="*/ 133303 h 133350"/>
                <a:gd name="connsiteX5" fmla="*/ 166687 w 346624"/>
                <a:gd name="connsiteY5" fmla="*/ 133350 h 133350"/>
                <a:gd name="connsiteX6" fmla="*/ 2364 w 346624"/>
                <a:gd name="connsiteY6" fmla="*/ 133303 h 133350"/>
                <a:gd name="connsiteX7" fmla="*/ 0 w 346624"/>
                <a:gd name="connsiteY7" fmla="*/ 77787 h 133350"/>
                <a:gd name="connsiteX8" fmla="*/ 32527 w 346624"/>
                <a:gd name="connsiteY8" fmla="*/ 10217 h 133350"/>
                <a:gd name="connsiteX0" fmla="*/ 32527 w 346624"/>
                <a:gd name="connsiteY0" fmla="*/ 7937 h 131070"/>
                <a:gd name="connsiteX1" fmla="*/ 146050 w 346624"/>
                <a:gd name="connsiteY1" fmla="*/ 5658 h 131070"/>
                <a:gd name="connsiteX2" fmla="*/ 346624 w 346624"/>
                <a:gd name="connsiteY2" fmla="*/ 0 h 131070"/>
                <a:gd name="connsiteX3" fmla="*/ 346075 w 346624"/>
                <a:gd name="connsiteY3" fmla="*/ 94557 h 131070"/>
                <a:gd name="connsiteX4" fmla="*/ 346624 w 346624"/>
                <a:gd name="connsiteY4" fmla="*/ 131023 h 131070"/>
                <a:gd name="connsiteX5" fmla="*/ 166687 w 346624"/>
                <a:gd name="connsiteY5" fmla="*/ 131070 h 131070"/>
                <a:gd name="connsiteX6" fmla="*/ 2364 w 346624"/>
                <a:gd name="connsiteY6" fmla="*/ 131023 h 131070"/>
                <a:gd name="connsiteX7" fmla="*/ 0 w 346624"/>
                <a:gd name="connsiteY7" fmla="*/ 75507 h 131070"/>
                <a:gd name="connsiteX8" fmla="*/ 32527 w 346624"/>
                <a:gd name="connsiteY8" fmla="*/ 7937 h 131070"/>
                <a:gd name="connsiteX0" fmla="*/ 32527 w 346624"/>
                <a:gd name="connsiteY0" fmla="*/ 2279 h 125412"/>
                <a:gd name="connsiteX1" fmla="*/ 146050 w 346624"/>
                <a:gd name="connsiteY1" fmla="*/ 0 h 125412"/>
                <a:gd name="connsiteX2" fmla="*/ 278362 w 346624"/>
                <a:gd name="connsiteY2" fmla="*/ 14979 h 125412"/>
                <a:gd name="connsiteX3" fmla="*/ 346075 w 346624"/>
                <a:gd name="connsiteY3" fmla="*/ 88899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346624"/>
                <a:gd name="connsiteY0" fmla="*/ 2279 h 125412"/>
                <a:gd name="connsiteX1" fmla="*/ 146050 w 346624"/>
                <a:gd name="connsiteY1" fmla="*/ 0 h 125412"/>
                <a:gd name="connsiteX2" fmla="*/ 278362 w 346624"/>
                <a:gd name="connsiteY2" fmla="*/ 14979 h 125412"/>
                <a:gd name="connsiteX3" fmla="*/ 268288 w 346624"/>
                <a:gd name="connsiteY3" fmla="*/ 60324 h 125412"/>
                <a:gd name="connsiteX4" fmla="*/ 346624 w 346624"/>
                <a:gd name="connsiteY4" fmla="*/ 125365 h 125412"/>
                <a:gd name="connsiteX5" fmla="*/ 166687 w 346624"/>
                <a:gd name="connsiteY5" fmla="*/ 125412 h 125412"/>
                <a:gd name="connsiteX6" fmla="*/ 2364 w 346624"/>
                <a:gd name="connsiteY6" fmla="*/ 125365 h 125412"/>
                <a:gd name="connsiteX7" fmla="*/ 0 w 346624"/>
                <a:gd name="connsiteY7" fmla="*/ 69849 h 125412"/>
                <a:gd name="connsiteX8" fmla="*/ 32527 w 346624"/>
                <a:gd name="connsiteY8" fmla="*/ 2279 h 125412"/>
                <a:gd name="connsiteX0" fmla="*/ 32527 w 278362"/>
                <a:gd name="connsiteY0" fmla="*/ 2279 h 125412"/>
                <a:gd name="connsiteX1" fmla="*/ 146050 w 278362"/>
                <a:gd name="connsiteY1" fmla="*/ 0 h 125412"/>
                <a:gd name="connsiteX2" fmla="*/ 278362 w 278362"/>
                <a:gd name="connsiteY2" fmla="*/ 14979 h 125412"/>
                <a:gd name="connsiteX3" fmla="*/ 268288 w 278362"/>
                <a:gd name="connsiteY3" fmla="*/ 60324 h 125412"/>
                <a:gd name="connsiteX4" fmla="*/ 216449 w 278362"/>
                <a:gd name="connsiteY4" fmla="*/ 88852 h 125412"/>
                <a:gd name="connsiteX5" fmla="*/ 166687 w 278362"/>
                <a:gd name="connsiteY5" fmla="*/ 125412 h 125412"/>
                <a:gd name="connsiteX6" fmla="*/ 2364 w 278362"/>
                <a:gd name="connsiteY6" fmla="*/ 125365 h 125412"/>
                <a:gd name="connsiteX7" fmla="*/ 0 w 278362"/>
                <a:gd name="connsiteY7" fmla="*/ 69849 h 125412"/>
                <a:gd name="connsiteX8" fmla="*/ 32527 w 278362"/>
                <a:gd name="connsiteY8" fmla="*/ 2279 h 125412"/>
                <a:gd name="connsiteX0" fmla="*/ 32527 w 278362"/>
                <a:gd name="connsiteY0" fmla="*/ 2279 h 125365"/>
                <a:gd name="connsiteX1" fmla="*/ 146050 w 278362"/>
                <a:gd name="connsiteY1" fmla="*/ 0 h 125365"/>
                <a:gd name="connsiteX2" fmla="*/ 278362 w 278362"/>
                <a:gd name="connsiteY2" fmla="*/ 14979 h 125365"/>
                <a:gd name="connsiteX3" fmla="*/ 268288 w 278362"/>
                <a:gd name="connsiteY3" fmla="*/ 60324 h 125365"/>
                <a:gd name="connsiteX4" fmla="*/ 216449 w 278362"/>
                <a:gd name="connsiteY4" fmla="*/ 88852 h 125365"/>
                <a:gd name="connsiteX5" fmla="*/ 158749 w 278362"/>
                <a:gd name="connsiteY5" fmla="*/ 109537 h 125365"/>
                <a:gd name="connsiteX6" fmla="*/ 2364 w 278362"/>
                <a:gd name="connsiteY6" fmla="*/ 125365 h 125365"/>
                <a:gd name="connsiteX7" fmla="*/ 0 w 278362"/>
                <a:gd name="connsiteY7" fmla="*/ 69849 h 125365"/>
                <a:gd name="connsiteX8" fmla="*/ 32527 w 278362"/>
                <a:gd name="connsiteY8" fmla="*/ 2279 h 125365"/>
                <a:gd name="connsiteX0" fmla="*/ 32527 w 278362"/>
                <a:gd name="connsiteY0" fmla="*/ 2279 h 109537"/>
                <a:gd name="connsiteX1" fmla="*/ 146050 w 278362"/>
                <a:gd name="connsiteY1" fmla="*/ 0 h 109537"/>
                <a:gd name="connsiteX2" fmla="*/ 278362 w 278362"/>
                <a:gd name="connsiteY2" fmla="*/ 14979 h 109537"/>
                <a:gd name="connsiteX3" fmla="*/ 268288 w 278362"/>
                <a:gd name="connsiteY3" fmla="*/ 60324 h 109537"/>
                <a:gd name="connsiteX4" fmla="*/ 216449 w 278362"/>
                <a:gd name="connsiteY4" fmla="*/ 88852 h 109537"/>
                <a:gd name="connsiteX5" fmla="*/ 158749 w 278362"/>
                <a:gd name="connsiteY5" fmla="*/ 109537 h 109537"/>
                <a:gd name="connsiteX6" fmla="*/ 102377 w 278362"/>
                <a:gd name="connsiteY6" fmla="*/ 101553 h 109537"/>
                <a:gd name="connsiteX7" fmla="*/ 0 w 278362"/>
                <a:gd name="connsiteY7" fmla="*/ 69849 h 109537"/>
                <a:gd name="connsiteX8" fmla="*/ 32527 w 278362"/>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 name="connsiteX0" fmla="*/ 0 w 245835"/>
                <a:gd name="connsiteY0" fmla="*/ 2279 h 109537"/>
                <a:gd name="connsiteX1" fmla="*/ 113523 w 245835"/>
                <a:gd name="connsiteY1" fmla="*/ 0 h 109537"/>
                <a:gd name="connsiteX2" fmla="*/ 245835 w 245835"/>
                <a:gd name="connsiteY2" fmla="*/ 14979 h 109537"/>
                <a:gd name="connsiteX3" fmla="*/ 235761 w 245835"/>
                <a:gd name="connsiteY3" fmla="*/ 60324 h 109537"/>
                <a:gd name="connsiteX4" fmla="*/ 183922 w 245835"/>
                <a:gd name="connsiteY4" fmla="*/ 88852 h 109537"/>
                <a:gd name="connsiteX5" fmla="*/ 126222 w 245835"/>
                <a:gd name="connsiteY5" fmla="*/ 109537 h 109537"/>
                <a:gd name="connsiteX6" fmla="*/ 69850 w 245835"/>
                <a:gd name="connsiteY6" fmla="*/ 101553 h 109537"/>
                <a:gd name="connsiteX7" fmla="*/ 19860 w 245835"/>
                <a:gd name="connsiteY7" fmla="*/ 61912 h 109537"/>
                <a:gd name="connsiteX8" fmla="*/ 0 w 245835"/>
                <a:gd name="connsiteY8" fmla="*/ 227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35" h="109537">
                  <a:moveTo>
                    <a:pt x="0" y="2279"/>
                  </a:moveTo>
                  <a:lnTo>
                    <a:pt x="113523" y="0"/>
                  </a:lnTo>
                  <a:lnTo>
                    <a:pt x="245835" y="14979"/>
                  </a:lnTo>
                  <a:lnTo>
                    <a:pt x="235761" y="60324"/>
                  </a:lnTo>
                  <a:cubicBezTo>
                    <a:pt x="218481" y="69833"/>
                    <a:pt x="212314" y="74581"/>
                    <a:pt x="183922" y="88852"/>
                  </a:cubicBezTo>
                  <a:cubicBezTo>
                    <a:pt x="164689" y="95747"/>
                    <a:pt x="175617" y="99467"/>
                    <a:pt x="126222" y="109537"/>
                  </a:cubicBezTo>
                  <a:cubicBezTo>
                    <a:pt x="77268" y="102114"/>
                    <a:pt x="88641" y="104214"/>
                    <a:pt x="69850" y="101553"/>
                  </a:cubicBezTo>
                  <a:cubicBezTo>
                    <a:pt x="53187" y="88339"/>
                    <a:pt x="49223" y="95763"/>
                    <a:pt x="19860" y="61912"/>
                  </a:cubicBezTo>
                  <a:cubicBezTo>
                    <a:pt x="6132" y="46085"/>
                    <a:pt x="6620" y="22157"/>
                    <a:pt x="0" y="2279"/>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0" name="Freeform 516"/>
            <p:cNvSpPr/>
            <p:nvPr/>
          </p:nvSpPr>
          <p:spPr bwMode="auto">
            <a:xfrm flipH="1">
              <a:off x="8042874" y="1580262"/>
              <a:ext cx="346848" cy="87683"/>
            </a:xfrm>
            <a:custGeom>
              <a:avLst/>
              <a:gdLst>
                <a:gd name="connsiteX0" fmla="*/ 4562 w 336117"/>
                <a:gd name="connsiteY0" fmla="*/ 54334 h 79120"/>
                <a:gd name="connsiteX1" fmla="*/ 47631 w 336117"/>
                <a:gd name="connsiteY1" fmla="*/ 1326 h 79120"/>
                <a:gd name="connsiteX2" fmla="*/ 296110 w 336117"/>
                <a:gd name="connsiteY2" fmla="*/ 21204 h 79120"/>
                <a:gd name="connsiteX3" fmla="*/ 332553 w 336117"/>
                <a:gd name="connsiteY3" fmla="*/ 77526 h 79120"/>
                <a:gd name="connsiteX4" fmla="*/ 262979 w 336117"/>
                <a:gd name="connsiteY4" fmla="*/ 64273 h 79120"/>
                <a:gd name="connsiteX5" fmla="*/ 110579 w 336117"/>
                <a:gd name="connsiteY5" fmla="*/ 70900 h 79120"/>
                <a:gd name="connsiteX6" fmla="*/ 4562 w 336117"/>
                <a:gd name="connsiteY6" fmla="*/ 54334 h 79120"/>
                <a:gd name="connsiteX0" fmla="*/ 17458 w 349013"/>
                <a:gd name="connsiteY0" fmla="*/ 54927 h 79713"/>
                <a:gd name="connsiteX1" fmla="*/ 4206 w 349013"/>
                <a:gd name="connsiteY1" fmla="*/ 64866 h 79713"/>
                <a:gd name="connsiteX2" fmla="*/ 60527 w 349013"/>
                <a:gd name="connsiteY2" fmla="*/ 1919 h 79713"/>
                <a:gd name="connsiteX3" fmla="*/ 309006 w 349013"/>
                <a:gd name="connsiteY3" fmla="*/ 21797 h 79713"/>
                <a:gd name="connsiteX4" fmla="*/ 345449 w 349013"/>
                <a:gd name="connsiteY4" fmla="*/ 78119 h 79713"/>
                <a:gd name="connsiteX5" fmla="*/ 275875 w 349013"/>
                <a:gd name="connsiteY5" fmla="*/ 64866 h 79713"/>
                <a:gd name="connsiteX6" fmla="*/ 123475 w 349013"/>
                <a:gd name="connsiteY6" fmla="*/ 71493 h 79713"/>
                <a:gd name="connsiteX7" fmla="*/ 17458 w 349013"/>
                <a:gd name="connsiteY7" fmla="*/ 54927 h 79713"/>
                <a:gd name="connsiteX0" fmla="*/ 7350 w 365409"/>
                <a:gd name="connsiteY0" fmla="*/ 54927 h 79713"/>
                <a:gd name="connsiteX1" fmla="*/ 20602 w 365409"/>
                <a:gd name="connsiteY1" fmla="*/ 64866 h 79713"/>
                <a:gd name="connsiteX2" fmla="*/ 76923 w 365409"/>
                <a:gd name="connsiteY2" fmla="*/ 1919 h 79713"/>
                <a:gd name="connsiteX3" fmla="*/ 325402 w 365409"/>
                <a:gd name="connsiteY3" fmla="*/ 21797 h 79713"/>
                <a:gd name="connsiteX4" fmla="*/ 361845 w 365409"/>
                <a:gd name="connsiteY4" fmla="*/ 78119 h 79713"/>
                <a:gd name="connsiteX5" fmla="*/ 292271 w 365409"/>
                <a:gd name="connsiteY5" fmla="*/ 64866 h 79713"/>
                <a:gd name="connsiteX6" fmla="*/ 139871 w 365409"/>
                <a:gd name="connsiteY6" fmla="*/ 71493 h 79713"/>
                <a:gd name="connsiteX7" fmla="*/ 7350 w 365409"/>
                <a:gd name="connsiteY7" fmla="*/ 54927 h 79713"/>
                <a:gd name="connsiteX0" fmla="*/ 6808 w 368180"/>
                <a:gd name="connsiteY0" fmla="*/ 71492 h 79713"/>
                <a:gd name="connsiteX1" fmla="*/ 23373 w 368180"/>
                <a:gd name="connsiteY1" fmla="*/ 64866 h 79713"/>
                <a:gd name="connsiteX2" fmla="*/ 79694 w 368180"/>
                <a:gd name="connsiteY2" fmla="*/ 1919 h 79713"/>
                <a:gd name="connsiteX3" fmla="*/ 328173 w 368180"/>
                <a:gd name="connsiteY3" fmla="*/ 21797 h 79713"/>
                <a:gd name="connsiteX4" fmla="*/ 364616 w 368180"/>
                <a:gd name="connsiteY4" fmla="*/ 78119 h 79713"/>
                <a:gd name="connsiteX5" fmla="*/ 295042 w 368180"/>
                <a:gd name="connsiteY5" fmla="*/ 64866 h 79713"/>
                <a:gd name="connsiteX6" fmla="*/ 142642 w 368180"/>
                <a:gd name="connsiteY6" fmla="*/ 71493 h 79713"/>
                <a:gd name="connsiteX7" fmla="*/ 6808 w 368180"/>
                <a:gd name="connsiteY7" fmla="*/ 71492 h 79713"/>
                <a:gd name="connsiteX0" fmla="*/ 6808 w 367216"/>
                <a:gd name="connsiteY0" fmla="*/ 78289 h 87683"/>
                <a:gd name="connsiteX1" fmla="*/ 23373 w 367216"/>
                <a:gd name="connsiteY1" fmla="*/ 71663 h 87683"/>
                <a:gd name="connsiteX2" fmla="*/ 79694 w 367216"/>
                <a:gd name="connsiteY2" fmla="*/ 8716 h 87683"/>
                <a:gd name="connsiteX3" fmla="*/ 324860 w 367216"/>
                <a:gd name="connsiteY3" fmla="*/ 8716 h 87683"/>
                <a:gd name="connsiteX4" fmla="*/ 364616 w 367216"/>
                <a:gd name="connsiteY4" fmla="*/ 84916 h 87683"/>
                <a:gd name="connsiteX5" fmla="*/ 295042 w 367216"/>
                <a:gd name="connsiteY5" fmla="*/ 71663 h 87683"/>
                <a:gd name="connsiteX6" fmla="*/ 142642 w 367216"/>
                <a:gd name="connsiteY6" fmla="*/ 78290 h 87683"/>
                <a:gd name="connsiteX7" fmla="*/ 6808 w 367216"/>
                <a:gd name="connsiteY7" fmla="*/ 78289 h 87683"/>
                <a:gd name="connsiteX0" fmla="*/ 122274 w 346848"/>
                <a:gd name="connsiteY0" fmla="*/ 78290 h 87683"/>
                <a:gd name="connsiteX1" fmla="*/ 3005 w 346848"/>
                <a:gd name="connsiteY1" fmla="*/ 71663 h 87683"/>
                <a:gd name="connsiteX2" fmla="*/ 59326 w 346848"/>
                <a:gd name="connsiteY2" fmla="*/ 8716 h 87683"/>
                <a:gd name="connsiteX3" fmla="*/ 304492 w 346848"/>
                <a:gd name="connsiteY3" fmla="*/ 8716 h 87683"/>
                <a:gd name="connsiteX4" fmla="*/ 344248 w 346848"/>
                <a:gd name="connsiteY4" fmla="*/ 84916 h 87683"/>
                <a:gd name="connsiteX5" fmla="*/ 274674 w 346848"/>
                <a:gd name="connsiteY5" fmla="*/ 71663 h 87683"/>
                <a:gd name="connsiteX6" fmla="*/ 122274 w 346848"/>
                <a:gd name="connsiteY6" fmla="*/ 78290 h 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8" h="87683">
                  <a:moveTo>
                    <a:pt x="122274" y="78290"/>
                  </a:moveTo>
                  <a:cubicBezTo>
                    <a:pt x="76996" y="78290"/>
                    <a:pt x="13496" y="83259"/>
                    <a:pt x="3005" y="71663"/>
                  </a:cubicBezTo>
                  <a:cubicBezTo>
                    <a:pt x="-7486" y="60067"/>
                    <a:pt x="9078" y="19207"/>
                    <a:pt x="59326" y="8716"/>
                  </a:cubicBezTo>
                  <a:cubicBezTo>
                    <a:pt x="109574" y="-1775"/>
                    <a:pt x="257005" y="-3984"/>
                    <a:pt x="304492" y="8716"/>
                  </a:cubicBezTo>
                  <a:cubicBezTo>
                    <a:pt x="351979" y="21416"/>
                    <a:pt x="349218" y="74425"/>
                    <a:pt x="344248" y="84916"/>
                  </a:cubicBezTo>
                  <a:cubicBezTo>
                    <a:pt x="339278" y="95407"/>
                    <a:pt x="311670" y="72767"/>
                    <a:pt x="274674" y="71663"/>
                  </a:cubicBezTo>
                  <a:cubicBezTo>
                    <a:pt x="237678" y="70559"/>
                    <a:pt x="167552" y="78290"/>
                    <a:pt x="122274" y="78290"/>
                  </a:cubicBezTo>
                  <a:close/>
                </a:path>
              </a:pathLst>
            </a:custGeom>
            <a:solidFill>
              <a:srgbClr val="E9D8A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charset="0"/>
              </a:endParaRPr>
            </a:p>
          </p:txBody>
        </p:sp>
        <p:sp>
          <p:nvSpPr>
            <p:cNvPr id="21" name="Oval 4"/>
            <p:cNvSpPr/>
            <p:nvPr/>
          </p:nvSpPr>
          <p:spPr bwMode="auto">
            <a:xfrm>
              <a:off x="7674047" y="1299333"/>
              <a:ext cx="133992" cy="236313"/>
            </a:xfrm>
            <a:custGeom>
              <a:avLst/>
              <a:gdLst>
                <a:gd name="connsiteX0" fmla="*/ 0 w 751871"/>
                <a:gd name="connsiteY0" fmla="*/ 581470 h 1162940"/>
                <a:gd name="connsiteX1" fmla="*/ 375936 w 751871"/>
                <a:gd name="connsiteY1" fmla="*/ 0 h 1162940"/>
                <a:gd name="connsiteX2" fmla="*/ 751872 w 751871"/>
                <a:gd name="connsiteY2" fmla="*/ 581470 h 1162940"/>
                <a:gd name="connsiteX3" fmla="*/ 375936 w 751871"/>
                <a:gd name="connsiteY3" fmla="*/ 1162940 h 1162940"/>
                <a:gd name="connsiteX4" fmla="*/ 0 w 751871"/>
                <a:gd name="connsiteY4" fmla="*/ 581470 h 1162940"/>
                <a:gd name="connsiteX0" fmla="*/ 0 w 778797"/>
                <a:gd name="connsiteY0" fmla="*/ 581470 h 1167731"/>
                <a:gd name="connsiteX1" fmla="*/ 375936 w 778797"/>
                <a:gd name="connsiteY1" fmla="*/ 0 h 1167731"/>
                <a:gd name="connsiteX2" fmla="*/ 751872 w 778797"/>
                <a:gd name="connsiteY2" fmla="*/ 581470 h 1167731"/>
                <a:gd name="connsiteX3" fmla="*/ 707298 w 778797"/>
                <a:gd name="connsiteY3" fmla="*/ 843343 h 1167731"/>
                <a:gd name="connsiteX4" fmla="*/ 375936 w 778797"/>
                <a:gd name="connsiteY4" fmla="*/ 1162940 h 1167731"/>
                <a:gd name="connsiteX5" fmla="*/ 0 w 778797"/>
                <a:gd name="connsiteY5" fmla="*/ 581470 h 1167731"/>
                <a:gd name="connsiteX0" fmla="*/ 0 w 763714"/>
                <a:gd name="connsiteY0" fmla="*/ 598284 h 1184545"/>
                <a:gd name="connsiteX1" fmla="*/ 375936 w 763714"/>
                <a:gd name="connsiteY1" fmla="*/ 16814 h 1184545"/>
                <a:gd name="connsiteX2" fmla="*/ 579708 w 763714"/>
                <a:gd name="connsiteY2" fmla="*/ 195622 h 1184545"/>
                <a:gd name="connsiteX3" fmla="*/ 751872 w 763714"/>
                <a:gd name="connsiteY3" fmla="*/ 598284 h 1184545"/>
                <a:gd name="connsiteX4" fmla="*/ 707298 w 763714"/>
                <a:gd name="connsiteY4" fmla="*/ 860157 h 1184545"/>
                <a:gd name="connsiteX5" fmla="*/ 375936 w 763714"/>
                <a:gd name="connsiteY5" fmla="*/ 1179754 h 1184545"/>
                <a:gd name="connsiteX6" fmla="*/ 0 w 763714"/>
                <a:gd name="connsiteY6" fmla="*/ 598284 h 1184545"/>
                <a:gd name="connsiteX0" fmla="*/ 18337 w 782051"/>
                <a:gd name="connsiteY0" fmla="*/ 598284 h 1184545"/>
                <a:gd name="connsiteX1" fmla="*/ 92998 w 782051"/>
                <a:gd name="connsiteY1" fmla="*/ 248785 h 1184545"/>
                <a:gd name="connsiteX2" fmla="*/ 394273 w 782051"/>
                <a:gd name="connsiteY2" fmla="*/ 16814 h 1184545"/>
                <a:gd name="connsiteX3" fmla="*/ 598045 w 782051"/>
                <a:gd name="connsiteY3" fmla="*/ 195622 h 1184545"/>
                <a:gd name="connsiteX4" fmla="*/ 770209 w 782051"/>
                <a:gd name="connsiteY4" fmla="*/ 598284 h 1184545"/>
                <a:gd name="connsiteX5" fmla="*/ 725635 w 782051"/>
                <a:gd name="connsiteY5" fmla="*/ 860157 h 1184545"/>
                <a:gd name="connsiteX6" fmla="*/ 394273 w 782051"/>
                <a:gd name="connsiteY6" fmla="*/ 1179754 h 1184545"/>
                <a:gd name="connsiteX7" fmla="*/ 18337 w 782051"/>
                <a:gd name="connsiteY7" fmla="*/ 598284 h 1184545"/>
                <a:gd name="connsiteX0" fmla="*/ 18337 w 782051"/>
                <a:gd name="connsiteY0" fmla="*/ 598284 h 1180981"/>
                <a:gd name="connsiteX1" fmla="*/ 92998 w 782051"/>
                <a:gd name="connsiteY1" fmla="*/ 248785 h 1180981"/>
                <a:gd name="connsiteX2" fmla="*/ 394273 w 782051"/>
                <a:gd name="connsiteY2" fmla="*/ 16814 h 1180981"/>
                <a:gd name="connsiteX3" fmla="*/ 598045 w 782051"/>
                <a:gd name="connsiteY3" fmla="*/ 195622 h 1180981"/>
                <a:gd name="connsiteX4" fmla="*/ 770209 w 782051"/>
                <a:gd name="connsiteY4" fmla="*/ 598284 h 1180981"/>
                <a:gd name="connsiteX5" fmla="*/ 725635 w 782051"/>
                <a:gd name="connsiteY5" fmla="*/ 860157 h 1180981"/>
                <a:gd name="connsiteX6" fmla="*/ 394273 w 782051"/>
                <a:gd name="connsiteY6" fmla="*/ 1179754 h 1180981"/>
                <a:gd name="connsiteX7" fmla="*/ 108948 w 782051"/>
                <a:gd name="connsiteY7" fmla="*/ 955850 h 1180981"/>
                <a:gd name="connsiteX8" fmla="*/ 18337 w 782051"/>
                <a:gd name="connsiteY8" fmla="*/ 598284 h 1180981"/>
                <a:gd name="connsiteX0" fmla="*/ 18337 w 782051"/>
                <a:gd name="connsiteY0" fmla="*/ 618572 h 1201269"/>
                <a:gd name="connsiteX1" fmla="*/ 92998 w 782051"/>
                <a:gd name="connsiteY1" fmla="*/ 269073 h 1201269"/>
                <a:gd name="connsiteX2" fmla="*/ 394273 w 782051"/>
                <a:gd name="connsiteY2" fmla="*/ 37102 h 1201269"/>
                <a:gd name="connsiteX3" fmla="*/ 699055 w 782051"/>
                <a:gd name="connsiteY3" fmla="*/ 61738 h 1201269"/>
                <a:gd name="connsiteX4" fmla="*/ 770209 w 782051"/>
                <a:gd name="connsiteY4" fmla="*/ 618572 h 1201269"/>
                <a:gd name="connsiteX5" fmla="*/ 725635 w 782051"/>
                <a:gd name="connsiteY5" fmla="*/ 880445 h 1201269"/>
                <a:gd name="connsiteX6" fmla="*/ 394273 w 782051"/>
                <a:gd name="connsiteY6" fmla="*/ 1200042 h 1201269"/>
                <a:gd name="connsiteX7" fmla="*/ 108948 w 782051"/>
                <a:gd name="connsiteY7" fmla="*/ 976138 h 1201269"/>
                <a:gd name="connsiteX8" fmla="*/ 18337 w 782051"/>
                <a:gd name="connsiteY8" fmla="*/ 618572 h 1201269"/>
                <a:gd name="connsiteX0" fmla="*/ 619 w 764333"/>
                <a:gd name="connsiteY0" fmla="*/ 611403 h 1194100"/>
                <a:gd name="connsiteX1" fmla="*/ 69964 w 764333"/>
                <a:gd name="connsiteY1" fmla="*/ 134313 h 1194100"/>
                <a:gd name="connsiteX2" fmla="*/ 376555 w 764333"/>
                <a:gd name="connsiteY2" fmla="*/ 29933 h 1194100"/>
                <a:gd name="connsiteX3" fmla="*/ 681337 w 764333"/>
                <a:gd name="connsiteY3" fmla="*/ 54569 h 1194100"/>
                <a:gd name="connsiteX4" fmla="*/ 752491 w 764333"/>
                <a:gd name="connsiteY4" fmla="*/ 611403 h 1194100"/>
                <a:gd name="connsiteX5" fmla="*/ 707917 w 764333"/>
                <a:gd name="connsiteY5" fmla="*/ 873276 h 1194100"/>
                <a:gd name="connsiteX6" fmla="*/ 376555 w 764333"/>
                <a:gd name="connsiteY6" fmla="*/ 1192873 h 1194100"/>
                <a:gd name="connsiteX7" fmla="*/ 91230 w 764333"/>
                <a:gd name="connsiteY7" fmla="*/ 968969 h 1194100"/>
                <a:gd name="connsiteX8" fmla="*/ 619 w 764333"/>
                <a:gd name="connsiteY8" fmla="*/ 611403 h 1194100"/>
                <a:gd name="connsiteX0" fmla="*/ 168 w 806412"/>
                <a:gd name="connsiteY0" fmla="*/ 574189 h 1194100"/>
                <a:gd name="connsiteX1" fmla="*/ 112043 w 806412"/>
                <a:gd name="connsiteY1" fmla="*/ 134313 h 1194100"/>
                <a:gd name="connsiteX2" fmla="*/ 418634 w 806412"/>
                <a:gd name="connsiteY2" fmla="*/ 29933 h 1194100"/>
                <a:gd name="connsiteX3" fmla="*/ 723416 w 806412"/>
                <a:gd name="connsiteY3" fmla="*/ 54569 h 1194100"/>
                <a:gd name="connsiteX4" fmla="*/ 794570 w 806412"/>
                <a:gd name="connsiteY4" fmla="*/ 611403 h 1194100"/>
                <a:gd name="connsiteX5" fmla="*/ 749996 w 806412"/>
                <a:gd name="connsiteY5" fmla="*/ 873276 h 1194100"/>
                <a:gd name="connsiteX6" fmla="*/ 418634 w 806412"/>
                <a:gd name="connsiteY6" fmla="*/ 1192873 h 1194100"/>
                <a:gd name="connsiteX7" fmla="*/ 133309 w 806412"/>
                <a:gd name="connsiteY7" fmla="*/ 968969 h 1194100"/>
                <a:gd name="connsiteX8" fmla="*/ 168 w 806412"/>
                <a:gd name="connsiteY8" fmla="*/ 574189 h 1194100"/>
                <a:gd name="connsiteX0" fmla="*/ 168 w 793151"/>
                <a:gd name="connsiteY0" fmla="*/ 574189 h 1194100"/>
                <a:gd name="connsiteX1" fmla="*/ 112043 w 793151"/>
                <a:gd name="connsiteY1" fmla="*/ 134313 h 1194100"/>
                <a:gd name="connsiteX2" fmla="*/ 418634 w 793151"/>
                <a:gd name="connsiteY2" fmla="*/ 29933 h 1194100"/>
                <a:gd name="connsiteX3" fmla="*/ 723416 w 793151"/>
                <a:gd name="connsiteY3" fmla="*/ 54569 h 1194100"/>
                <a:gd name="connsiteX4" fmla="*/ 773305 w 793151"/>
                <a:gd name="connsiteY4" fmla="*/ 606087 h 1194100"/>
                <a:gd name="connsiteX5" fmla="*/ 749996 w 793151"/>
                <a:gd name="connsiteY5" fmla="*/ 873276 h 1194100"/>
                <a:gd name="connsiteX6" fmla="*/ 418634 w 793151"/>
                <a:gd name="connsiteY6" fmla="*/ 1192873 h 1194100"/>
                <a:gd name="connsiteX7" fmla="*/ 133309 w 793151"/>
                <a:gd name="connsiteY7" fmla="*/ 968969 h 1194100"/>
                <a:gd name="connsiteX8" fmla="*/ 168 w 793151"/>
                <a:gd name="connsiteY8" fmla="*/ 574189 h 1194100"/>
                <a:gd name="connsiteX0" fmla="*/ 168 w 776891"/>
                <a:gd name="connsiteY0" fmla="*/ 574189 h 1193863"/>
                <a:gd name="connsiteX1" fmla="*/ 112043 w 776891"/>
                <a:gd name="connsiteY1" fmla="*/ 134313 h 1193863"/>
                <a:gd name="connsiteX2" fmla="*/ 418634 w 776891"/>
                <a:gd name="connsiteY2" fmla="*/ 29933 h 1193863"/>
                <a:gd name="connsiteX3" fmla="*/ 723416 w 776891"/>
                <a:gd name="connsiteY3" fmla="*/ 54569 h 1193863"/>
                <a:gd name="connsiteX4" fmla="*/ 773305 w 776891"/>
                <a:gd name="connsiteY4" fmla="*/ 606087 h 1193863"/>
                <a:gd name="connsiteX5" fmla="*/ 654303 w 776891"/>
                <a:gd name="connsiteY5" fmla="*/ 883908 h 1193863"/>
                <a:gd name="connsiteX6" fmla="*/ 418634 w 776891"/>
                <a:gd name="connsiteY6" fmla="*/ 1192873 h 1193863"/>
                <a:gd name="connsiteX7" fmla="*/ 133309 w 776891"/>
                <a:gd name="connsiteY7" fmla="*/ 968969 h 1193863"/>
                <a:gd name="connsiteX8" fmla="*/ 168 w 776891"/>
                <a:gd name="connsiteY8" fmla="*/ 574189 h 1193863"/>
                <a:gd name="connsiteX0" fmla="*/ 168 w 787171"/>
                <a:gd name="connsiteY0" fmla="*/ 574189 h 1193863"/>
                <a:gd name="connsiteX1" fmla="*/ 112043 w 787171"/>
                <a:gd name="connsiteY1" fmla="*/ 134313 h 1193863"/>
                <a:gd name="connsiteX2" fmla="*/ 418634 w 787171"/>
                <a:gd name="connsiteY2" fmla="*/ 29933 h 1193863"/>
                <a:gd name="connsiteX3" fmla="*/ 723416 w 787171"/>
                <a:gd name="connsiteY3" fmla="*/ 54569 h 1193863"/>
                <a:gd name="connsiteX4" fmla="*/ 783938 w 787171"/>
                <a:gd name="connsiteY4" fmla="*/ 478497 h 1193863"/>
                <a:gd name="connsiteX5" fmla="*/ 654303 w 787171"/>
                <a:gd name="connsiteY5" fmla="*/ 883908 h 1193863"/>
                <a:gd name="connsiteX6" fmla="*/ 418634 w 787171"/>
                <a:gd name="connsiteY6" fmla="*/ 1192873 h 1193863"/>
                <a:gd name="connsiteX7" fmla="*/ 133309 w 787171"/>
                <a:gd name="connsiteY7" fmla="*/ 968969 h 1193863"/>
                <a:gd name="connsiteX8" fmla="*/ 168 w 787171"/>
                <a:gd name="connsiteY8" fmla="*/ 574189 h 1193863"/>
                <a:gd name="connsiteX0" fmla="*/ 168 w 787171"/>
                <a:gd name="connsiteY0" fmla="*/ 574189 h 1146459"/>
                <a:gd name="connsiteX1" fmla="*/ 112043 w 787171"/>
                <a:gd name="connsiteY1" fmla="*/ 134313 h 1146459"/>
                <a:gd name="connsiteX2" fmla="*/ 418634 w 787171"/>
                <a:gd name="connsiteY2" fmla="*/ 29933 h 1146459"/>
                <a:gd name="connsiteX3" fmla="*/ 723416 w 787171"/>
                <a:gd name="connsiteY3" fmla="*/ 54569 h 1146459"/>
                <a:gd name="connsiteX4" fmla="*/ 783938 w 787171"/>
                <a:gd name="connsiteY4" fmla="*/ 478497 h 1146459"/>
                <a:gd name="connsiteX5" fmla="*/ 654303 w 787171"/>
                <a:gd name="connsiteY5" fmla="*/ 883908 h 1146459"/>
                <a:gd name="connsiteX6" fmla="*/ 413318 w 787171"/>
                <a:gd name="connsiteY6" fmla="*/ 1145026 h 1146459"/>
                <a:gd name="connsiteX7" fmla="*/ 133309 w 787171"/>
                <a:gd name="connsiteY7" fmla="*/ 968969 h 1146459"/>
                <a:gd name="connsiteX8" fmla="*/ 168 w 787171"/>
                <a:gd name="connsiteY8" fmla="*/ 574189 h 1146459"/>
                <a:gd name="connsiteX0" fmla="*/ 168 w 796943"/>
                <a:gd name="connsiteY0" fmla="*/ 574189 h 1146459"/>
                <a:gd name="connsiteX1" fmla="*/ 112043 w 796943"/>
                <a:gd name="connsiteY1" fmla="*/ 134313 h 1146459"/>
                <a:gd name="connsiteX2" fmla="*/ 418634 w 796943"/>
                <a:gd name="connsiteY2" fmla="*/ 29933 h 1146459"/>
                <a:gd name="connsiteX3" fmla="*/ 723416 w 796943"/>
                <a:gd name="connsiteY3" fmla="*/ 54569 h 1146459"/>
                <a:gd name="connsiteX4" fmla="*/ 793987 w 796943"/>
                <a:gd name="connsiteY4" fmla="*/ 260782 h 1146459"/>
                <a:gd name="connsiteX5" fmla="*/ 654303 w 796943"/>
                <a:gd name="connsiteY5" fmla="*/ 883908 h 1146459"/>
                <a:gd name="connsiteX6" fmla="*/ 413318 w 796943"/>
                <a:gd name="connsiteY6" fmla="*/ 1145026 h 1146459"/>
                <a:gd name="connsiteX7" fmla="*/ 133309 w 796943"/>
                <a:gd name="connsiteY7" fmla="*/ 968969 h 1146459"/>
                <a:gd name="connsiteX8" fmla="*/ 168 w 796943"/>
                <a:gd name="connsiteY8" fmla="*/ 574189 h 1146459"/>
                <a:gd name="connsiteX0" fmla="*/ 168 w 796943"/>
                <a:gd name="connsiteY0" fmla="*/ 578672 h 1150942"/>
                <a:gd name="connsiteX1" fmla="*/ 112043 w 796943"/>
                <a:gd name="connsiteY1" fmla="*/ 138796 h 1150942"/>
                <a:gd name="connsiteX2" fmla="*/ 418634 w 796943"/>
                <a:gd name="connsiteY2" fmla="*/ 34416 h 1150942"/>
                <a:gd name="connsiteX3" fmla="*/ 673174 w 796943"/>
                <a:gd name="connsiteY3" fmla="*/ 52353 h 1150942"/>
                <a:gd name="connsiteX4" fmla="*/ 793987 w 796943"/>
                <a:gd name="connsiteY4" fmla="*/ 265265 h 1150942"/>
                <a:gd name="connsiteX5" fmla="*/ 654303 w 796943"/>
                <a:gd name="connsiteY5" fmla="*/ 888391 h 1150942"/>
                <a:gd name="connsiteX6" fmla="*/ 413318 w 796943"/>
                <a:gd name="connsiteY6" fmla="*/ 1149509 h 1150942"/>
                <a:gd name="connsiteX7" fmla="*/ 133309 w 796943"/>
                <a:gd name="connsiteY7" fmla="*/ 973452 h 1150942"/>
                <a:gd name="connsiteX8" fmla="*/ 168 w 796943"/>
                <a:gd name="connsiteY8" fmla="*/ 578672 h 1150942"/>
                <a:gd name="connsiteX0" fmla="*/ 168 w 796943"/>
                <a:gd name="connsiteY0" fmla="*/ 610686 h 1182956"/>
                <a:gd name="connsiteX1" fmla="*/ 112043 w 796943"/>
                <a:gd name="connsiteY1" fmla="*/ 170810 h 1182956"/>
                <a:gd name="connsiteX2" fmla="*/ 418634 w 796943"/>
                <a:gd name="connsiteY2" fmla="*/ 66430 h 1182956"/>
                <a:gd name="connsiteX3" fmla="*/ 633487 w 796943"/>
                <a:gd name="connsiteY3" fmla="*/ 41505 h 1182956"/>
                <a:gd name="connsiteX4" fmla="*/ 793987 w 796943"/>
                <a:gd name="connsiteY4" fmla="*/ 297279 h 1182956"/>
                <a:gd name="connsiteX5" fmla="*/ 654303 w 796943"/>
                <a:gd name="connsiteY5" fmla="*/ 920405 h 1182956"/>
                <a:gd name="connsiteX6" fmla="*/ 413318 w 796943"/>
                <a:gd name="connsiteY6" fmla="*/ 1181523 h 1182956"/>
                <a:gd name="connsiteX7" fmla="*/ 133309 w 796943"/>
                <a:gd name="connsiteY7" fmla="*/ 1005466 h 1182956"/>
                <a:gd name="connsiteX8" fmla="*/ 168 w 796943"/>
                <a:gd name="connsiteY8" fmla="*/ 610686 h 1182956"/>
                <a:gd name="connsiteX0" fmla="*/ 168 w 689200"/>
                <a:gd name="connsiteY0" fmla="*/ 610686 h 1182956"/>
                <a:gd name="connsiteX1" fmla="*/ 112043 w 689200"/>
                <a:gd name="connsiteY1" fmla="*/ 170810 h 1182956"/>
                <a:gd name="connsiteX2" fmla="*/ 418634 w 689200"/>
                <a:gd name="connsiteY2" fmla="*/ 66430 h 1182956"/>
                <a:gd name="connsiteX3" fmla="*/ 633487 w 689200"/>
                <a:gd name="connsiteY3" fmla="*/ 41505 h 1182956"/>
                <a:gd name="connsiteX4" fmla="*/ 659049 w 689200"/>
                <a:gd name="connsiteY4" fmla="*/ 87729 h 1182956"/>
                <a:gd name="connsiteX5" fmla="*/ 654303 w 689200"/>
                <a:gd name="connsiteY5" fmla="*/ 920405 h 1182956"/>
                <a:gd name="connsiteX6" fmla="*/ 413318 w 689200"/>
                <a:gd name="connsiteY6" fmla="*/ 1181523 h 1182956"/>
                <a:gd name="connsiteX7" fmla="*/ 133309 w 689200"/>
                <a:gd name="connsiteY7" fmla="*/ 1005466 h 1182956"/>
                <a:gd name="connsiteX8" fmla="*/ 168 w 689200"/>
                <a:gd name="connsiteY8" fmla="*/ 610686 h 1182956"/>
                <a:gd name="connsiteX0" fmla="*/ 168 w 689200"/>
                <a:gd name="connsiteY0" fmla="*/ 675458 h 1247728"/>
                <a:gd name="connsiteX1" fmla="*/ 112043 w 689200"/>
                <a:gd name="connsiteY1" fmla="*/ 235582 h 1247728"/>
                <a:gd name="connsiteX2" fmla="*/ 259884 w 689200"/>
                <a:gd name="connsiteY2" fmla="*/ 7377 h 1247728"/>
                <a:gd name="connsiteX3" fmla="*/ 633487 w 689200"/>
                <a:gd name="connsiteY3" fmla="*/ 106277 h 1247728"/>
                <a:gd name="connsiteX4" fmla="*/ 659049 w 689200"/>
                <a:gd name="connsiteY4" fmla="*/ 152501 h 1247728"/>
                <a:gd name="connsiteX5" fmla="*/ 654303 w 689200"/>
                <a:gd name="connsiteY5" fmla="*/ 985177 h 1247728"/>
                <a:gd name="connsiteX6" fmla="*/ 413318 w 689200"/>
                <a:gd name="connsiteY6" fmla="*/ 1246295 h 1247728"/>
                <a:gd name="connsiteX7" fmla="*/ 133309 w 689200"/>
                <a:gd name="connsiteY7" fmla="*/ 1070238 h 1247728"/>
                <a:gd name="connsiteX8" fmla="*/ 168 w 689200"/>
                <a:gd name="connsiteY8" fmla="*/ 675458 h 1247728"/>
                <a:gd name="connsiteX0" fmla="*/ 168 w 689200"/>
                <a:gd name="connsiteY0" fmla="*/ 616148 h 1188418"/>
                <a:gd name="connsiteX1" fmla="*/ 112043 w 689200"/>
                <a:gd name="connsiteY1" fmla="*/ 176272 h 1188418"/>
                <a:gd name="connsiteX2" fmla="*/ 586909 w 689200"/>
                <a:gd name="connsiteY2" fmla="*/ 51254 h 1188418"/>
                <a:gd name="connsiteX3" fmla="*/ 633487 w 689200"/>
                <a:gd name="connsiteY3" fmla="*/ 46967 h 1188418"/>
                <a:gd name="connsiteX4" fmla="*/ 659049 w 689200"/>
                <a:gd name="connsiteY4" fmla="*/ 93191 h 1188418"/>
                <a:gd name="connsiteX5" fmla="*/ 654303 w 689200"/>
                <a:gd name="connsiteY5" fmla="*/ 925867 h 1188418"/>
                <a:gd name="connsiteX6" fmla="*/ 413318 w 689200"/>
                <a:gd name="connsiteY6" fmla="*/ 1186985 h 1188418"/>
                <a:gd name="connsiteX7" fmla="*/ 133309 w 689200"/>
                <a:gd name="connsiteY7" fmla="*/ 1010928 h 1188418"/>
                <a:gd name="connsiteX8" fmla="*/ 168 w 689200"/>
                <a:gd name="connsiteY8" fmla="*/ 616148 h 1188418"/>
                <a:gd name="connsiteX0" fmla="*/ 19683 w 708715"/>
                <a:gd name="connsiteY0" fmla="*/ 612758 h 1185028"/>
                <a:gd name="connsiteX1" fmla="*/ 582408 w 708715"/>
                <a:gd name="connsiteY1" fmla="*/ 87157 h 1185028"/>
                <a:gd name="connsiteX2" fmla="*/ 606424 w 708715"/>
                <a:gd name="connsiteY2" fmla="*/ 47864 h 1185028"/>
                <a:gd name="connsiteX3" fmla="*/ 653002 w 708715"/>
                <a:gd name="connsiteY3" fmla="*/ 43577 h 1185028"/>
                <a:gd name="connsiteX4" fmla="*/ 678564 w 708715"/>
                <a:gd name="connsiteY4" fmla="*/ 89801 h 1185028"/>
                <a:gd name="connsiteX5" fmla="*/ 673818 w 708715"/>
                <a:gd name="connsiteY5" fmla="*/ 922477 h 1185028"/>
                <a:gd name="connsiteX6" fmla="*/ 432833 w 708715"/>
                <a:gd name="connsiteY6" fmla="*/ 1183595 h 1185028"/>
                <a:gd name="connsiteX7" fmla="*/ 152824 w 708715"/>
                <a:gd name="connsiteY7" fmla="*/ 1007538 h 1185028"/>
                <a:gd name="connsiteX8" fmla="*/ 19683 w 708715"/>
                <a:gd name="connsiteY8" fmla="*/ 612758 h 1185028"/>
                <a:gd name="connsiteX0" fmla="*/ 435185 w 562242"/>
                <a:gd name="connsiteY0" fmla="*/ 212708 h 1185028"/>
                <a:gd name="connsiteX1" fmla="*/ 435935 w 562242"/>
                <a:gd name="connsiteY1" fmla="*/ 87157 h 1185028"/>
                <a:gd name="connsiteX2" fmla="*/ 459951 w 562242"/>
                <a:gd name="connsiteY2" fmla="*/ 47864 h 1185028"/>
                <a:gd name="connsiteX3" fmla="*/ 506529 w 562242"/>
                <a:gd name="connsiteY3" fmla="*/ 43577 h 1185028"/>
                <a:gd name="connsiteX4" fmla="*/ 532091 w 562242"/>
                <a:gd name="connsiteY4" fmla="*/ 89801 h 1185028"/>
                <a:gd name="connsiteX5" fmla="*/ 527345 w 562242"/>
                <a:gd name="connsiteY5" fmla="*/ 922477 h 1185028"/>
                <a:gd name="connsiteX6" fmla="*/ 286360 w 562242"/>
                <a:gd name="connsiteY6" fmla="*/ 1183595 h 1185028"/>
                <a:gd name="connsiteX7" fmla="*/ 6351 w 562242"/>
                <a:gd name="connsiteY7" fmla="*/ 1007538 h 1185028"/>
                <a:gd name="connsiteX8" fmla="*/ 435185 w 562242"/>
                <a:gd name="connsiteY8" fmla="*/ 212708 h 1185028"/>
                <a:gd name="connsiteX0" fmla="*/ 149950 w 277007"/>
                <a:gd name="connsiteY0" fmla="*/ 212708 h 1203096"/>
                <a:gd name="connsiteX1" fmla="*/ 150700 w 277007"/>
                <a:gd name="connsiteY1" fmla="*/ 87157 h 1203096"/>
                <a:gd name="connsiteX2" fmla="*/ 174716 w 277007"/>
                <a:gd name="connsiteY2" fmla="*/ 47864 h 1203096"/>
                <a:gd name="connsiteX3" fmla="*/ 221294 w 277007"/>
                <a:gd name="connsiteY3" fmla="*/ 43577 h 1203096"/>
                <a:gd name="connsiteX4" fmla="*/ 246856 w 277007"/>
                <a:gd name="connsiteY4" fmla="*/ 89801 h 1203096"/>
                <a:gd name="connsiteX5" fmla="*/ 242110 w 277007"/>
                <a:gd name="connsiteY5" fmla="*/ 922477 h 1203096"/>
                <a:gd name="connsiteX6" fmla="*/ 1125 w 277007"/>
                <a:gd name="connsiteY6" fmla="*/ 1183595 h 1203096"/>
                <a:gd name="connsiteX7" fmla="*/ 132278 w 277007"/>
                <a:gd name="connsiteY7" fmla="*/ 372538 h 1203096"/>
                <a:gd name="connsiteX8" fmla="*/ 149950 w 277007"/>
                <a:gd name="connsiteY8" fmla="*/ 212708 h 1203096"/>
                <a:gd name="connsiteX0" fmla="*/ 42107 w 169164"/>
                <a:gd name="connsiteY0" fmla="*/ 212708 h 934261"/>
                <a:gd name="connsiteX1" fmla="*/ 42857 w 169164"/>
                <a:gd name="connsiteY1" fmla="*/ 87157 h 934261"/>
                <a:gd name="connsiteX2" fmla="*/ 66873 w 169164"/>
                <a:gd name="connsiteY2" fmla="*/ 47864 h 934261"/>
                <a:gd name="connsiteX3" fmla="*/ 113451 w 169164"/>
                <a:gd name="connsiteY3" fmla="*/ 43577 h 934261"/>
                <a:gd name="connsiteX4" fmla="*/ 139013 w 169164"/>
                <a:gd name="connsiteY4" fmla="*/ 89801 h 934261"/>
                <a:gd name="connsiteX5" fmla="*/ 134267 w 169164"/>
                <a:gd name="connsiteY5" fmla="*/ 922477 h 934261"/>
                <a:gd name="connsiteX6" fmla="*/ 88544 w 169164"/>
                <a:gd name="connsiteY6" fmla="*/ 397782 h 934261"/>
                <a:gd name="connsiteX7" fmla="*/ 24435 w 169164"/>
                <a:gd name="connsiteY7" fmla="*/ 372538 h 934261"/>
                <a:gd name="connsiteX8" fmla="*/ 42107 w 169164"/>
                <a:gd name="connsiteY8" fmla="*/ 212708 h 934261"/>
                <a:gd name="connsiteX0" fmla="*/ 42107 w 157177"/>
                <a:gd name="connsiteY0" fmla="*/ 212708 h 431684"/>
                <a:gd name="connsiteX1" fmla="*/ 42857 w 157177"/>
                <a:gd name="connsiteY1" fmla="*/ 87157 h 431684"/>
                <a:gd name="connsiteX2" fmla="*/ 66873 w 157177"/>
                <a:gd name="connsiteY2" fmla="*/ 47864 h 431684"/>
                <a:gd name="connsiteX3" fmla="*/ 113451 w 157177"/>
                <a:gd name="connsiteY3" fmla="*/ 43577 h 431684"/>
                <a:gd name="connsiteX4" fmla="*/ 139013 w 157177"/>
                <a:gd name="connsiteY4" fmla="*/ 89801 h 431684"/>
                <a:gd name="connsiteX5" fmla="*/ 112042 w 157177"/>
                <a:gd name="connsiteY5" fmla="*/ 384314 h 431684"/>
                <a:gd name="connsiteX6" fmla="*/ 88544 w 157177"/>
                <a:gd name="connsiteY6" fmla="*/ 397782 h 431684"/>
                <a:gd name="connsiteX7" fmla="*/ 24435 w 157177"/>
                <a:gd name="connsiteY7" fmla="*/ 372538 h 431684"/>
                <a:gd name="connsiteX8" fmla="*/ 42107 w 157177"/>
                <a:gd name="connsiteY8" fmla="*/ 212708 h 431684"/>
                <a:gd name="connsiteX0" fmla="*/ 40839 w 157497"/>
                <a:gd name="connsiteY0" fmla="*/ 126983 h 431684"/>
                <a:gd name="connsiteX1" fmla="*/ 43177 w 157497"/>
                <a:gd name="connsiteY1" fmla="*/ 87157 h 431684"/>
                <a:gd name="connsiteX2" fmla="*/ 67193 w 157497"/>
                <a:gd name="connsiteY2" fmla="*/ 47864 h 431684"/>
                <a:gd name="connsiteX3" fmla="*/ 113771 w 157497"/>
                <a:gd name="connsiteY3" fmla="*/ 43577 h 431684"/>
                <a:gd name="connsiteX4" fmla="*/ 139333 w 157497"/>
                <a:gd name="connsiteY4" fmla="*/ 89801 h 431684"/>
                <a:gd name="connsiteX5" fmla="*/ 112362 w 157497"/>
                <a:gd name="connsiteY5" fmla="*/ 384314 h 431684"/>
                <a:gd name="connsiteX6" fmla="*/ 88864 w 157497"/>
                <a:gd name="connsiteY6" fmla="*/ 397782 h 431684"/>
                <a:gd name="connsiteX7" fmla="*/ 24755 w 157497"/>
                <a:gd name="connsiteY7" fmla="*/ 372538 h 431684"/>
                <a:gd name="connsiteX8" fmla="*/ 40839 w 157497"/>
                <a:gd name="connsiteY8" fmla="*/ 126983 h 431684"/>
                <a:gd name="connsiteX0" fmla="*/ 1772 w 134514"/>
                <a:gd name="connsiteY0" fmla="*/ 372538 h 431684"/>
                <a:gd name="connsiteX1" fmla="*/ 20194 w 134514"/>
                <a:gd name="connsiteY1" fmla="*/ 87157 h 431684"/>
                <a:gd name="connsiteX2" fmla="*/ 44210 w 134514"/>
                <a:gd name="connsiteY2" fmla="*/ 47864 h 431684"/>
                <a:gd name="connsiteX3" fmla="*/ 90788 w 134514"/>
                <a:gd name="connsiteY3" fmla="*/ 43577 h 431684"/>
                <a:gd name="connsiteX4" fmla="*/ 116350 w 134514"/>
                <a:gd name="connsiteY4" fmla="*/ 89801 h 431684"/>
                <a:gd name="connsiteX5" fmla="*/ 89379 w 134514"/>
                <a:gd name="connsiteY5" fmla="*/ 384314 h 431684"/>
                <a:gd name="connsiteX6" fmla="*/ 65881 w 134514"/>
                <a:gd name="connsiteY6" fmla="*/ 397782 h 431684"/>
                <a:gd name="connsiteX7" fmla="*/ 1772 w 134514"/>
                <a:gd name="connsiteY7" fmla="*/ 372538 h 431684"/>
                <a:gd name="connsiteX0" fmla="*/ 4432 w 121299"/>
                <a:gd name="connsiteY0" fmla="*/ 172513 h 441440"/>
                <a:gd name="connsiteX1" fmla="*/ 6979 w 121299"/>
                <a:gd name="connsiteY1" fmla="*/ 87157 h 441440"/>
                <a:gd name="connsiteX2" fmla="*/ 30995 w 121299"/>
                <a:gd name="connsiteY2" fmla="*/ 47864 h 441440"/>
                <a:gd name="connsiteX3" fmla="*/ 77573 w 121299"/>
                <a:gd name="connsiteY3" fmla="*/ 43577 h 441440"/>
                <a:gd name="connsiteX4" fmla="*/ 103135 w 121299"/>
                <a:gd name="connsiteY4" fmla="*/ 89801 h 441440"/>
                <a:gd name="connsiteX5" fmla="*/ 76164 w 121299"/>
                <a:gd name="connsiteY5" fmla="*/ 384314 h 441440"/>
                <a:gd name="connsiteX6" fmla="*/ 52666 w 121299"/>
                <a:gd name="connsiteY6" fmla="*/ 397782 h 441440"/>
                <a:gd name="connsiteX7" fmla="*/ 4432 w 121299"/>
                <a:gd name="connsiteY7" fmla="*/ 172513 h 441440"/>
                <a:gd name="connsiteX0" fmla="*/ 4432 w 121299"/>
                <a:gd name="connsiteY0" fmla="*/ 172513 h 410514"/>
                <a:gd name="connsiteX1" fmla="*/ 6979 w 121299"/>
                <a:gd name="connsiteY1" fmla="*/ 87157 h 410514"/>
                <a:gd name="connsiteX2" fmla="*/ 30995 w 121299"/>
                <a:gd name="connsiteY2" fmla="*/ 47864 h 410514"/>
                <a:gd name="connsiteX3" fmla="*/ 77573 w 121299"/>
                <a:gd name="connsiteY3" fmla="*/ 43577 h 410514"/>
                <a:gd name="connsiteX4" fmla="*/ 103135 w 121299"/>
                <a:gd name="connsiteY4" fmla="*/ 89801 h 410514"/>
                <a:gd name="connsiteX5" fmla="*/ 76164 w 121299"/>
                <a:gd name="connsiteY5" fmla="*/ 384314 h 410514"/>
                <a:gd name="connsiteX6" fmla="*/ 49491 w 121299"/>
                <a:gd name="connsiteY6" fmla="*/ 245382 h 410514"/>
                <a:gd name="connsiteX7" fmla="*/ 4432 w 121299"/>
                <a:gd name="connsiteY7" fmla="*/ 172513 h 410514"/>
                <a:gd name="connsiteX0" fmla="*/ 4432 w 131332"/>
                <a:gd name="connsiteY0" fmla="*/ 172513 h 262682"/>
                <a:gd name="connsiteX1" fmla="*/ 6979 w 131332"/>
                <a:gd name="connsiteY1" fmla="*/ 87157 h 262682"/>
                <a:gd name="connsiteX2" fmla="*/ 30995 w 131332"/>
                <a:gd name="connsiteY2" fmla="*/ 47864 h 262682"/>
                <a:gd name="connsiteX3" fmla="*/ 77573 w 131332"/>
                <a:gd name="connsiteY3" fmla="*/ 43577 h 262682"/>
                <a:gd name="connsiteX4" fmla="*/ 103135 w 131332"/>
                <a:gd name="connsiteY4" fmla="*/ 89801 h 262682"/>
                <a:gd name="connsiteX5" fmla="*/ 95214 w 131332"/>
                <a:gd name="connsiteY5" fmla="*/ 203339 h 262682"/>
                <a:gd name="connsiteX6" fmla="*/ 49491 w 131332"/>
                <a:gd name="connsiteY6" fmla="*/ 245382 h 262682"/>
                <a:gd name="connsiteX7" fmla="*/ 4432 w 131332"/>
                <a:gd name="connsiteY7" fmla="*/ 172513 h 262682"/>
                <a:gd name="connsiteX0" fmla="*/ 4432 w 147479"/>
                <a:gd name="connsiteY0" fmla="*/ 172513 h 254162"/>
                <a:gd name="connsiteX1" fmla="*/ 6979 w 147479"/>
                <a:gd name="connsiteY1" fmla="*/ 87157 h 254162"/>
                <a:gd name="connsiteX2" fmla="*/ 30995 w 147479"/>
                <a:gd name="connsiteY2" fmla="*/ 47864 h 254162"/>
                <a:gd name="connsiteX3" fmla="*/ 77573 w 147479"/>
                <a:gd name="connsiteY3" fmla="*/ 43577 h 254162"/>
                <a:gd name="connsiteX4" fmla="*/ 103135 w 147479"/>
                <a:gd name="connsiteY4" fmla="*/ 89801 h 254162"/>
                <a:gd name="connsiteX5" fmla="*/ 119027 w 147479"/>
                <a:gd name="connsiteY5" fmla="*/ 187464 h 254162"/>
                <a:gd name="connsiteX6" fmla="*/ 49491 w 147479"/>
                <a:gd name="connsiteY6" fmla="*/ 245382 h 254162"/>
                <a:gd name="connsiteX7" fmla="*/ 4432 w 147479"/>
                <a:gd name="connsiteY7" fmla="*/ 172513 h 254162"/>
                <a:gd name="connsiteX0" fmla="*/ 4432 w 147479"/>
                <a:gd name="connsiteY0" fmla="*/ 172513 h 262440"/>
                <a:gd name="connsiteX1" fmla="*/ 6979 w 147479"/>
                <a:gd name="connsiteY1" fmla="*/ 87157 h 262440"/>
                <a:gd name="connsiteX2" fmla="*/ 30995 w 147479"/>
                <a:gd name="connsiteY2" fmla="*/ 47864 h 262440"/>
                <a:gd name="connsiteX3" fmla="*/ 77573 w 147479"/>
                <a:gd name="connsiteY3" fmla="*/ 43577 h 262440"/>
                <a:gd name="connsiteX4" fmla="*/ 103135 w 147479"/>
                <a:gd name="connsiteY4" fmla="*/ 89801 h 262440"/>
                <a:gd name="connsiteX5" fmla="*/ 119027 w 147479"/>
                <a:gd name="connsiteY5" fmla="*/ 187464 h 262440"/>
                <a:gd name="connsiteX6" fmla="*/ 112991 w 147479"/>
                <a:gd name="connsiteY6" fmla="*/ 258082 h 262440"/>
                <a:gd name="connsiteX7" fmla="*/ 4432 w 147479"/>
                <a:gd name="connsiteY7" fmla="*/ 172513 h 262440"/>
                <a:gd name="connsiteX0" fmla="*/ 4432 w 147479"/>
                <a:gd name="connsiteY0" fmla="*/ 145093 h 235020"/>
                <a:gd name="connsiteX1" fmla="*/ 6979 w 147479"/>
                <a:gd name="connsiteY1" fmla="*/ 59737 h 235020"/>
                <a:gd name="connsiteX2" fmla="*/ 30995 w 147479"/>
                <a:gd name="connsiteY2" fmla="*/ 20444 h 235020"/>
                <a:gd name="connsiteX3" fmla="*/ 34201 w 147479"/>
                <a:gd name="connsiteY3" fmla="*/ 17283 h 235020"/>
                <a:gd name="connsiteX4" fmla="*/ 77573 w 147479"/>
                <a:gd name="connsiteY4" fmla="*/ 16157 h 235020"/>
                <a:gd name="connsiteX5" fmla="*/ 103135 w 147479"/>
                <a:gd name="connsiteY5" fmla="*/ 62381 h 235020"/>
                <a:gd name="connsiteX6" fmla="*/ 119027 w 147479"/>
                <a:gd name="connsiteY6" fmla="*/ 160044 h 235020"/>
                <a:gd name="connsiteX7" fmla="*/ 112991 w 147479"/>
                <a:gd name="connsiteY7" fmla="*/ 230662 h 235020"/>
                <a:gd name="connsiteX8" fmla="*/ 4432 w 147479"/>
                <a:gd name="connsiteY8" fmla="*/ 145093 h 235020"/>
                <a:gd name="connsiteX0" fmla="*/ 4432 w 147479"/>
                <a:gd name="connsiteY0" fmla="*/ 140767 h 230694"/>
                <a:gd name="connsiteX1" fmla="*/ 6979 w 147479"/>
                <a:gd name="connsiteY1" fmla="*/ 55411 h 230694"/>
                <a:gd name="connsiteX2" fmla="*/ 30995 w 147479"/>
                <a:gd name="connsiteY2" fmla="*/ 16118 h 230694"/>
                <a:gd name="connsiteX3" fmla="*/ 34201 w 147479"/>
                <a:gd name="connsiteY3" fmla="*/ 12957 h 230694"/>
                <a:gd name="connsiteX4" fmla="*/ 82336 w 147479"/>
                <a:gd name="connsiteY4" fmla="*/ 22943 h 230694"/>
                <a:gd name="connsiteX5" fmla="*/ 103135 w 147479"/>
                <a:gd name="connsiteY5" fmla="*/ 58055 h 230694"/>
                <a:gd name="connsiteX6" fmla="*/ 119027 w 147479"/>
                <a:gd name="connsiteY6" fmla="*/ 155718 h 230694"/>
                <a:gd name="connsiteX7" fmla="*/ 112991 w 147479"/>
                <a:gd name="connsiteY7" fmla="*/ 226336 h 230694"/>
                <a:gd name="connsiteX8" fmla="*/ 4432 w 147479"/>
                <a:gd name="connsiteY8" fmla="*/ 140767 h 230694"/>
                <a:gd name="connsiteX0" fmla="*/ 4432 w 147479"/>
                <a:gd name="connsiteY0" fmla="*/ 145291 h 235218"/>
                <a:gd name="connsiteX1" fmla="*/ 6979 w 147479"/>
                <a:gd name="connsiteY1" fmla="*/ 59935 h 235218"/>
                <a:gd name="connsiteX2" fmla="*/ 30995 w 147479"/>
                <a:gd name="connsiteY2" fmla="*/ 20642 h 235218"/>
                <a:gd name="connsiteX3" fmla="*/ 51663 w 147479"/>
                <a:gd name="connsiteY3" fmla="*/ 18 h 235218"/>
                <a:gd name="connsiteX4" fmla="*/ 82336 w 147479"/>
                <a:gd name="connsiteY4" fmla="*/ 27467 h 235218"/>
                <a:gd name="connsiteX5" fmla="*/ 103135 w 147479"/>
                <a:gd name="connsiteY5" fmla="*/ 62579 h 235218"/>
                <a:gd name="connsiteX6" fmla="*/ 119027 w 147479"/>
                <a:gd name="connsiteY6" fmla="*/ 160242 h 235218"/>
                <a:gd name="connsiteX7" fmla="*/ 112991 w 147479"/>
                <a:gd name="connsiteY7" fmla="*/ 230860 h 235218"/>
                <a:gd name="connsiteX8" fmla="*/ 4432 w 147479"/>
                <a:gd name="connsiteY8" fmla="*/ 145291 h 235218"/>
                <a:gd name="connsiteX0" fmla="*/ 4432 w 147479"/>
                <a:gd name="connsiteY0" fmla="*/ 145291 h 321202"/>
                <a:gd name="connsiteX1" fmla="*/ 6979 w 147479"/>
                <a:gd name="connsiteY1" fmla="*/ 59935 h 321202"/>
                <a:gd name="connsiteX2" fmla="*/ 30995 w 147479"/>
                <a:gd name="connsiteY2" fmla="*/ 20642 h 321202"/>
                <a:gd name="connsiteX3" fmla="*/ 51663 w 147479"/>
                <a:gd name="connsiteY3" fmla="*/ 18 h 321202"/>
                <a:gd name="connsiteX4" fmla="*/ 82336 w 147479"/>
                <a:gd name="connsiteY4" fmla="*/ 27467 h 321202"/>
                <a:gd name="connsiteX5" fmla="*/ 103135 w 147479"/>
                <a:gd name="connsiteY5" fmla="*/ 62579 h 321202"/>
                <a:gd name="connsiteX6" fmla="*/ 119027 w 147479"/>
                <a:gd name="connsiteY6" fmla="*/ 160242 h 321202"/>
                <a:gd name="connsiteX7" fmla="*/ 112991 w 147479"/>
                <a:gd name="connsiteY7" fmla="*/ 230860 h 321202"/>
                <a:gd name="connsiteX8" fmla="*/ 4432 w 147479"/>
                <a:gd name="connsiteY8" fmla="*/ 145291 h 321202"/>
                <a:gd name="connsiteX0" fmla="*/ 4432 w 119140"/>
                <a:gd name="connsiteY0" fmla="*/ 145291 h 233270"/>
                <a:gd name="connsiteX1" fmla="*/ 6979 w 119140"/>
                <a:gd name="connsiteY1" fmla="*/ 59935 h 233270"/>
                <a:gd name="connsiteX2" fmla="*/ 30995 w 119140"/>
                <a:gd name="connsiteY2" fmla="*/ 20642 h 233270"/>
                <a:gd name="connsiteX3" fmla="*/ 51663 w 119140"/>
                <a:gd name="connsiteY3" fmla="*/ 18 h 233270"/>
                <a:gd name="connsiteX4" fmla="*/ 82336 w 119140"/>
                <a:gd name="connsiteY4" fmla="*/ 27467 h 233270"/>
                <a:gd name="connsiteX5" fmla="*/ 103135 w 119140"/>
                <a:gd name="connsiteY5" fmla="*/ 62579 h 233270"/>
                <a:gd name="connsiteX6" fmla="*/ 112991 w 119140"/>
                <a:gd name="connsiteY6" fmla="*/ 230860 h 233270"/>
                <a:gd name="connsiteX7" fmla="*/ 4432 w 119140"/>
                <a:gd name="connsiteY7" fmla="*/ 145291 h 233270"/>
                <a:gd name="connsiteX0" fmla="*/ 4432 w 133045"/>
                <a:gd name="connsiteY0" fmla="*/ 145291 h 236327"/>
                <a:gd name="connsiteX1" fmla="*/ 6979 w 133045"/>
                <a:gd name="connsiteY1" fmla="*/ 59935 h 236327"/>
                <a:gd name="connsiteX2" fmla="*/ 30995 w 133045"/>
                <a:gd name="connsiteY2" fmla="*/ 20642 h 236327"/>
                <a:gd name="connsiteX3" fmla="*/ 51663 w 133045"/>
                <a:gd name="connsiteY3" fmla="*/ 18 h 236327"/>
                <a:gd name="connsiteX4" fmla="*/ 82336 w 133045"/>
                <a:gd name="connsiteY4" fmla="*/ 27467 h 236327"/>
                <a:gd name="connsiteX5" fmla="*/ 103135 w 133045"/>
                <a:gd name="connsiteY5" fmla="*/ 62579 h 236327"/>
                <a:gd name="connsiteX6" fmla="*/ 128866 w 133045"/>
                <a:gd name="connsiteY6" fmla="*/ 234035 h 236327"/>
                <a:gd name="connsiteX7" fmla="*/ 4432 w 133045"/>
                <a:gd name="connsiteY7" fmla="*/ 145291 h 236327"/>
                <a:gd name="connsiteX0" fmla="*/ 4673 w 133286"/>
                <a:gd name="connsiteY0" fmla="*/ 146024 h 237060"/>
                <a:gd name="connsiteX1" fmla="*/ 7220 w 133286"/>
                <a:gd name="connsiteY1" fmla="*/ 60668 h 237060"/>
                <a:gd name="connsiteX2" fmla="*/ 51904 w 133286"/>
                <a:gd name="connsiteY2" fmla="*/ 751 h 237060"/>
                <a:gd name="connsiteX3" fmla="*/ 82577 w 133286"/>
                <a:gd name="connsiteY3" fmla="*/ 28200 h 237060"/>
                <a:gd name="connsiteX4" fmla="*/ 103376 w 133286"/>
                <a:gd name="connsiteY4" fmla="*/ 63312 h 237060"/>
                <a:gd name="connsiteX5" fmla="*/ 129107 w 133286"/>
                <a:gd name="connsiteY5" fmla="*/ 234768 h 237060"/>
                <a:gd name="connsiteX6" fmla="*/ 4673 w 133286"/>
                <a:gd name="connsiteY6" fmla="*/ 146024 h 237060"/>
                <a:gd name="connsiteX0" fmla="*/ 4673 w 133992"/>
                <a:gd name="connsiteY0" fmla="*/ 145277 h 236313"/>
                <a:gd name="connsiteX1" fmla="*/ 7220 w 133992"/>
                <a:gd name="connsiteY1" fmla="*/ 59921 h 236313"/>
                <a:gd name="connsiteX2" fmla="*/ 51904 w 133992"/>
                <a:gd name="connsiteY2" fmla="*/ 4 h 236313"/>
                <a:gd name="connsiteX3" fmla="*/ 103376 w 133992"/>
                <a:gd name="connsiteY3" fmla="*/ 62565 h 236313"/>
                <a:gd name="connsiteX4" fmla="*/ 129107 w 133992"/>
                <a:gd name="connsiteY4" fmla="*/ 234021 h 236313"/>
                <a:gd name="connsiteX5" fmla="*/ 4673 w 133992"/>
                <a:gd name="connsiteY5" fmla="*/ 145277 h 23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92" h="236313">
                  <a:moveTo>
                    <a:pt x="4673" y="145277"/>
                  </a:moveTo>
                  <a:cubicBezTo>
                    <a:pt x="-2942" y="93506"/>
                    <a:pt x="-652" y="84133"/>
                    <a:pt x="7220" y="59921"/>
                  </a:cubicBezTo>
                  <a:cubicBezTo>
                    <a:pt x="15092" y="35709"/>
                    <a:pt x="35878" y="-437"/>
                    <a:pt x="51904" y="4"/>
                  </a:cubicBezTo>
                  <a:cubicBezTo>
                    <a:pt x="67930" y="445"/>
                    <a:pt x="90509" y="23562"/>
                    <a:pt x="103376" y="62565"/>
                  </a:cubicBezTo>
                  <a:cubicBezTo>
                    <a:pt x="116243" y="101568"/>
                    <a:pt x="145558" y="220236"/>
                    <a:pt x="129107" y="234021"/>
                  </a:cubicBezTo>
                  <a:cubicBezTo>
                    <a:pt x="112656" y="247806"/>
                    <a:pt x="12288" y="197048"/>
                    <a:pt x="4673" y="145277"/>
                  </a:cubicBezTo>
                  <a:close/>
                </a:path>
              </a:pathLst>
            </a:custGeom>
            <a:solidFill>
              <a:srgbClr val="F3A574"/>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2" name="Rectangle 36"/>
            <p:cNvSpPr/>
            <p:nvPr/>
          </p:nvSpPr>
          <p:spPr bwMode="auto">
            <a:xfrm>
              <a:off x="7687608" y="1328400"/>
              <a:ext cx="77405" cy="11846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5" h="118467">
                  <a:moveTo>
                    <a:pt x="13978" y="0"/>
                  </a:moveTo>
                  <a:lnTo>
                    <a:pt x="60326" y="7565"/>
                  </a:lnTo>
                  <a:lnTo>
                    <a:pt x="77405" y="31749"/>
                  </a:lnTo>
                  <a:lnTo>
                    <a:pt x="39241" y="19779"/>
                  </a:lnTo>
                  <a:lnTo>
                    <a:pt x="26604" y="31155"/>
                  </a:lnTo>
                  <a:lnTo>
                    <a:pt x="20662" y="64257"/>
                  </a:lnTo>
                  <a:lnTo>
                    <a:pt x="9216" y="118467"/>
                  </a:lnTo>
                  <a:lnTo>
                    <a:pt x="0" y="74240"/>
                  </a:lnTo>
                  <a:lnTo>
                    <a:pt x="13978"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3" name="Rectangle 36"/>
            <p:cNvSpPr/>
            <p:nvPr/>
          </p:nvSpPr>
          <p:spPr bwMode="auto">
            <a:xfrm>
              <a:off x="7722249" y="1409858"/>
              <a:ext cx="55489" cy="7401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194816"/>
                <a:gd name="connsiteY0" fmla="*/ 59110 h 574217"/>
                <a:gd name="connsiteX1" fmla="*/ 179388 w 194816"/>
                <a:gd name="connsiteY1" fmla="*/ 0 h 574217"/>
                <a:gd name="connsiteX2" fmla="*/ 99630 w 194816"/>
                <a:gd name="connsiteY2" fmla="*/ 90859 h 574217"/>
                <a:gd name="connsiteX3" fmla="*/ 194816 w 194816"/>
                <a:gd name="connsiteY3" fmla="*/ 101114 h 574217"/>
                <a:gd name="connsiteX4" fmla="*/ 139316 w 194816"/>
                <a:gd name="connsiteY4" fmla="*/ 241077 h 574217"/>
                <a:gd name="connsiteX5" fmla="*/ 23837 w 194816"/>
                <a:gd name="connsiteY5" fmla="*/ 574217 h 574217"/>
                <a:gd name="connsiteX6" fmla="*/ 4454 w 194816"/>
                <a:gd name="connsiteY6" fmla="*/ 458565 h 574217"/>
                <a:gd name="connsiteX7" fmla="*/ 0 w 194816"/>
                <a:gd name="connsiteY7" fmla="*/ 301625 h 574217"/>
                <a:gd name="connsiteX8" fmla="*/ 36203 w 194816"/>
                <a:gd name="connsiteY8" fmla="*/ 59110 h 574217"/>
                <a:gd name="connsiteX0" fmla="*/ 36203 w 194816"/>
                <a:gd name="connsiteY0" fmla="*/ 0 h 515107"/>
                <a:gd name="connsiteX1" fmla="*/ 82551 w 194816"/>
                <a:gd name="connsiteY1" fmla="*/ 7565 h 515107"/>
                <a:gd name="connsiteX2" fmla="*/ 99630 w 194816"/>
                <a:gd name="connsiteY2" fmla="*/ 31749 h 515107"/>
                <a:gd name="connsiteX3" fmla="*/ 194816 w 194816"/>
                <a:gd name="connsiteY3" fmla="*/ 42004 h 515107"/>
                <a:gd name="connsiteX4" fmla="*/ 139316 w 194816"/>
                <a:gd name="connsiteY4" fmla="*/ 181967 h 515107"/>
                <a:gd name="connsiteX5" fmla="*/ 23837 w 194816"/>
                <a:gd name="connsiteY5" fmla="*/ 515107 h 515107"/>
                <a:gd name="connsiteX6" fmla="*/ 4454 w 194816"/>
                <a:gd name="connsiteY6" fmla="*/ 399455 h 515107"/>
                <a:gd name="connsiteX7" fmla="*/ 0 w 194816"/>
                <a:gd name="connsiteY7" fmla="*/ 242515 h 515107"/>
                <a:gd name="connsiteX8" fmla="*/ 36203 w 194816"/>
                <a:gd name="connsiteY8" fmla="*/ 0 h 515107"/>
                <a:gd name="connsiteX0" fmla="*/ 36203 w 139316"/>
                <a:gd name="connsiteY0" fmla="*/ 0 h 515107"/>
                <a:gd name="connsiteX1" fmla="*/ 82551 w 139316"/>
                <a:gd name="connsiteY1" fmla="*/ 7565 h 515107"/>
                <a:gd name="connsiteX2" fmla="*/ 99630 w 139316"/>
                <a:gd name="connsiteY2" fmla="*/ 31749 h 515107"/>
                <a:gd name="connsiteX3" fmla="*/ 61466 w 139316"/>
                <a:gd name="connsiteY3" fmla="*/ 19779 h 515107"/>
                <a:gd name="connsiteX4" fmla="*/ 139316 w 139316"/>
                <a:gd name="connsiteY4" fmla="*/ 181967 h 515107"/>
                <a:gd name="connsiteX5" fmla="*/ 23837 w 139316"/>
                <a:gd name="connsiteY5" fmla="*/ 515107 h 515107"/>
                <a:gd name="connsiteX6" fmla="*/ 4454 w 139316"/>
                <a:gd name="connsiteY6" fmla="*/ 399455 h 515107"/>
                <a:gd name="connsiteX7" fmla="*/ 0 w 139316"/>
                <a:gd name="connsiteY7" fmla="*/ 242515 h 515107"/>
                <a:gd name="connsiteX8" fmla="*/ 36203 w 139316"/>
                <a:gd name="connsiteY8" fmla="*/ 0 h 515107"/>
                <a:gd name="connsiteX0" fmla="*/ 36203 w 99630"/>
                <a:gd name="connsiteY0" fmla="*/ 0 h 515107"/>
                <a:gd name="connsiteX1" fmla="*/ 82551 w 99630"/>
                <a:gd name="connsiteY1" fmla="*/ 7565 h 515107"/>
                <a:gd name="connsiteX2" fmla="*/ 99630 w 99630"/>
                <a:gd name="connsiteY2" fmla="*/ 31749 h 515107"/>
                <a:gd name="connsiteX3" fmla="*/ 61466 w 99630"/>
                <a:gd name="connsiteY3" fmla="*/ 19779 h 515107"/>
                <a:gd name="connsiteX4" fmla="*/ 48829 w 99630"/>
                <a:gd name="connsiteY4" fmla="*/ 31155 h 515107"/>
                <a:gd name="connsiteX5" fmla="*/ 23837 w 99630"/>
                <a:gd name="connsiteY5" fmla="*/ 515107 h 515107"/>
                <a:gd name="connsiteX6" fmla="*/ 4454 w 99630"/>
                <a:gd name="connsiteY6" fmla="*/ 399455 h 515107"/>
                <a:gd name="connsiteX7" fmla="*/ 0 w 99630"/>
                <a:gd name="connsiteY7" fmla="*/ 242515 h 515107"/>
                <a:gd name="connsiteX8" fmla="*/ 36203 w 99630"/>
                <a:gd name="connsiteY8" fmla="*/ 0 h 515107"/>
                <a:gd name="connsiteX0" fmla="*/ 31749 w 95176"/>
                <a:gd name="connsiteY0" fmla="*/ 0 h 515107"/>
                <a:gd name="connsiteX1" fmla="*/ 78097 w 95176"/>
                <a:gd name="connsiteY1" fmla="*/ 7565 h 515107"/>
                <a:gd name="connsiteX2" fmla="*/ 95176 w 95176"/>
                <a:gd name="connsiteY2" fmla="*/ 31749 h 515107"/>
                <a:gd name="connsiteX3" fmla="*/ 57012 w 95176"/>
                <a:gd name="connsiteY3" fmla="*/ 19779 h 515107"/>
                <a:gd name="connsiteX4" fmla="*/ 44375 w 95176"/>
                <a:gd name="connsiteY4" fmla="*/ 31155 h 515107"/>
                <a:gd name="connsiteX5" fmla="*/ 19383 w 95176"/>
                <a:gd name="connsiteY5" fmla="*/ 515107 h 515107"/>
                <a:gd name="connsiteX6" fmla="*/ 0 w 95176"/>
                <a:gd name="connsiteY6" fmla="*/ 399455 h 515107"/>
                <a:gd name="connsiteX7" fmla="*/ 17771 w 95176"/>
                <a:gd name="connsiteY7" fmla="*/ 74240 h 515107"/>
                <a:gd name="connsiteX8" fmla="*/ 31749 w 95176"/>
                <a:gd name="connsiteY8" fmla="*/ 0 h 515107"/>
                <a:gd name="connsiteX0" fmla="*/ 13978 w 77405"/>
                <a:gd name="connsiteY0" fmla="*/ 0 h 515107"/>
                <a:gd name="connsiteX1" fmla="*/ 60326 w 77405"/>
                <a:gd name="connsiteY1" fmla="*/ 7565 h 515107"/>
                <a:gd name="connsiteX2" fmla="*/ 77405 w 77405"/>
                <a:gd name="connsiteY2" fmla="*/ 31749 h 515107"/>
                <a:gd name="connsiteX3" fmla="*/ 39241 w 77405"/>
                <a:gd name="connsiteY3" fmla="*/ 19779 h 515107"/>
                <a:gd name="connsiteX4" fmla="*/ 26604 w 77405"/>
                <a:gd name="connsiteY4" fmla="*/ 31155 h 515107"/>
                <a:gd name="connsiteX5" fmla="*/ 1612 w 77405"/>
                <a:gd name="connsiteY5" fmla="*/ 515107 h 515107"/>
                <a:gd name="connsiteX6" fmla="*/ 9216 w 77405"/>
                <a:gd name="connsiteY6" fmla="*/ 118467 h 515107"/>
                <a:gd name="connsiteX7" fmla="*/ 0 w 77405"/>
                <a:gd name="connsiteY7" fmla="*/ 74240 h 515107"/>
                <a:gd name="connsiteX8" fmla="*/ 13978 w 77405"/>
                <a:gd name="connsiteY8" fmla="*/ 0 h 515107"/>
                <a:gd name="connsiteX0" fmla="*/ 13978 w 77405"/>
                <a:gd name="connsiteY0" fmla="*/ 0 h 118467"/>
                <a:gd name="connsiteX1" fmla="*/ 60326 w 77405"/>
                <a:gd name="connsiteY1" fmla="*/ 7565 h 118467"/>
                <a:gd name="connsiteX2" fmla="*/ 77405 w 77405"/>
                <a:gd name="connsiteY2" fmla="*/ 31749 h 118467"/>
                <a:gd name="connsiteX3" fmla="*/ 39241 w 77405"/>
                <a:gd name="connsiteY3" fmla="*/ 19779 h 118467"/>
                <a:gd name="connsiteX4" fmla="*/ 26604 w 77405"/>
                <a:gd name="connsiteY4" fmla="*/ 31155 h 118467"/>
                <a:gd name="connsiteX5" fmla="*/ 20662 w 77405"/>
                <a:gd name="connsiteY5" fmla="*/ 64257 h 118467"/>
                <a:gd name="connsiteX6" fmla="*/ 9216 w 77405"/>
                <a:gd name="connsiteY6" fmla="*/ 118467 h 118467"/>
                <a:gd name="connsiteX7" fmla="*/ 0 w 77405"/>
                <a:gd name="connsiteY7" fmla="*/ 74240 h 118467"/>
                <a:gd name="connsiteX8" fmla="*/ 13978 w 77405"/>
                <a:gd name="connsiteY8" fmla="*/ 0 h 118467"/>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26604 w 77405"/>
                <a:gd name="connsiteY4" fmla="*/ 26393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39241 w 77405"/>
                <a:gd name="connsiteY3" fmla="*/ 15017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77405"/>
                <a:gd name="connsiteY0" fmla="*/ 0 h 113705"/>
                <a:gd name="connsiteX1" fmla="*/ 60326 w 77405"/>
                <a:gd name="connsiteY1" fmla="*/ 2803 h 113705"/>
                <a:gd name="connsiteX2" fmla="*/ 77405 w 77405"/>
                <a:gd name="connsiteY2" fmla="*/ 26987 h 113705"/>
                <a:gd name="connsiteX3" fmla="*/ 28128 w 77405"/>
                <a:gd name="connsiteY3" fmla="*/ 13429 h 113705"/>
                <a:gd name="connsiteX4" fmla="*/ 13904 w 77405"/>
                <a:gd name="connsiteY4" fmla="*/ 29568 h 113705"/>
                <a:gd name="connsiteX5" fmla="*/ 20662 w 77405"/>
                <a:gd name="connsiteY5" fmla="*/ 59495 h 113705"/>
                <a:gd name="connsiteX6" fmla="*/ 9216 w 77405"/>
                <a:gd name="connsiteY6" fmla="*/ 113705 h 113705"/>
                <a:gd name="connsiteX7" fmla="*/ 0 w 77405"/>
                <a:gd name="connsiteY7" fmla="*/ 69478 h 113705"/>
                <a:gd name="connsiteX8" fmla="*/ 7628 w 77405"/>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20662 w 63117"/>
                <a:gd name="connsiteY5" fmla="*/ 59495 h 113705"/>
                <a:gd name="connsiteX6" fmla="*/ 9216 w 63117"/>
                <a:gd name="connsiteY6" fmla="*/ 113705 h 113705"/>
                <a:gd name="connsiteX7" fmla="*/ 0 w 63117"/>
                <a:gd name="connsiteY7" fmla="*/ 69478 h 113705"/>
                <a:gd name="connsiteX8" fmla="*/ 7628 w 63117"/>
                <a:gd name="connsiteY8" fmla="*/ 0 h 113705"/>
                <a:gd name="connsiteX0" fmla="*/ 7628 w 63117"/>
                <a:gd name="connsiteY0" fmla="*/ 0 h 113705"/>
                <a:gd name="connsiteX1" fmla="*/ 60326 w 63117"/>
                <a:gd name="connsiteY1" fmla="*/ 2803 h 113705"/>
                <a:gd name="connsiteX2" fmla="*/ 63117 w 63117"/>
                <a:gd name="connsiteY2" fmla="*/ 15875 h 113705"/>
                <a:gd name="connsiteX3" fmla="*/ 28128 w 63117"/>
                <a:gd name="connsiteY3" fmla="*/ 13429 h 113705"/>
                <a:gd name="connsiteX4" fmla="*/ 13904 w 63117"/>
                <a:gd name="connsiteY4" fmla="*/ 29568 h 113705"/>
                <a:gd name="connsiteX5" fmla="*/ 31774 w 63117"/>
                <a:gd name="connsiteY5" fmla="*/ 48383 h 113705"/>
                <a:gd name="connsiteX6" fmla="*/ 9216 w 63117"/>
                <a:gd name="connsiteY6" fmla="*/ 113705 h 113705"/>
                <a:gd name="connsiteX7" fmla="*/ 0 w 63117"/>
                <a:gd name="connsiteY7" fmla="*/ 69478 h 113705"/>
                <a:gd name="connsiteX8" fmla="*/ 7628 w 63117"/>
                <a:gd name="connsiteY8" fmla="*/ 0 h 113705"/>
                <a:gd name="connsiteX0" fmla="*/ 0 w 55489"/>
                <a:gd name="connsiteY0" fmla="*/ 0 h 113705"/>
                <a:gd name="connsiteX1" fmla="*/ 52698 w 55489"/>
                <a:gd name="connsiteY1" fmla="*/ 2803 h 113705"/>
                <a:gd name="connsiteX2" fmla="*/ 55489 w 55489"/>
                <a:gd name="connsiteY2" fmla="*/ 15875 h 113705"/>
                <a:gd name="connsiteX3" fmla="*/ 20500 w 55489"/>
                <a:gd name="connsiteY3" fmla="*/ 13429 h 113705"/>
                <a:gd name="connsiteX4" fmla="*/ 6276 w 55489"/>
                <a:gd name="connsiteY4" fmla="*/ 29568 h 113705"/>
                <a:gd name="connsiteX5" fmla="*/ 24146 w 55489"/>
                <a:gd name="connsiteY5" fmla="*/ 48383 h 113705"/>
                <a:gd name="connsiteX6" fmla="*/ 1588 w 55489"/>
                <a:gd name="connsiteY6" fmla="*/ 113705 h 113705"/>
                <a:gd name="connsiteX7" fmla="*/ 6659 w 55489"/>
                <a:gd name="connsiteY7" fmla="*/ 56778 h 113705"/>
                <a:gd name="connsiteX8" fmla="*/ 0 w 55489"/>
                <a:gd name="connsiteY8" fmla="*/ 0 h 113705"/>
                <a:gd name="connsiteX0" fmla="*/ 0 w 55489"/>
                <a:gd name="connsiteY0" fmla="*/ 0 h 74017"/>
                <a:gd name="connsiteX1" fmla="*/ 52698 w 55489"/>
                <a:gd name="connsiteY1" fmla="*/ 2803 h 74017"/>
                <a:gd name="connsiteX2" fmla="*/ 55489 w 55489"/>
                <a:gd name="connsiteY2" fmla="*/ 15875 h 74017"/>
                <a:gd name="connsiteX3" fmla="*/ 20500 w 55489"/>
                <a:gd name="connsiteY3" fmla="*/ 13429 h 74017"/>
                <a:gd name="connsiteX4" fmla="*/ 6276 w 55489"/>
                <a:gd name="connsiteY4" fmla="*/ 29568 h 74017"/>
                <a:gd name="connsiteX5" fmla="*/ 24146 w 55489"/>
                <a:gd name="connsiteY5" fmla="*/ 48383 h 74017"/>
                <a:gd name="connsiteX6" fmla="*/ 30163 w 55489"/>
                <a:gd name="connsiteY6" fmla="*/ 74017 h 74017"/>
                <a:gd name="connsiteX7" fmla="*/ 6659 w 55489"/>
                <a:gd name="connsiteY7" fmla="*/ 56778 h 74017"/>
                <a:gd name="connsiteX8" fmla="*/ 0 w 55489"/>
                <a:gd name="connsiteY8" fmla="*/ 0 h 7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89" h="74017">
                  <a:moveTo>
                    <a:pt x="0" y="0"/>
                  </a:moveTo>
                  <a:lnTo>
                    <a:pt x="52698" y="2803"/>
                  </a:lnTo>
                  <a:lnTo>
                    <a:pt x="55489" y="15875"/>
                  </a:lnTo>
                  <a:lnTo>
                    <a:pt x="20500" y="13429"/>
                  </a:lnTo>
                  <a:lnTo>
                    <a:pt x="6276" y="29568"/>
                  </a:lnTo>
                  <a:lnTo>
                    <a:pt x="24146" y="48383"/>
                  </a:lnTo>
                  <a:lnTo>
                    <a:pt x="30163" y="74017"/>
                  </a:lnTo>
                  <a:lnTo>
                    <a:pt x="6659" y="56778"/>
                  </a:lnTo>
                  <a:lnTo>
                    <a:pt x="0" y="0"/>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4" name="Freeform 520"/>
            <p:cNvSpPr/>
            <p:nvPr/>
          </p:nvSpPr>
          <p:spPr bwMode="auto">
            <a:xfrm>
              <a:off x="6842259" y="2009326"/>
              <a:ext cx="2713969" cy="1473614"/>
            </a:xfrm>
            <a:custGeom>
              <a:avLst/>
              <a:gdLst>
                <a:gd name="connsiteX0" fmla="*/ 1181318 w 2731429"/>
                <a:gd name="connsiteY0" fmla="*/ 103 h 1568340"/>
                <a:gd name="connsiteX1" fmla="*/ 1119876 w 2731429"/>
                <a:gd name="connsiteY1" fmla="*/ 36245 h 1568340"/>
                <a:gd name="connsiteX2" fmla="*/ 1083733 w 2731429"/>
                <a:gd name="connsiteY2" fmla="*/ 94072 h 1568340"/>
                <a:gd name="connsiteX3" fmla="*/ 819895 w 2731429"/>
                <a:gd name="connsiteY3" fmla="*/ 209728 h 1568340"/>
                <a:gd name="connsiteX4" fmla="*/ 566899 w 2731429"/>
                <a:gd name="connsiteY4" fmla="*/ 925345 h 1568340"/>
                <a:gd name="connsiteX5" fmla="*/ 516299 w 2731429"/>
                <a:gd name="connsiteY5" fmla="*/ 932574 h 1568340"/>
                <a:gd name="connsiteX6" fmla="*/ 219933 w 2731429"/>
                <a:gd name="connsiteY6" fmla="*/ 556694 h 1568340"/>
                <a:gd name="connsiteX7" fmla="*/ 3079 w 2731429"/>
                <a:gd name="connsiteY7" fmla="*/ 639821 h 1568340"/>
                <a:gd name="connsiteX8" fmla="*/ 382573 w 2731429"/>
                <a:gd name="connsiteY8" fmla="*/ 1062686 h 1568340"/>
                <a:gd name="connsiteX9" fmla="*/ 491000 w 2731429"/>
                <a:gd name="connsiteY9" fmla="*/ 1232555 h 1568340"/>
                <a:gd name="connsiteX10" fmla="*/ 743996 w 2731429"/>
                <a:gd name="connsiteY10" fmla="*/ 1210869 h 1568340"/>
                <a:gd name="connsiteX11" fmla="*/ 834352 w 2731429"/>
                <a:gd name="connsiteY11" fmla="*/ 965102 h 1568340"/>
                <a:gd name="connsiteX12" fmla="*/ 917479 w 2731429"/>
                <a:gd name="connsiteY12" fmla="*/ 719334 h 1568340"/>
                <a:gd name="connsiteX13" fmla="*/ 769295 w 2731429"/>
                <a:gd name="connsiteY13" fmla="*/ 1503622 h 1568340"/>
                <a:gd name="connsiteX14" fmla="*/ 1799351 w 2731429"/>
                <a:gd name="connsiteY14" fmla="*/ 1510850 h 1568340"/>
                <a:gd name="connsiteX15" fmla="*/ 1770437 w 2731429"/>
                <a:gd name="connsiteY15" fmla="*/ 1402423 h 1568340"/>
                <a:gd name="connsiteX16" fmla="*/ 1763208 w 2731429"/>
                <a:gd name="connsiteY16" fmla="*/ 1102442 h 1568340"/>
                <a:gd name="connsiteX17" fmla="*/ 1774051 w 2731429"/>
                <a:gd name="connsiteY17" fmla="*/ 947031 h 1568340"/>
                <a:gd name="connsiteX18" fmla="*/ 1846336 w 2731429"/>
                <a:gd name="connsiteY18" fmla="*/ 1163884 h 1568340"/>
                <a:gd name="connsiteX19" fmla="*/ 1961991 w 2731429"/>
                <a:gd name="connsiteY19" fmla="*/ 1297611 h 1568340"/>
                <a:gd name="connsiteX20" fmla="*/ 2095718 w 2731429"/>
                <a:gd name="connsiteY20" fmla="*/ 1272311 h 1568340"/>
                <a:gd name="connsiteX21" fmla="*/ 2337871 w 2731429"/>
                <a:gd name="connsiteY21" fmla="*/ 1069914 h 1568340"/>
                <a:gd name="connsiteX22" fmla="*/ 2692065 w 2731429"/>
                <a:gd name="connsiteY22" fmla="*/ 748248 h 1568340"/>
                <a:gd name="connsiteX23" fmla="*/ 2710137 w 2731429"/>
                <a:gd name="connsiteY23" fmla="*/ 661506 h 1568340"/>
                <a:gd name="connsiteX24" fmla="*/ 2580024 w 2731429"/>
                <a:gd name="connsiteY24" fmla="*/ 520552 h 1568340"/>
                <a:gd name="connsiteX25" fmla="*/ 2431841 w 2731429"/>
                <a:gd name="connsiteY25" fmla="*/ 683192 h 1568340"/>
                <a:gd name="connsiteX26" fmla="*/ 2211373 w 2731429"/>
                <a:gd name="connsiteY26" fmla="*/ 802461 h 1568340"/>
                <a:gd name="connsiteX27" fmla="*/ 2070418 w 2731429"/>
                <a:gd name="connsiteY27" fmla="*/ 925345 h 1568340"/>
                <a:gd name="connsiteX28" fmla="*/ 1951148 w 2731429"/>
                <a:gd name="connsiteY28" fmla="*/ 672349 h 1568340"/>
                <a:gd name="connsiteX29" fmla="*/ 1792122 w 2731429"/>
                <a:gd name="connsiteY29" fmla="*/ 343454 h 1568340"/>
                <a:gd name="connsiteX30" fmla="*/ 1777665 w 2731429"/>
                <a:gd name="connsiteY30" fmla="*/ 238642 h 1568340"/>
                <a:gd name="connsiteX31" fmla="*/ 1607797 w 2731429"/>
                <a:gd name="connsiteY31" fmla="*/ 101301 h 1568340"/>
                <a:gd name="connsiteX32" fmla="*/ 1455999 w 2731429"/>
                <a:gd name="connsiteY32" fmla="*/ 47088 h 1568340"/>
                <a:gd name="connsiteX33" fmla="*/ 1315044 w 2731429"/>
                <a:gd name="connsiteY33" fmla="*/ 47088 h 1568340"/>
                <a:gd name="connsiteX34" fmla="*/ 1181318 w 2731429"/>
                <a:gd name="connsiteY34" fmla="*/ 103 h 1568340"/>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15044 w 2731429"/>
                <a:gd name="connsiteY33" fmla="*/ 15612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455999 w 2731429"/>
                <a:gd name="connsiteY32" fmla="*/ 15612 h 1536864"/>
                <a:gd name="connsiteX33" fmla="*/ 1389806 w 2731429"/>
                <a:gd name="connsiteY33" fmla="*/ 285906 h 1536864"/>
                <a:gd name="connsiteX34" fmla="*/ 1215824 w 2731429"/>
                <a:gd name="connsiteY34" fmla="*/ 184287 h 1536864"/>
                <a:gd name="connsiteX0" fmla="*/ 1215824 w 2731429"/>
                <a:gd name="connsiteY0" fmla="*/ 184287 h 1536864"/>
                <a:gd name="connsiteX1" fmla="*/ 1119876 w 2731429"/>
                <a:gd name="connsiteY1" fmla="*/ 4769 h 1536864"/>
                <a:gd name="connsiteX2" fmla="*/ 1083733 w 2731429"/>
                <a:gd name="connsiteY2" fmla="*/ 62596 h 1536864"/>
                <a:gd name="connsiteX3" fmla="*/ 819895 w 2731429"/>
                <a:gd name="connsiteY3" fmla="*/ 178252 h 1536864"/>
                <a:gd name="connsiteX4" fmla="*/ 566899 w 2731429"/>
                <a:gd name="connsiteY4" fmla="*/ 893869 h 1536864"/>
                <a:gd name="connsiteX5" fmla="*/ 516299 w 2731429"/>
                <a:gd name="connsiteY5" fmla="*/ 901098 h 1536864"/>
                <a:gd name="connsiteX6" fmla="*/ 219933 w 2731429"/>
                <a:gd name="connsiteY6" fmla="*/ 525218 h 1536864"/>
                <a:gd name="connsiteX7" fmla="*/ 3079 w 2731429"/>
                <a:gd name="connsiteY7" fmla="*/ 608345 h 1536864"/>
                <a:gd name="connsiteX8" fmla="*/ 382573 w 2731429"/>
                <a:gd name="connsiteY8" fmla="*/ 1031210 h 1536864"/>
                <a:gd name="connsiteX9" fmla="*/ 491000 w 2731429"/>
                <a:gd name="connsiteY9" fmla="*/ 1201079 h 1536864"/>
                <a:gd name="connsiteX10" fmla="*/ 743996 w 2731429"/>
                <a:gd name="connsiteY10" fmla="*/ 1179393 h 1536864"/>
                <a:gd name="connsiteX11" fmla="*/ 834352 w 2731429"/>
                <a:gd name="connsiteY11" fmla="*/ 933626 h 1536864"/>
                <a:gd name="connsiteX12" fmla="*/ 917479 w 2731429"/>
                <a:gd name="connsiteY12" fmla="*/ 687858 h 1536864"/>
                <a:gd name="connsiteX13" fmla="*/ 769295 w 2731429"/>
                <a:gd name="connsiteY13" fmla="*/ 1472146 h 1536864"/>
                <a:gd name="connsiteX14" fmla="*/ 1799351 w 2731429"/>
                <a:gd name="connsiteY14" fmla="*/ 1479374 h 1536864"/>
                <a:gd name="connsiteX15" fmla="*/ 1770437 w 2731429"/>
                <a:gd name="connsiteY15" fmla="*/ 1370947 h 1536864"/>
                <a:gd name="connsiteX16" fmla="*/ 1763208 w 2731429"/>
                <a:gd name="connsiteY16" fmla="*/ 1070966 h 1536864"/>
                <a:gd name="connsiteX17" fmla="*/ 1774051 w 2731429"/>
                <a:gd name="connsiteY17" fmla="*/ 915555 h 1536864"/>
                <a:gd name="connsiteX18" fmla="*/ 1846336 w 2731429"/>
                <a:gd name="connsiteY18" fmla="*/ 1132408 h 1536864"/>
                <a:gd name="connsiteX19" fmla="*/ 1961991 w 2731429"/>
                <a:gd name="connsiteY19" fmla="*/ 1266135 h 1536864"/>
                <a:gd name="connsiteX20" fmla="*/ 2095718 w 2731429"/>
                <a:gd name="connsiteY20" fmla="*/ 1240835 h 1536864"/>
                <a:gd name="connsiteX21" fmla="*/ 2337871 w 2731429"/>
                <a:gd name="connsiteY21" fmla="*/ 1038438 h 1536864"/>
                <a:gd name="connsiteX22" fmla="*/ 2692065 w 2731429"/>
                <a:gd name="connsiteY22" fmla="*/ 716772 h 1536864"/>
                <a:gd name="connsiteX23" fmla="*/ 2710137 w 2731429"/>
                <a:gd name="connsiteY23" fmla="*/ 630030 h 1536864"/>
                <a:gd name="connsiteX24" fmla="*/ 2580024 w 2731429"/>
                <a:gd name="connsiteY24" fmla="*/ 489076 h 1536864"/>
                <a:gd name="connsiteX25" fmla="*/ 2431841 w 2731429"/>
                <a:gd name="connsiteY25" fmla="*/ 651716 h 1536864"/>
                <a:gd name="connsiteX26" fmla="*/ 2211373 w 2731429"/>
                <a:gd name="connsiteY26" fmla="*/ 770985 h 1536864"/>
                <a:gd name="connsiteX27" fmla="*/ 2070418 w 2731429"/>
                <a:gd name="connsiteY27" fmla="*/ 893869 h 1536864"/>
                <a:gd name="connsiteX28" fmla="*/ 1951148 w 2731429"/>
                <a:gd name="connsiteY28" fmla="*/ 640873 h 1536864"/>
                <a:gd name="connsiteX29" fmla="*/ 1792122 w 2731429"/>
                <a:gd name="connsiteY29" fmla="*/ 311978 h 1536864"/>
                <a:gd name="connsiteX30" fmla="*/ 1777665 w 2731429"/>
                <a:gd name="connsiteY30" fmla="*/ 207166 h 1536864"/>
                <a:gd name="connsiteX31" fmla="*/ 1607797 w 2731429"/>
                <a:gd name="connsiteY31" fmla="*/ 69825 h 1536864"/>
                <a:gd name="connsiteX32" fmla="*/ 1527886 w 2731429"/>
                <a:gd name="connsiteY32" fmla="*/ 323287 h 1536864"/>
                <a:gd name="connsiteX33" fmla="*/ 1389806 w 2731429"/>
                <a:gd name="connsiteY33" fmla="*/ 285906 h 1536864"/>
                <a:gd name="connsiteX34" fmla="*/ 1215824 w 2731429"/>
                <a:gd name="connsiteY34" fmla="*/ 184287 h 1536864"/>
                <a:gd name="connsiteX0" fmla="*/ 1215824 w 2731429"/>
                <a:gd name="connsiteY0" fmla="*/ 197931 h 1550508"/>
                <a:gd name="connsiteX1" fmla="*/ 1203265 w 2731429"/>
                <a:gd name="connsiteY1" fmla="*/ 4035 h 1550508"/>
                <a:gd name="connsiteX2" fmla="*/ 1083733 w 2731429"/>
                <a:gd name="connsiteY2" fmla="*/ 76240 h 1550508"/>
                <a:gd name="connsiteX3" fmla="*/ 819895 w 2731429"/>
                <a:gd name="connsiteY3" fmla="*/ 191896 h 1550508"/>
                <a:gd name="connsiteX4" fmla="*/ 566899 w 2731429"/>
                <a:gd name="connsiteY4" fmla="*/ 907513 h 1550508"/>
                <a:gd name="connsiteX5" fmla="*/ 516299 w 2731429"/>
                <a:gd name="connsiteY5" fmla="*/ 914742 h 1550508"/>
                <a:gd name="connsiteX6" fmla="*/ 219933 w 2731429"/>
                <a:gd name="connsiteY6" fmla="*/ 538862 h 1550508"/>
                <a:gd name="connsiteX7" fmla="*/ 3079 w 2731429"/>
                <a:gd name="connsiteY7" fmla="*/ 621989 h 1550508"/>
                <a:gd name="connsiteX8" fmla="*/ 382573 w 2731429"/>
                <a:gd name="connsiteY8" fmla="*/ 1044854 h 1550508"/>
                <a:gd name="connsiteX9" fmla="*/ 491000 w 2731429"/>
                <a:gd name="connsiteY9" fmla="*/ 1214723 h 1550508"/>
                <a:gd name="connsiteX10" fmla="*/ 743996 w 2731429"/>
                <a:gd name="connsiteY10" fmla="*/ 1193037 h 1550508"/>
                <a:gd name="connsiteX11" fmla="*/ 834352 w 2731429"/>
                <a:gd name="connsiteY11" fmla="*/ 947270 h 1550508"/>
                <a:gd name="connsiteX12" fmla="*/ 917479 w 2731429"/>
                <a:gd name="connsiteY12" fmla="*/ 701502 h 1550508"/>
                <a:gd name="connsiteX13" fmla="*/ 769295 w 2731429"/>
                <a:gd name="connsiteY13" fmla="*/ 1485790 h 1550508"/>
                <a:gd name="connsiteX14" fmla="*/ 1799351 w 2731429"/>
                <a:gd name="connsiteY14" fmla="*/ 1493018 h 1550508"/>
                <a:gd name="connsiteX15" fmla="*/ 1770437 w 2731429"/>
                <a:gd name="connsiteY15" fmla="*/ 1384591 h 1550508"/>
                <a:gd name="connsiteX16" fmla="*/ 1763208 w 2731429"/>
                <a:gd name="connsiteY16" fmla="*/ 1084610 h 1550508"/>
                <a:gd name="connsiteX17" fmla="*/ 1774051 w 2731429"/>
                <a:gd name="connsiteY17" fmla="*/ 929199 h 1550508"/>
                <a:gd name="connsiteX18" fmla="*/ 1846336 w 2731429"/>
                <a:gd name="connsiteY18" fmla="*/ 1146052 h 1550508"/>
                <a:gd name="connsiteX19" fmla="*/ 1961991 w 2731429"/>
                <a:gd name="connsiteY19" fmla="*/ 1279779 h 1550508"/>
                <a:gd name="connsiteX20" fmla="*/ 2095718 w 2731429"/>
                <a:gd name="connsiteY20" fmla="*/ 1254479 h 1550508"/>
                <a:gd name="connsiteX21" fmla="*/ 2337871 w 2731429"/>
                <a:gd name="connsiteY21" fmla="*/ 1052082 h 1550508"/>
                <a:gd name="connsiteX22" fmla="*/ 2692065 w 2731429"/>
                <a:gd name="connsiteY22" fmla="*/ 730416 h 1550508"/>
                <a:gd name="connsiteX23" fmla="*/ 2710137 w 2731429"/>
                <a:gd name="connsiteY23" fmla="*/ 643674 h 1550508"/>
                <a:gd name="connsiteX24" fmla="*/ 2580024 w 2731429"/>
                <a:gd name="connsiteY24" fmla="*/ 502720 h 1550508"/>
                <a:gd name="connsiteX25" fmla="*/ 2431841 w 2731429"/>
                <a:gd name="connsiteY25" fmla="*/ 665360 h 1550508"/>
                <a:gd name="connsiteX26" fmla="*/ 2211373 w 2731429"/>
                <a:gd name="connsiteY26" fmla="*/ 784629 h 1550508"/>
                <a:gd name="connsiteX27" fmla="*/ 2070418 w 2731429"/>
                <a:gd name="connsiteY27" fmla="*/ 907513 h 1550508"/>
                <a:gd name="connsiteX28" fmla="*/ 1951148 w 2731429"/>
                <a:gd name="connsiteY28" fmla="*/ 654517 h 1550508"/>
                <a:gd name="connsiteX29" fmla="*/ 1792122 w 2731429"/>
                <a:gd name="connsiteY29" fmla="*/ 325622 h 1550508"/>
                <a:gd name="connsiteX30" fmla="*/ 1777665 w 2731429"/>
                <a:gd name="connsiteY30" fmla="*/ 220810 h 1550508"/>
                <a:gd name="connsiteX31" fmla="*/ 1607797 w 2731429"/>
                <a:gd name="connsiteY31" fmla="*/ 83469 h 1550508"/>
                <a:gd name="connsiteX32" fmla="*/ 1527886 w 2731429"/>
                <a:gd name="connsiteY32" fmla="*/ 336931 h 1550508"/>
                <a:gd name="connsiteX33" fmla="*/ 1389806 w 2731429"/>
                <a:gd name="connsiteY33" fmla="*/ 299550 h 1550508"/>
                <a:gd name="connsiteX34" fmla="*/ 1215824 w 2731429"/>
                <a:gd name="connsiteY34" fmla="*/ 197931 h 1550508"/>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389806 w 2731429"/>
                <a:gd name="connsiteY33" fmla="*/ 295885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7886 w 2731429"/>
                <a:gd name="connsiteY32" fmla="*/ 33326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07797 w 2731429"/>
                <a:gd name="connsiteY31" fmla="*/ 79804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77665 w 2731429"/>
                <a:gd name="connsiteY30" fmla="*/ 217145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792122 w 2731429"/>
                <a:gd name="connsiteY29" fmla="*/ 321957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51148 w 2731429"/>
                <a:gd name="connsiteY28" fmla="*/ 650852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70418 w 2731429"/>
                <a:gd name="connsiteY27" fmla="*/ 903848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11373 w 2731429"/>
                <a:gd name="connsiteY26" fmla="*/ 780964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431841 w 2731429"/>
                <a:gd name="connsiteY25" fmla="*/ 661695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31429"/>
                <a:gd name="connsiteY0" fmla="*/ 102251 h 1546843"/>
                <a:gd name="connsiteX1" fmla="*/ 1203265 w 2731429"/>
                <a:gd name="connsiteY1" fmla="*/ 370 h 1546843"/>
                <a:gd name="connsiteX2" fmla="*/ 1083733 w 2731429"/>
                <a:gd name="connsiteY2" fmla="*/ 72575 h 1546843"/>
                <a:gd name="connsiteX3" fmla="*/ 819895 w 2731429"/>
                <a:gd name="connsiteY3" fmla="*/ 188231 h 1546843"/>
                <a:gd name="connsiteX4" fmla="*/ 566899 w 2731429"/>
                <a:gd name="connsiteY4" fmla="*/ 903848 h 1546843"/>
                <a:gd name="connsiteX5" fmla="*/ 516299 w 2731429"/>
                <a:gd name="connsiteY5" fmla="*/ 911077 h 1546843"/>
                <a:gd name="connsiteX6" fmla="*/ 219933 w 2731429"/>
                <a:gd name="connsiteY6" fmla="*/ 535197 h 1546843"/>
                <a:gd name="connsiteX7" fmla="*/ 3079 w 2731429"/>
                <a:gd name="connsiteY7" fmla="*/ 618324 h 1546843"/>
                <a:gd name="connsiteX8" fmla="*/ 382573 w 2731429"/>
                <a:gd name="connsiteY8" fmla="*/ 1041189 h 1546843"/>
                <a:gd name="connsiteX9" fmla="*/ 491000 w 2731429"/>
                <a:gd name="connsiteY9" fmla="*/ 1211058 h 1546843"/>
                <a:gd name="connsiteX10" fmla="*/ 743996 w 2731429"/>
                <a:gd name="connsiteY10" fmla="*/ 1189372 h 1546843"/>
                <a:gd name="connsiteX11" fmla="*/ 834352 w 2731429"/>
                <a:gd name="connsiteY11" fmla="*/ 943605 h 1546843"/>
                <a:gd name="connsiteX12" fmla="*/ 917479 w 2731429"/>
                <a:gd name="connsiteY12" fmla="*/ 697837 h 1546843"/>
                <a:gd name="connsiteX13" fmla="*/ 769295 w 2731429"/>
                <a:gd name="connsiteY13" fmla="*/ 1482125 h 1546843"/>
                <a:gd name="connsiteX14" fmla="*/ 1799351 w 2731429"/>
                <a:gd name="connsiteY14" fmla="*/ 1489353 h 1546843"/>
                <a:gd name="connsiteX15" fmla="*/ 1770437 w 2731429"/>
                <a:gd name="connsiteY15" fmla="*/ 1380926 h 1546843"/>
                <a:gd name="connsiteX16" fmla="*/ 1763208 w 2731429"/>
                <a:gd name="connsiteY16" fmla="*/ 1080945 h 1546843"/>
                <a:gd name="connsiteX17" fmla="*/ 1774051 w 2731429"/>
                <a:gd name="connsiteY17" fmla="*/ 925534 h 1546843"/>
                <a:gd name="connsiteX18" fmla="*/ 1846336 w 2731429"/>
                <a:gd name="connsiteY18" fmla="*/ 1142387 h 1546843"/>
                <a:gd name="connsiteX19" fmla="*/ 1961991 w 2731429"/>
                <a:gd name="connsiteY19" fmla="*/ 1276114 h 1546843"/>
                <a:gd name="connsiteX20" fmla="*/ 2095718 w 2731429"/>
                <a:gd name="connsiteY20" fmla="*/ 1250814 h 1546843"/>
                <a:gd name="connsiteX21" fmla="*/ 2337871 w 2731429"/>
                <a:gd name="connsiteY21" fmla="*/ 1048417 h 1546843"/>
                <a:gd name="connsiteX22" fmla="*/ 2692065 w 2731429"/>
                <a:gd name="connsiteY22" fmla="*/ 726751 h 1546843"/>
                <a:gd name="connsiteX23" fmla="*/ 2710137 w 2731429"/>
                <a:gd name="connsiteY23" fmla="*/ 640009 h 1546843"/>
                <a:gd name="connsiteX24" fmla="*/ 2580024 w 2731429"/>
                <a:gd name="connsiteY24" fmla="*/ 499055 h 1546843"/>
                <a:gd name="connsiteX25" fmla="*/ 2569864 w 2731429"/>
                <a:gd name="connsiteY25" fmla="*/ 569680 h 1546843"/>
                <a:gd name="connsiteX26" fmla="*/ 2240128 w 2731429"/>
                <a:gd name="connsiteY26" fmla="*/ 815469 h 1546843"/>
                <a:gd name="connsiteX27" fmla="*/ 2081920 w 2731429"/>
                <a:gd name="connsiteY27" fmla="*/ 926852 h 1546843"/>
                <a:gd name="connsiteX28" fmla="*/ 1988529 w 2731429"/>
                <a:gd name="connsiteY28" fmla="*/ 765870 h 1546843"/>
                <a:gd name="connsiteX29" fmla="*/ 1858258 w 2731429"/>
                <a:gd name="connsiteY29" fmla="*/ 503111 h 1546843"/>
                <a:gd name="connsiteX30" fmla="*/ 1731657 w 2731429"/>
                <a:gd name="connsiteY30" fmla="*/ 211394 h 1546843"/>
                <a:gd name="connsiteX31" fmla="*/ 1630800 w 2731429"/>
                <a:gd name="connsiteY31" fmla="*/ 140189 h 1546843"/>
                <a:gd name="connsiteX32" fmla="*/ 1525011 w 2731429"/>
                <a:gd name="connsiteY32" fmla="*/ 91726 h 1546843"/>
                <a:gd name="connsiteX33" fmla="*/ 1415685 w 2731429"/>
                <a:gd name="connsiteY33" fmla="*/ 31342 h 1546843"/>
                <a:gd name="connsiteX34" fmla="*/ 1313590 w 2731429"/>
                <a:gd name="connsiteY34" fmla="*/ 102251 h 1546843"/>
                <a:gd name="connsiteX0" fmla="*/ 1313590 w 2728444"/>
                <a:gd name="connsiteY0" fmla="*/ 102251 h 1546843"/>
                <a:gd name="connsiteX1" fmla="*/ 1203265 w 2728444"/>
                <a:gd name="connsiteY1" fmla="*/ 370 h 1546843"/>
                <a:gd name="connsiteX2" fmla="*/ 1083733 w 2728444"/>
                <a:gd name="connsiteY2" fmla="*/ 72575 h 1546843"/>
                <a:gd name="connsiteX3" fmla="*/ 819895 w 2728444"/>
                <a:gd name="connsiteY3" fmla="*/ 188231 h 1546843"/>
                <a:gd name="connsiteX4" fmla="*/ 566899 w 2728444"/>
                <a:gd name="connsiteY4" fmla="*/ 903848 h 1546843"/>
                <a:gd name="connsiteX5" fmla="*/ 516299 w 2728444"/>
                <a:gd name="connsiteY5" fmla="*/ 911077 h 1546843"/>
                <a:gd name="connsiteX6" fmla="*/ 219933 w 2728444"/>
                <a:gd name="connsiteY6" fmla="*/ 535197 h 1546843"/>
                <a:gd name="connsiteX7" fmla="*/ 3079 w 2728444"/>
                <a:gd name="connsiteY7" fmla="*/ 618324 h 1546843"/>
                <a:gd name="connsiteX8" fmla="*/ 382573 w 2728444"/>
                <a:gd name="connsiteY8" fmla="*/ 1041189 h 1546843"/>
                <a:gd name="connsiteX9" fmla="*/ 491000 w 2728444"/>
                <a:gd name="connsiteY9" fmla="*/ 1211058 h 1546843"/>
                <a:gd name="connsiteX10" fmla="*/ 743996 w 2728444"/>
                <a:gd name="connsiteY10" fmla="*/ 1189372 h 1546843"/>
                <a:gd name="connsiteX11" fmla="*/ 834352 w 2728444"/>
                <a:gd name="connsiteY11" fmla="*/ 943605 h 1546843"/>
                <a:gd name="connsiteX12" fmla="*/ 917479 w 2728444"/>
                <a:gd name="connsiteY12" fmla="*/ 697837 h 1546843"/>
                <a:gd name="connsiteX13" fmla="*/ 769295 w 2728444"/>
                <a:gd name="connsiteY13" fmla="*/ 1482125 h 1546843"/>
                <a:gd name="connsiteX14" fmla="*/ 1799351 w 2728444"/>
                <a:gd name="connsiteY14" fmla="*/ 1489353 h 1546843"/>
                <a:gd name="connsiteX15" fmla="*/ 1770437 w 2728444"/>
                <a:gd name="connsiteY15" fmla="*/ 1380926 h 1546843"/>
                <a:gd name="connsiteX16" fmla="*/ 1763208 w 2728444"/>
                <a:gd name="connsiteY16" fmla="*/ 1080945 h 1546843"/>
                <a:gd name="connsiteX17" fmla="*/ 1774051 w 2728444"/>
                <a:gd name="connsiteY17" fmla="*/ 925534 h 1546843"/>
                <a:gd name="connsiteX18" fmla="*/ 1846336 w 2728444"/>
                <a:gd name="connsiteY18" fmla="*/ 1142387 h 1546843"/>
                <a:gd name="connsiteX19" fmla="*/ 1961991 w 2728444"/>
                <a:gd name="connsiteY19" fmla="*/ 1276114 h 1546843"/>
                <a:gd name="connsiteX20" fmla="*/ 2095718 w 2728444"/>
                <a:gd name="connsiteY20" fmla="*/ 1250814 h 1546843"/>
                <a:gd name="connsiteX21" fmla="*/ 2337871 w 2728444"/>
                <a:gd name="connsiteY21" fmla="*/ 1048417 h 1546843"/>
                <a:gd name="connsiteX22" fmla="*/ 2692065 w 2728444"/>
                <a:gd name="connsiteY22" fmla="*/ 726751 h 1546843"/>
                <a:gd name="connsiteX23" fmla="*/ 2710137 w 2728444"/>
                <a:gd name="connsiteY23" fmla="*/ 640009 h 1546843"/>
                <a:gd name="connsiteX24" fmla="*/ 2631782 w 2728444"/>
                <a:gd name="connsiteY24" fmla="*/ 628451 h 1546843"/>
                <a:gd name="connsiteX25" fmla="*/ 2569864 w 2728444"/>
                <a:gd name="connsiteY25" fmla="*/ 569680 h 1546843"/>
                <a:gd name="connsiteX26" fmla="*/ 2240128 w 2728444"/>
                <a:gd name="connsiteY26" fmla="*/ 815469 h 1546843"/>
                <a:gd name="connsiteX27" fmla="*/ 2081920 w 2728444"/>
                <a:gd name="connsiteY27" fmla="*/ 926852 h 1546843"/>
                <a:gd name="connsiteX28" fmla="*/ 1988529 w 2728444"/>
                <a:gd name="connsiteY28" fmla="*/ 765870 h 1546843"/>
                <a:gd name="connsiteX29" fmla="*/ 1858258 w 2728444"/>
                <a:gd name="connsiteY29" fmla="*/ 503111 h 1546843"/>
                <a:gd name="connsiteX30" fmla="*/ 1731657 w 2728444"/>
                <a:gd name="connsiteY30" fmla="*/ 211394 h 1546843"/>
                <a:gd name="connsiteX31" fmla="*/ 1630800 w 2728444"/>
                <a:gd name="connsiteY31" fmla="*/ 140189 h 1546843"/>
                <a:gd name="connsiteX32" fmla="*/ 1525011 w 2728444"/>
                <a:gd name="connsiteY32" fmla="*/ 91726 h 1546843"/>
                <a:gd name="connsiteX33" fmla="*/ 1415685 w 2728444"/>
                <a:gd name="connsiteY33" fmla="*/ 31342 h 1546843"/>
                <a:gd name="connsiteX34" fmla="*/ 1313590 w 2728444"/>
                <a:gd name="connsiteY34" fmla="*/ 102251 h 1546843"/>
                <a:gd name="connsiteX0" fmla="*/ 1313590 w 2706595"/>
                <a:gd name="connsiteY0" fmla="*/ 102251 h 1546843"/>
                <a:gd name="connsiteX1" fmla="*/ 1203265 w 2706595"/>
                <a:gd name="connsiteY1" fmla="*/ 370 h 1546843"/>
                <a:gd name="connsiteX2" fmla="*/ 1083733 w 2706595"/>
                <a:gd name="connsiteY2" fmla="*/ 72575 h 1546843"/>
                <a:gd name="connsiteX3" fmla="*/ 819895 w 2706595"/>
                <a:gd name="connsiteY3" fmla="*/ 188231 h 1546843"/>
                <a:gd name="connsiteX4" fmla="*/ 566899 w 2706595"/>
                <a:gd name="connsiteY4" fmla="*/ 903848 h 1546843"/>
                <a:gd name="connsiteX5" fmla="*/ 516299 w 2706595"/>
                <a:gd name="connsiteY5" fmla="*/ 911077 h 1546843"/>
                <a:gd name="connsiteX6" fmla="*/ 219933 w 2706595"/>
                <a:gd name="connsiteY6" fmla="*/ 535197 h 1546843"/>
                <a:gd name="connsiteX7" fmla="*/ 3079 w 2706595"/>
                <a:gd name="connsiteY7" fmla="*/ 618324 h 1546843"/>
                <a:gd name="connsiteX8" fmla="*/ 382573 w 2706595"/>
                <a:gd name="connsiteY8" fmla="*/ 1041189 h 1546843"/>
                <a:gd name="connsiteX9" fmla="*/ 491000 w 2706595"/>
                <a:gd name="connsiteY9" fmla="*/ 1211058 h 1546843"/>
                <a:gd name="connsiteX10" fmla="*/ 743996 w 2706595"/>
                <a:gd name="connsiteY10" fmla="*/ 1189372 h 1546843"/>
                <a:gd name="connsiteX11" fmla="*/ 834352 w 2706595"/>
                <a:gd name="connsiteY11" fmla="*/ 943605 h 1546843"/>
                <a:gd name="connsiteX12" fmla="*/ 917479 w 2706595"/>
                <a:gd name="connsiteY12" fmla="*/ 697837 h 1546843"/>
                <a:gd name="connsiteX13" fmla="*/ 769295 w 2706595"/>
                <a:gd name="connsiteY13" fmla="*/ 1482125 h 1546843"/>
                <a:gd name="connsiteX14" fmla="*/ 1799351 w 2706595"/>
                <a:gd name="connsiteY14" fmla="*/ 1489353 h 1546843"/>
                <a:gd name="connsiteX15" fmla="*/ 1770437 w 2706595"/>
                <a:gd name="connsiteY15" fmla="*/ 1380926 h 1546843"/>
                <a:gd name="connsiteX16" fmla="*/ 1763208 w 2706595"/>
                <a:gd name="connsiteY16" fmla="*/ 1080945 h 1546843"/>
                <a:gd name="connsiteX17" fmla="*/ 1774051 w 2706595"/>
                <a:gd name="connsiteY17" fmla="*/ 925534 h 1546843"/>
                <a:gd name="connsiteX18" fmla="*/ 1846336 w 2706595"/>
                <a:gd name="connsiteY18" fmla="*/ 1142387 h 1546843"/>
                <a:gd name="connsiteX19" fmla="*/ 1961991 w 2706595"/>
                <a:gd name="connsiteY19" fmla="*/ 1276114 h 1546843"/>
                <a:gd name="connsiteX20" fmla="*/ 2095718 w 2706595"/>
                <a:gd name="connsiteY20" fmla="*/ 1250814 h 1546843"/>
                <a:gd name="connsiteX21" fmla="*/ 2337871 w 2706595"/>
                <a:gd name="connsiteY21" fmla="*/ 1048417 h 1546843"/>
                <a:gd name="connsiteX22" fmla="*/ 2692065 w 2706595"/>
                <a:gd name="connsiteY22" fmla="*/ 726751 h 1546843"/>
                <a:gd name="connsiteX23" fmla="*/ 2631782 w 2706595"/>
                <a:gd name="connsiteY23" fmla="*/ 628451 h 1546843"/>
                <a:gd name="connsiteX24" fmla="*/ 2569864 w 2706595"/>
                <a:gd name="connsiteY24" fmla="*/ 569680 h 1546843"/>
                <a:gd name="connsiteX25" fmla="*/ 2240128 w 2706595"/>
                <a:gd name="connsiteY25" fmla="*/ 815469 h 1546843"/>
                <a:gd name="connsiteX26" fmla="*/ 2081920 w 2706595"/>
                <a:gd name="connsiteY26" fmla="*/ 926852 h 1546843"/>
                <a:gd name="connsiteX27" fmla="*/ 1988529 w 2706595"/>
                <a:gd name="connsiteY27" fmla="*/ 765870 h 1546843"/>
                <a:gd name="connsiteX28" fmla="*/ 1858258 w 2706595"/>
                <a:gd name="connsiteY28" fmla="*/ 503111 h 1546843"/>
                <a:gd name="connsiteX29" fmla="*/ 1731657 w 2706595"/>
                <a:gd name="connsiteY29" fmla="*/ 211394 h 1546843"/>
                <a:gd name="connsiteX30" fmla="*/ 1630800 w 2706595"/>
                <a:gd name="connsiteY30" fmla="*/ 140189 h 1546843"/>
                <a:gd name="connsiteX31" fmla="*/ 1525011 w 2706595"/>
                <a:gd name="connsiteY31" fmla="*/ 91726 h 1546843"/>
                <a:gd name="connsiteX32" fmla="*/ 1415685 w 2706595"/>
                <a:gd name="connsiteY32" fmla="*/ 31342 h 1546843"/>
                <a:gd name="connsiteX33" fmla="*/ 1313590 w 2706595"/>
                <a:gd name="connsiteY33" fmla="*/ 102251 h 1546843"/>
                <a:gd name="connsiteX0" fmla="*/ 1313590 w 2731654"/>
                <a:gd name="connsiteY0" fmla="*/ 102251 h 1546843"/>
                <a:gd name="connsiteX1" fmla="*/ 1203265 w 2731654"/>
                <a:gd name="connsiteY1" fmla="*/ 370 h 1546843"/>
                <a:gd name="connsiteX2" fmla="*/ 1083733 w 2731654"/>
                <a:gd name="connsiteY2" fmla="*/ 72575 h 1546843"/>
                <a:gd name="connsiteX3" fmla="*/ 819895 w 2731654"/>
                <a:gd name="connsiteY3" fmla="*/ 188231 h 1546843"/>
                <a:gd name="connsiteX4" fmla="*/ 566899 w 2731654"/>
                <a:gd name="connsiteY4" fmla="*/ 903848 h 1546843"/>
                <a:gd name="connsiteX5" fmla="*/ 516299 w 2731654"/>
                <a:gd name="connsiteY5" fmla="*/ 911077 h 1546843"/>
                <a:gd name="connsiteX6" fmla="*/ 219933 w 2731654"/>
                <a:gd name="connsiteY6" fmla="*/ 535197 h 1546843"/>
                <a:gd name="connsiteX7" fmla="*/ 3079 w 2731654"/>
                <a:gd name="connsiteY7" fmla="*/ 618324 h 1546843"/>
                <a:gd name="connsiteX8" fmla="*/ 382573 w 2731654"/>
                <a:gd name="connsiteY8" fmla="*/ 1041189 h 1546843"/>
                <a:gd name="connsiteX9" fmla="*/ 491000 w 2731654"/>
                <a:gd name="connsiteY9" fmla="*/ 1211058 h 1546843"/>
                <a:gd name="connsiteX10" fmla="*/ 743996 w 2731654"/>
                <a:gd name="connsiteY10" fmla="*/ 1189372 h 1546843"/>
                <a:gd name="connsiteX11" fmla="*/ 834352 w 2731654"/>
                <a:gd name="connsiteY11" fmla="*/ 943605 h 1546843"/>
                <a:gd name="connsiteX12" fmla="*/ 917479 w 2731654"/>
                <a:gd name="connsiteY12" fmla="*/ 697837 h 1546843"/>
                <a:gd name="connsiteX13" fmla="*/ 769295 w 2731654"/>
                <a:gd name="connsiteY13" fmla="*/ 1482125 h 1546843"/>
                <a:gd name="connsiteX14" fmla="*/ 1799351 w 2731654"/>
                <a:gd name="connsiteY14" fmla="*/ 1489353 h 1546843"/>
                <a:gd name="connsiteX15" fmla="*/ 1770437 w 2731654"/>
                <a:gd name="connsiteY15" fmla="*/ 1380926 h 1546843"/>
                <a:gd name="connsiteX16" fmla="*/ 1763208 w 2731654"/>
                <a:gd name="connsiteY16" fmla="*/ 1080945 h 1546843"/>
                <a:gd name="connsiteX17" fmla="*/ 1774051 w 2731654"/>
                <a:gd name="connsiteY17" fmla="*/ 925534 h 1546843"/>
                <a:gd name="connsiteX18" fmla="*/ 1846336 w 2731654"/>
                <a:gd name="connsiteY18" fmla="*/ 1142387 h 1546843"/>
                <a:gd name="connsiteX19" fmla="*/ 1961991 w 2731654"/>
                <a:gd name="connsiteY19" fmla="*/ 1276114 h 1546843"/>
                <a:gd name="connsiteX20" fmla="*/ 2095718 w 2731654"/>
                <a:gd name="connsiteY20" fmla="*/ 1250814 h 1546843"/>
                <a:gd name="connsiteX21" fmla="*/ 2337871 w 2731654"/>
                <a:gd name="connsiteY21" fmla="*/ 1048417 h 1546843"/>
                <a:gd name="connsiteX22" fmla="*/ 2692065 w 2731654"/>
                <a:gd name="connsiteY22" fmla="*/ 726751 h 1546843"/>
                <a:gd name="connsiteX23" fmla="*/ 2709419 w 2731654"/>
                <a:gd name="connsiteY23" fmla="*/ 688836 h 1546843"/>
                <a:gd name="connsiteX24" fmla="*/ 2569864 w 2731654"/>
                <a:gd name="connsiteY24" fmla="*/ 569680 h 1546843"/>
                <a:gd name="connsiteX25" fmla="*/ 2240128 w 2731654"/>
                <a:gd name="connsiteY25" fmla="*/ 815469 h 1546843"/>
                <a:gd name="connsiteX26" fmla="*/ 2081920 w 2731654"/>
                <a:gd name="connsiteY26" fmla="*/ 926852 h 1546843"/>
                <a:gd name="connsiteX27" fmla="*/ 1988529 w 2731654"/>
                <a:gd name="connsiteY27" fmla="*/ 765870 h 1546843"/>
                <a:gd name="connsiteX28" fmla="*/ 1858258 w 2731654"/>
                <a:gd name="connsiteY28" fmla="*/ 503111 h 1546843"/>
                <a:gd name="connsiteX29" fmla="*/ 1731657 w 2731654"/>
                <a:gd name="connsiteY29" fmla="*/ 211394 h 1546843"/>
                <a:gd name="connsiteX30" fmla="*/ 1630800 w 2731654"/>
                <a:gd name="connsiteY30" fmla="*/ 140189 h 1546843"/>
                <a:gd name="connsiteX31" fmla="*/ 1525011 w 2731654"/>
                <a:gd name="connsiteY31" fmla="*/ 91726 h 1546843"/>
                <a:gd name="connsiteX32" fmla="*/ 1415685 w 2731654"/>
                <a:gd name="connsiteY32" fmla="*/ 31342 h 1546843"/>
                <a:gd name="connsiteX33" fmla="*/ 1313590 w 2731654"/>
                <a:gd name="connsiteY33" fmla="*/ 102251 h 1546843"/>
                <a:gd name="connsiteX0" fmla="*/ 1313590 w 2734839"/>
                <a:gd name="connsiteY0" fmla="*/ 102251 h 1546843"/>
                <a:gd name="connsiteX1" fmla="*/ 1203265 w 2734839"/>
                <a:gd name="connsiteY1" fmla="*/ 370 h 1546843"/>
                <a:gd name="connsiteX2" fmla="*/ 1083733 w 2734839"/>
                <a:gd name="connsiteY2" fmla="*/ 72575 h 1546843"/>
                <a:gd name="connsiteX3" fmla="*/ 819895 w 2734839"/>
                <a:gd name="connsiteY3" fmla="*/ 188231 h 1546843"/>
                <a:gd name="connsiteX4" fmla="*/ 566899 w 2734839"/>
                <a:gd name="connsiteY4" fmla="*/ 903848 h 1546843"/>
                <a:gd name="connsiteX5" fmla="*/ 516299 w 2734839"/>
                <a:gd name="connsiteY5" fmla="*/ 911077 h 1546843"/>
                <a:gd name="connsiteX6" fmla="*/ 219933 w 2734839"/>
                <a:gd name="connsiteY6" fmla="*/ 535197 h 1546843"/>
                <a:gd name="connsiteX7" fmla="*/ 3079 w 2734839"/>
                <a:gd name="connsiteY7" fmla="*/ 618324 h 1546843"/>
                <a:gd name="connsiteX8" fmla="*/ 382573 w 2734839"/>
                <a:gd name="connsiteY8" fmla="*/ 1041189 h 1546843"/>
                <a:gd name="connsiteX9" fmla="*/ 491000 w 2734839"/>
                <a:gd name="connsiteY9" fmla="*/ 1211058 h 1546843"/>
                <a:gd name="connsiteX10" fmla="*/ 743996 w 2734839"/>
                <a:gd name="connsiteY10" fmla="*/ 1189372 h 1546843"/>
                <a:gd name="connsiteX11" fmla="*/ 834352 w 2734839"/>
                <a:gd name="connsiteY11" fmla="*/ 943605 h 1546843"/>
                <a:gd name="connsiteX12" fmla="*/ 917479 w 2734839"/>
                <a:gd name="connsiteY12" fmla="*/ 697837 h 1546843"/>
                <a:gd name="connsiteX13" fmla="*/ 769295 w 2734839"/>
                <a:gd name="connsiteY13" fmla="*/ 1482125 h 1546843"/>
                <a:gd name="connsiteX14" fmla="*/ 1799351 w 2734839"/>
                <a:gd name="connsiteY14" fmla="*/ 1489353 h 1546843"/>
                <a:gd name="connsiteX15" fmla="*/ 1770437 w 2734839"/>
                <a:gd name="connsiteY15" fmla="*/ 1380926 h 1546843"/>
                <a:gd name="connsiteX16" fmla="*/ 1763208 w 2734839"/>
                <a:gd name="connsiteY16" fmla="*/ 1080945 h 1546843"/>
                <a:gd name="connsiteX17" fmla="*/ 1774051 w 2734839"/>
                <a:gd name="connsiteY17" fmla="*/ 925534 h 1546843"/>
                <a:gd name="connsiteX18" fmla="*/ 1846336 w 2734839"/>
                <a:gd name="connsiteY18" fmla="*/ 1142387 h 1546843"/>
                <a:gd name="connsiteX19" fmla="*/ 1961991 w 2734839"/>
                <a:gd name="connsiteY19" fmla="*/ 1276114 h 1546843"/>
                <a:gd name="connsiteX20" fmla="*/ 2095718 w 2734839"/>
                <a:gd name="connsiteY20" fmla="*/ 1250814 h 1546843"/>
                <a:gd name="connsiteX21" fmla="*/ 2337871 w 2734839"/>
                <a:gd name="connsiteY21" fmla="*/ 1048417 h 1546843"/>
                <a:gd name="connsiteX22" fmla="*/ 2692065 w 2734839"/>
                <a:gd name="connsiteY22" fmla="*/ 726751 h 1546843"/>
                <a:gd name="connsiteX23" fmla="*/ 2709419 w 2734839"/>
                <a:gd name="connsiteY23" fmla="*/ 688836 h 1546843"/>
                <a:gd name="connsiteX24" fmla="*/ 2569864 w 2734839"/>
                <a:gd name="connsiteY24" fmla="*/ 569680 h 1546843"/>
                <a:gd name="connsiteX25" fmla="*/ 2240128 w 2734839"/>
                <a:gd name="connsiteY25" fmla="*/ 815469 h 1546843"/>
                <a:gd name="connsiteX26" fmla="*/ 2081920 w 2734839"/>
                <a:gd name="connsiteY26" fmla="*/ 926852 h 1546843"/>
                <a:gd name="connsiteX27" fmla="*/ 1988529 w 2734839"/>
                <a:gd name="connsiteY27" fmla="*/ 765870 h 1546843"/>
                <a:gd name="connsiteX28" fmla="*/ 1858258 w 2734839"/>
                <a:gd name="connsiteY28" fmla="*/ 503111 h 1546843"/>
                <a:gd name="connsiteX29" fmla="*/ 1731657 w 2734839"/>
                <a:gd name="connsiteY29" fmla="*/ 211394 h 1546843"/>
                <a:gd name="connsiteX30" fmla="*/ 1630800 w 2734839"/>
                <a:gd name="connsiteY30" fmla="*/ 140189 h 1546843"/>
                <a:gd name="connsiteX31" fmla="*/ 1525011 w 2734839"/>
                <a:gd name="connsiteY31" fmla="*/ 91726 h 1546843"/>
                <a:gd name="connsiteX32" fmla="*/ 1415685 w 2734839"/>
                <a:gd name="connsiteY32" fmla="*/ 31342 h 1546843"/>
                <a:gd name="connsiteX33" fmla="*/ 1313590 w 2734839"/>
                <a:gd name="connsiteY33" fmla="*/ 102251 h 1546843"/>
                <a:gd name="connsiteX0" fmla="*/ 1313590 w 2710666"/>
                <a:gd name="connsiteY0" fmla="*/ 102251 h 1546843"/>
                <a:gd name="connsiteX1" fmla="*/ 1203265 w 2710666"/>
                <a:gd name="connsiteY1" fmla="*/ 370 h 1546843"/>
                <a:gd name="connsiteX2" fmla="*/ 1083733 w 2710666"/>
                <a:gd name="connsiteY2" fmla="*/ 72575 h 1546843"/>
                <a:gd name="connsiteX3" fmla="*/ 819895 w 2710666"/>
                <a:gd name="connsiteY3" fmla="*/ 188231 h 1546843"/>
                <a:gd name="connsiteX4" fmla="*/ 566899 w 2710666"/>
                <a:gd name="connsiteY4" fmla="*/ 903848 h 1546843"/>
                <a:gd name="connsiteX5" fmla="*/ 516299 w 2710666"/>
                <a:gd name="connsiteY5" fmla="*/ 911077 h 1546843"/>
                <a:gd name="connsiteX6" fmla="*/ 219933 w 2710666"/>
                <a:gd name="connsiteY6" fmla="*/ 535197 h 1546843"/>
                <a:gd name="connsiteX7" fmla="*/ 3079 w 2710666"/>
                <a:gd name="connsiteY7" fmla="*/ 618324 h 1546843"/>
                <a:gd name="connsiteX8" fmla="*/ 382573 w 2710666"/>
                <a:gd name="connsiteY8" fmla="*/ 1041189 h 1546843"/>
                <a:gd name="connsiteX9" fmla="*/ 491000 w 2710666"/>
                <a:gd name="connsiteY9" fmla="*/ 1211058 h 1546843"/>
                <a:gd name="connsiteX10" fmla="*/ 743996 w 2710666"/>
                <a:gd name="connsiteY10" fmla="*/ 1189372 h 1546843"/>
                <a:gd name="connsiteX11" fmla="*/ 834352 w 2710666"/>
                <a:gd name="connsiteY11" fmla="*/ 943605 h 1546843"/>
                <a:gd name="connsiteX12" fmla="*/ 917479 w 2710666"/>
                <a:gd name="connsiteY12" fmla="*/ 697837 h 1546843"/>
                <a:gd name="connsiteX13" fmla="*/ 769295 w 2710666"/>
                <a:gd name="connsiteY13" fmla="*/ 1482125 h 1546843"/>
                <a:gd name="connsiteX14" fmla="*/ 1799351 w 2710666"/>
                <a:gd name="connsiteY14" fmla="*/ 1489353 h 1546843"/>
                <a:gd name="connsiteX15" fmla="*/ 1770437 w 2710666"/>
                <a:gd name="connsiteY15" fmla="*/ 1380926 h 1546843"/>
                <a:gd name="connsiteX16" fmla="*/ 1763208 w 2710666"/>
                <a:gd name="connsiteY16" fmla="*/ 1080945 h 1546843"/>
                <a:gd name="connsiteX17" fmla="*/ 1774051 w 2710666"/>
                <a:gd name="connsiteY17" fmla="*/ 925534 h 1546843"/>
                <a:gd name="connsiteX18" fmla="*/ 1846336 w 2710666"/>
                <a:gd name="connsiteY18" fmla="*/ 1142387 h 1546843"/>
                <a:gd name="connsiteX19" fmla="*/ 1961991 w 2710666"/>
                <a:gd name="connsiteY19" fmla="*/ 1276114 h 1546843"/>
                <a:gd name="connsiteX20" fmla="*/ 2095718 w 2710666"/>
                <a:gd name="connsiteY20" fmla="*/ 1250814 h 1546843"/>
                <a:gd name="connsiteX21" fmla="*/ 2337871 w 2710666"/>
                <a:gd name="connsiteY21" fmla="*/ 1048417 h 1546843"/>
                <a:gd name="connsiteX22" fmla="*/ 2692065 w 2710666"/>
                <a:gd name="connsiteY22" fmla="*/ 726751 h 1546843"/>
                <a:gd name="connsiteX23" fmla="*/ 2646158 w 2710666"/>
                <a:gd name="connsiteY23" fmla="*/ 634202 h 1546843"/>
                <a:gd name="connsiteX24" fmla="*/ 2569864 w 2710666"/>
                <a:gd name="connsiteY24" fmla="*/ 569680 h 1546843"/>
                <a:gd name="connsiteX25" fmla="*/ 2240128 w 2710666"/>
                <a:gd name="connsiteY25" fmla="*/ 815469 h 1546843"/>
                <a:gd name="connsiteX26" fmla="*/ 2081920 w 2710666"/>
                <a:gd name="connsiteY26" fmla="*/ 926852 h 1546843"/>
                <a:gd name="connsiteX27" fmla="*/ 1988529 w 2710666"/>
                <a:gd name="connsiteY27" fmla="*/ 765870 h 1546843"/>
                <a:gd name="connsiteX28" fmla="*/ 1858258 w 2710666"/>
                <a:gd name="connsiteY28" fmla="*/ 503111 h 1546843"/>
                <a:gd name="connsiteX29" fmla="*/ 1731657 w 2710666"/>
                <a:gd name="connsiteY29" fmla="*/ 211394 h 1546843"/>
                <a:gd name="connsiteX30" fmla="*/ 1630800 w 2710666"/>
                <a:gd name="connsiteY30" fmla="*/ 140189 h 1546843"/>
                <a:gd name="connsiteX31" fmla="*/ 1525011 w 2710666"/>
                <a:gd name="connsiteY31" fmla="*/ 91726 h 1546843"/>
                <a:gd name="connsiteX32" fmla="*/ 1415685 w 2710666"/>
                <a:gd name="connsiteY32" fmla="*/ 31342 h 1546843"/>
                <a:gd name="connsiteX33" fmla="*/ 1313590 w 2710666"/>
                <a:gd name="connsiteY33" fmla="*/ 102251 h 1546843"/>
                <a:gd name="connsiteX0" fmla="*/ 1313590 w 2667946"/>
                <a:gd name="connsiteY0" fmla="*/ 102251 h 1546843"/>
                <a:gd name="connsiteX1" fmla="*/ 1203265 w 2667946"/>
                <a:gd name="connsiteY1" fmla="*/ 370 h 1546843"/>
                <a:gd name="connsiteX2" fmla="*/ 1083733 w 2667946"/>
                <a:gd name="connsiteY2" fmla="*/ 72575 h 1546843"/>
                <a:gd name="connsiteX3" fmla="*/ 819895 w 2667946"/>
                <a:gd name="connsiteY3" fmla="*/ 188231 h 1546843"/>
                <a:gd name="connsiteX4" fmla="*/ 566899 w 2667946"/>
                <a:gd name="connsiteY4" fmla="*/ 903848 h 1546843"/>
                <a:gd name="connsiteX5" fmla="*/ 516299 w 2667946"/>
                <a:gd name="connsiteY5" fmla="*/ 911077 h 1546843"/>
                <a:gd name="connsiteX6" fmla="*/ 219933 w 2667946"/>
                <a:gd name="connsiteY6" fmla="*/ 535197 h 1546843"/>
                <a:gd name="connsiteX7" fmla="*/ 3079 w 2667946"/>
                <a:gd name="connsiteY7" fmla="*/ 618324 h 1546843"/>
                <a:gd name="connsiteX8" fmla="*/ 382573 w 2667946"/>
                <a:gd name="connsiteY8" fmla="*/ 1041189 h 1546843"/>
                <a:gd name="connsiteX9" fmla="*/ 491000 w 2667946"/>
                <a:gd name="connsiteY9" fmla="*/ 1211058 h 1546843"/>
                <a:gd name="connsiteX10" fmla="*/ 743996 w 2667946"/>
                <a:gd name="connsiteY10" fmla="*/ 1189372 h 1546843"/>
                <a:gd name="connsiteX11" fmla="*/ 834352 w 2667946"/>
                <a:gd name="connsiteY11" fmla="*/ 943605 h 1546843"/>
                <a:gd name="connsiteX12" fmla="*/ 917479 w 2667946"/>
                <a:gd name="connsiteY12" fmla="*/ 697837 h 1546843"/>
                <a:gd name="connsiteX13" fmla="*/ 769295 w 2667946"/>
                <a:gd name="connsiteY13" fmla="*/ 1482125 h 1546843"/>
                <a:gd name="connsiteX14" fmla="*/ 1799351 w 2667946"/>
                <a:gd name="connsiteY14" fmla="*/ 1489353 h 1546843"/>
                <a:gd name="connsiteX15" fmla="*/ 1770437 w 2667946"/>
                <a:gd name="connsiteY15" fmla="*/ 1380926 h 1546843"/>
                <a:gd name="connsiteX16" fmla="*/ 1763208 w 2667946"/>
                <a:gd name="connsiteY16" fmla="*/ 1080945 h 1546843"/>
                <a:gd name="connsiteX17" fmla="*/ 1774051 w 2667946"/>
                <a:gd name="connsiteY17" fmla="*/ 925534 h 1546843"/>
                <a:gd name="connsiteX18" fmla="*/ 1846336 w 2667946"/>
                <a:gd name="connsiteY18" fmla="*/ 1142387 h 1546843"/>
                <a:gd name="connsiteX19" fmla="*/ 1961991 w 2667946"/>
                <a:gd name="connsiteY19" fmla="*/ 1276114 h 1546843"/>
                <a:gd name="connsiteX20" fmla="*/ 2095718 w 2667946"/>
                <a:gd name="connsiteY20" fmla="*/ 1250814 h 1546843"/>
                <a:gd name="connsiteX21" fmla="*/ 2337871 w 2667946"/>
                <a:gd name="connsiteY21" fmla="*/ 1048417 h 1546843"/>
                <a:gd name="connsiteX22" fmla="*/ 2640306 w 2667946"/>
                <a:gd name="connsiteY22" fmla="*/ 761256 h 1546843"/>
                <a:gd name="connsiteX23" fmla="*/ 2646158 w 2667946"/>
                <a:gd name="connsiteY23" fmla="*/ 634202 h 1546843"/>
                <a:gd name="connsiteX24" fmla="*/ 2569864 w 2667946"/>
                <a:gd name="connsiteY24" fmla="*/ 569680 h 1546843"/>
                <a:gd name="connsiteX25" fmla="*/ 2240128 w 2667946"/>
                <a:gd name="connsiteY25" fmla="*/ 815469 h 1546843"/>
                <a:gd name="connsiteX26" fmla="*/ 2081920 w 2667946"/>
                <a:gd name="connsiteY26" fmla="*/ 926852 h 1546843"/>
                <a:gd name="connsiteX27" fmla="*/ 1988529 w 2667946"/>
                <a:gd name="connsiteY27" fmla="*/ 765870 h 1546843"/>
                <a:gd name="connsiteX28" fmla="*/ 1858258 w 2667946"/>
                <a:gd name="connsiteY28" fmla="*/ 503111 h 1546843"/>
                <a:gd name="connsiteX29" fmla="*/ 1731657 w 2667946"/>
                <a:gd name="connsiteY29" fmla="*/ 211394 h 1546843"/>
                <a:gd name="connsiteX30" fmla="*/ 1630800 w 2667946"/>
                <a:gd name="connsiteY30" fmla="*/ 140189 h 1546843"/>
                <a:gd name="connsiteX31" fmla="*/ 1525011 w 2667946"/>
                <a:gd name="connsiteY31" fmla="*/ 91726 h 1546843"/>
                <a:gd name="connsiteX32" fmla="*/ 1415685 w 2667946"/>
                <a:gd name="connsiteY32" fmla="*/ 31342 h 1546843"/>
                <a:gd name="connsiteX33" fmla="*/ 1313590 w 2667946"/>
                <a:gd name="connsiteY33" fmla="*/ 102251 h 1546843"/>
                <a:gd name="connsiteX0" fmla="*/ 1313590 w 2677685"/>
                <a:gd name="connsiteY0" fmla="*/ 102251 h 1546843"/>
                <a:gd name="connsiteX1" fmla="*/ 1203265 w 2677685"/>
                <a:gd name="connsiteY1" fmla="*/ 370 h 1546843"/>
                <a:gd name="connsiteX2" fmla="*/ 1083733 w 2677685"/>
                <a:gd name="connsiteY2" fmla="*/ 72575 h 1546843"/>
                <a:gd name="connsiteX3" fmla="*/ 819895 w 2677685"/>
                <a:gd name="connsiteY3" fmla="*/ 188231 h 1546843"/>
                <a:gd name="connsiteX4" fmla="*/ 566899 w 2677685"/>
                <a:gd name="connsiteY4" fmla="*/ 903848 h 1546843"/>
                <a:gd name="connsiteX5" fmla="*/ 516299 w 2677685"/>
                <a:gd name="connsiteY5" fmla="*/ 911077 h 1546843"/>
                <a:gd name="connsiteX6" fmla="*/ 219933 w 2677685"/>
                <a:gd name="connsiteY6" fmla="*/ 535197 h 1546843"/>
                <a:gd name="connsiteX7" fmla="*/ 3079 w 2677685"/>
                <a:gd name="connsiteY7" fmla="*/ 618324 h 1546843"/>
                <a:gd name="connsiteX8" fmla="*/ 382573 w 2677685"/>
                <a:gd name="connsiteY8" fmla="*/ 1041189 h 1546843"/>
                <a:gd name="connsiteX9" fmla="*/ 491000 w 2677685"/>
                <a:gd name="connsiteY9" fmla="*/ 1211058 h 1546843"/>
                <a:gd name="connsiteX10" fmla="*/ 743996 w 2677685"/>
                <a:gd name="connsiteY10" fmla="*/ 1189372 h 1546843"/>
                <a:gd name="connsiteX11" fmla="*/ 834352 w 2677685"/>
                <a:gd name="connsiteY11" fmla="*/ 943605 h 1546843"/>
                <a:gd name="connsiteX12" fmla="*/ 917479 w 2677685"/>
                <a:gd name="connsiteY12" fmla="*/ 697837 h 1546843"/>
                <a:gd name="connsiteX13" fmla="*/ 769295 w 2677685"/>
                <a:gd name="connsiteY13" fmla="*/ 1482125 h 1546843"/>
                <a:gd name="connsiteX14" fmla="*/ 1799351 w 2677685"/>
                <a:gd name="connsiteY14" fmla="*/ 1489353 h 1546843"/>
                <a:gd name="connsiteX15" fmla="*/ 1770437 w 2677685"/>
                <a:gd name="connsiteY15" fmla="*/ 1380926 h 1546843"/>
                <a:gd name="connsiteX16" fmla="*/ 1763208 w 2677685"/>
                <a:gd name="connsiteY16" fmla="*/ 1080945 h 1546843"/>
                <a:gd name="connsiteX17" fmla="*/ 1774051 w 2677685"/>
                <a:gd name="connsiteY17" fmla="*/ 925534 h 1546843"/>
                <a:gd name="connsiteX18" fmla="*/ 1846336 w 2677685"/>
                <a:gd name="connsiteY18" fmla="*/ 1142387 h 1546843"/>
                <a:gd name="connsiteX19" fmla="*/ 1961991 w 2677685"/>
                <a:gd name="connsiteY19" fmla="*/ 1276114 h 1546843"/>
                <a:gd name="connsiteX20" fmla="*/ 2095718 w 2677685"/>
                <a:gd name="connsiteY20" fmla="*/ 1250814 h 1546843"/>
                <a:gd name="connsiteX21" fmla="*/ 2337871 w 2677685"/>
                <a:gd name="connsiteY21" fmla="*/ 1048417 h 1546843"/>
                <a:gd name="connsiteX22" fmla="*/ 2640306 w 2677685"/>
                <a:gd name="connsiteY22" fmla="*/ 761256 h 1546843"/>
                <a:gd name="connsiteX23" fmla="*/ 2646158 w 2677685"/>
                <a:gd name="connsiteY23" fmla="*/ 634202 h 1546843"/>
                <a:gd name="connsiteX24" fmla="*/ 2569864 w 2677685"/>
                <a:gd name="connsiteY24" fmla="*/ 569680 h 1546843"/>
                <a:gd name="connsiteX25" fmla="*/ 2240128 w 2677685"/>
                <a:gd name="connsiteY25" fmla="*/ 815469 h 1546843"/>
                <a:gd name="connsiteX26" fmla="*/ 2081920 w 2677685"/>
                <a:gd name="connsiteY26" fmla="*/ 926852 h 1546843"/>
                <a:gd name="connsiteX27" fmla="*/ 1988529 w 2677685"/>
                <a:gd name="connsiteY27" fmla="*/ 765870 h 1546843"/>
                <a:gd name="connsiteX28" fmla="*/ 1858258 w 2677685"/>
                <a:gd name="connsiteY28" fmla="*/ 503111 h 1546843"/>
                <a:gd name="connsiteX29" fmla="*/ 1731657 w 2677685"/>
                <a:gd name="connsiteY29" fmla="*/ 211394 h 1546843"/>
                <a:gd name="connsiteX30" fmla="*/ 1630800 w 2677685"/>
                <a:gd name="connsiteY30" fmla="*/ 140189 h 1546843"/>
                <a:gd name="connsiteX31" fmla="*/ 1525011 w 2677685"/>
                <a:gd name="connsiteY31" fmla="*/ 91726 h 1546843"/>
                <a:gd name="connsiteX32" fmla="*/ 1415685 w 2677685"/>
                <a:gd name="connsiteY32" fmla="*/ 31342 h 1546843"/>
                <a:gd name="connsiteX33" fmla="*/ 1313590 w 2677685"/>
                <a:gd name="connsiteY33" fmla="*/ 102251 h 1546843"/>
                <a:gd name="connsiteX0" fmla="*/ 1313590 w 2687554"/>
                <a:gd name="connsiteY0" fmla="*/ 102251 h 1546843"/>
                <a:gd name="connsiteX1" fmla="*/ 1203265 w 2687554"/>
                <a:gd name="connsiteY1" fmla="*/ 370 h 1546843"/>
                <a:gd name="connsiteX2" fmla="*/ 1083733 w 2687554"/>
                <a:gd name="connsiteY2" fmla="*/ 72575 h 1546843"/>
                <a:gd name="connsiteX3" fmla="*/ 819895 w 2687554"/>
                <a:gd name="connsiteY3" fmla="*/ 188231 h 1546843"/>
                <a:gd name="connsiteX4" fmla="*/ 566899 w 2687554"/>
                <a:gd name="connsiteY4" fmla="*/ 903848 h 1546843"/>
                <a:gd name="connsiteX5" fmla="*/ 516299 w 2687554"/>
                <a:gd name="connsiteY5" fmla="*/ 911077 h 1546843"/>
                <a:gd name="connsiteX6" fmla="*/ 219933 w 2687554"/>
                <a:gd name="connsiteY6" fmla="*/ 535197 h 1546843"/>
                <a:gd name="connsiteX7" fmla="*/ 3079 w 2687554"/>
                <a:gd name="connsiteY7" fmla="*/ 618324 h 1546843"/>
                <a:gd name="connsiteX8" fmla="*/ 382573 w 2687554"/>
                <a:gd name="connsiteY8" fmla="*/ 1041189 h 1546843"/>
                <a:gd name="connsiteX9" fmla="*/ 491000 w 2687554"/>
                <a:gd name="connsiteY9" fmla="*/ 1211058 h 1546843"/>
                <a:gd name="connsiteX10" fmla="*/ 743996 w 2687554"/>
                <a:gd name="connsiteY10" fmla="*/ 1189372 h 1546843"/>
                <a:gd name="connsiteX11" fmla="*/ 834352 w 2687554"/>
                <a:gd name="connsiteY11" fmla="*/ 943605 h 1546843"/>
                <a:gd name="connsiteX12" fmla="*/ 917479 w 2687554"/>
                <a:gd name="connsiteY12" fmla="*/ 697837 h 1546843"/>
                <a:gd name="connsiteX13" fmla="*/ 769295 w 2687554"/>
                <a:gd name="connsiteY13" fmla="*/ 1482125 h 1546843"/>
                <a:gd name="connsiteX14" fmla="*/ 1799351 w 2687554"/>
                <a:gd name="connsiteY14" fmla="*/ 1489353 h 1546843"/>
                <a:gd name="connsiteX15" fmla="*/ 1770437 w 2687554"/>
                <a:gd name="connsiteY15" fmla="*/ 1380926 h 1546843"/>
                <a:gd name="connsiteX16" fmla="*/ 1763208 w 2687554"/>
                <a:gd name="connsiteY16" fmla="*/ 1080945 h 1546843"/>
                <a:gd name="connsiteX17" fmla="*/ 1774051 w 2687554"/>
                <a:gd name="connsiteY17" fmla="*/ 925534 h 1546843"/>
                <a:gd name="connsiteX18" fmla="*/ 1846336 w 2687554"/>
                <a:gd name="connsiteY18" fmla="*/ 1142387 h 1546843"/>
                <a:gd name="connsiteX19" fmla="*/ 1961991 w 2687554"/>
                <a:gd name="connsiteY19" fmla="*/ 1276114 h 1546843"/>
                <a:gd name="connsiteX20" fmla="*/ 2095718 w 2687554"/>
                <a:gd name="connsiteY20" fmla="*/ 1250814 h 1546843"/>
                <a:gd name="connsiteX21" fmla="*/ 2337871 w 2687554"/>
                <a:gd name="connsiteY21" fmla="*/ 1048417 h 1546843"/>
                <a:gd name="connsiteX22" fmla="*/ 2666185 w 2687554"/>
                <a:gd name="connsiteY22" fmla="*/ 741128 h 1546843"/>
                <a:gd name="connsiteX23" fmla="*/ 2646158 w 2687554"/>
                <a:gd name="connsiteY23" fmla="*/ 634202 h 1546843"/>
                <a:gd name="connsiteX24" fmla="*/ 2569864 w 2687554"/>
                <a:gd name="connsiteY24" fmla="*/ 569680 h 1546843"/>
                <a:gd name="connsiteX25" fmla="*/ 2240128 w 2687554"/>
                <a:gd name="connsiteY25" fmla="*/ 815469 h 1546843"/>
                <a:gd name="connsiteX26" fmla="*/ 2081920 w 2687554"/>
                <a:gd name="connsiteY26" fmla="*/ 926852 h 1546843"/>
                <a:gd name="connsiteX27" fmla="*/ 1988529 w 2687554"/>
                <a:gd name="connsiteY27" fmla="*/ 765870 h 1546843"/>
                <a:gd name="connsiteX28" fmla="*/ 1858258 w 2687554"/>
                <a:gd name="connsiteY28" fmla="*/ 503111 h 1546843"/>
                <a:gd name="connsiteX29" fmla="*/ 1731657 w 2687554"/>
                <a:gd name="connsiteY29" fmla="*/ 211394 h 1546843"/>
                <a:gd name="connsiteX30" fmla="*/ 1630800 w 2687554"/>
                <a:gd name="connsiteY30" fmla="*/ 140189 h 1546843"/>
                <a:gd name="connsiteX31" fmla="*/ 1525011 w 2687554"/>
                <a:gd name="connsiteY31" fmla="*/ 91726 h 1546843"/>
                <a:gd name="connsiteX32" fmla="*/ 1415685 w 2687554"/>
                <a:gd name="connsiteY32" fmla="*/ 31342 h 1546843"/>
                <a:gd name="connsiteX33" fmla="*/ 1313590 w 2687554"/>
                <a:gd name="connsiteY33" fmla="*/ 102251 h 1546843"/>
                <a:gd name="connsiteX0" fmla="*/ 1313590 w 2691293"/>
                <a:gd name="connsiteY0" fmla="*/ 102251 h 1546843"/>
                <a:gd name="connsiteX1" fmla="*/ 1203265 w 2691293"/>
                <a:gd name="connsiteY1" fmla="*/ 370 h 1546843"/>
                <a:gd name="connsiteX2" fmla="*/ 1083733 w 2691293"/>
                <a:gd name="connsiteY2" fmla="*/ 72575 h 1546843"/>
                <a:gd name="connsiteX3" fmla="*/ 819895 w 2691293"/>
                <a:gd name="connsiteY3" fmla="*/ 188231 h 1546843"/>
                <a:gd name="connsiteX4" fmla="*/ 566899 w 2691293"/>
                <a:gd name="connsiteY4" fmla="*/ 903848 h 1546843"/>
                <a:gd name="connsiteX5" fmla="*/ 516299 w 2691293"/>
                <a:gd name="connsiteY5" fmla="*/ 911077 h 1546843"/>
                <a:gd name="connsiteX6" fmla="*/ 219933 w 2691293"/>
                <a:gd name="connsiteY6" fmla="*/ 535197 h 1546843"/>
                <a:gd name="connsiteX7" fmla="*/ 3079 w 2691293"/>
                <a:gd name="connsiteY7" fmla="*/ 618324 h 1546843"/>
                <a:gd name="connsiteX8" fmla="*/ 382573 w 2691293"/>
                <a:gd name="connsiteY8" fmla="*/ 1041189 h 1546843"/>
                <a:gd name="connsiteX9" fmla="*/ 491000 w 2691293"/>
                <a:gd name="connsiteY9" fmla="*/ 1211058 h 1546843"/>
                <a:gd name="connsiteX10" fmla="*/ 743996 w 2691293"/>
                <a:gd name="connsiteY10" fmla="*/ 1189372 h 1546843"/>
                <a:gd name="connsiteX11" fmla="*/ 834352 w 2691293"/>
                <a:gd name="connsiteY11" fmla="*/ 943605 h 1546843"/>
                <a:gd name="connsiteX12" fmla="*/ 917479 w 2691293"/>
                <a:gd name="connsiteY12" fmla="*/ 697837 h 1546843"/>
                <a:gd name="connsiteX13" fmla="*/ 769295 w 2691293"/>
                <a:gd name="connsiteY13" fmla="*/ 1482125 h 1546843"/>
                <a:gd name="connsiteX14" fmla="*/ 1799351 w 2691293"/>
                <a:gd name="connsiteY14" fmla="*/ 1489353 h 1546843"/>
                <a:gd name="connsiteX15" fmla="*/ 1770437 w 2691293"/>
                <a:gd name="connsiteY15" fmla="*/ 1380926 h 1546843"/>
                <a:gd name="connsiteX16" fmla="*/ 1763208 w 2691293"/>
                <a:gd name="connsiteY16" fmla="*/ 1080945 h 1546843"/>
                <a:gd name="connsiteX17" fmla="*/ 1774051 w 2691293"/>
                <a:gd name="connsiteY17" fmla="*/ 925534 h 1546843"/>
                <a:gd name="connsiteX18" fmla="*/ 1846336 w 2691293"/>
                <a:gd name="connsiteY18" fmla="*/ 1142387 h 1546843"/>
                <a:gd name="connsiteX19" fmla="*/ 1961991 w 2691293"/>
                <a:gd name="connsiteY19" fmla="*/ 1276114 h 1546843"/>
                <a:gd name="connsiteX20" fmla="*/ 2095718 w 2691293"/>
                <a:gd name="connsiteY20" fmla="*/ 1250814 h 1546843"/>
                <a:gd name="connsiteX21" fmla="*/ 2337871 w 2691293"/>
                <a:gd name="connsiteY21" fmla="*/ 1048417 h 1546843"/>
                <a:gd name="connsiteX22" fmla="*/ 2666185 w 2691293"/>
                <a:gd name="connsiteY22" fmla="*/ 741128 h 1546843"/>
                <a:gd name="connsiteX23" fmla="*/ 2646158 w 2691293"/>
                <a:gd name="connsiteY23" fmla="*/ 634202 h 1546843"/>
                <a:gd name="connsiteX24" fmla="*/ 2569864 w 2691293"/>
                <a:gd name="connsiteY24" fmla="*/ 569680 h 1546843"/>
                <a:gd name="connsiteX25" fmla="*/ 2240128 w 2691293"/>
                <a:gd name="connsiteY25" fmla="*/ 815469 h 1546843"/>
                <a:gd name="connsiteX26" fmla="*/ 2081920 w 2691293"/>
                <a:gd name="connsiteY26" fmla="*/ 926852 h 1546843"/>
                <a:gd name="connsiteX27" fmla="*/ 1988529 w 2691293"/>
                <a:gd name="connsiteY27" fmla="*/ 765870 h 1546843"/>
                <a:gd name="connsiteX28" fmla="*/ 1858258 w 2691293"/>
                <a:gd name="connsiteY28" fmla="*/ 503111 h 1546843"/>
                <a:gd name="connsiteX29" fmla="*/ 1731657 w 2691293"/>
                <a:gd name="connsiteY29" fmla="*/ 211394 h 1546843"/>
                <a:gd name="connsiteX30" fmla="*/ 1630800 w 2691293"/>
                <a:gd name="connsiteY30" fmla="*/ 140189 h 1546843"/>
                <a:gd name="connsiteX31" fmla="*/ 1525011 w 2691293"/>
                <a:gd name="connsiteY31" fmla="*/ 91726 h 1546843"/>
                <a:gd name="connsiteX32" fmla="*/ 1415685 w 2691293"/>
                <a:gd name="connsiteY32" fmla="*/ 31342 h 1546843"/>
                <a:gd name="connsiteX33" fmla="*/ 1313590 w 2691293"/>
                <a:gd name="connsiteY33" fmla="*/ 102251 h 1546843"/>
                <a:gd name="connsiteX0" fmla="*/ 1313590 w 2698509"/>
                <a:gd name="connsiteY0" fmla="*/ 102251 h 1546843"/>
                <a:gd name="connsiteX1" fmla="*/ 1203265 w 2698509"/>
                <a:gd name="connsiteY1" fmla="*/ 370 h 1546843"/>
                <a:gd name="connsiteX2" fmla="*/ 1083733 w 2698509"/>
                <a:gd name="connsiteY2" fmla="*/ 72575 h 1546843"/>
                <a:gd name="connsiteX3" fmla="*/ 819895 w 2698509"/>
                <a:gd name="connsiteY3" fmla="*/ 188231 h 1546843"/>
                <a:gd name="connsiteX4" fmla="*/ 566899 w 2698509"/>
                <a:gd name="connsiteY4" fmla="*/ 903848 h 1546843"/>
                <a:gd name="connsiteX5" fmla="*/ 516299 w 2698509"/>
                <a:gd name="connsiteY5" fmla="*/ 911077 h 1546843"/>
                <a:gd name="connsiteX6" fmla="*/ 219933 w 2698509"/>
                <a:gd name="connsiteY6" fmla="*/ 535197 h 1546843"/>
                <a:gd name="connsiteX7" fmla="*/ 3079 w 2698509"/>
                <a:gd name="connsiteY7" fmla="*/ 618324 h 1546843"/>
                <a:gd name="connsiteX8" fmla="*/ 382573 w 2698509"/>
                <a:gd name="connsiteY8" fmla="*/ 1041189 h 1546843"/>
                <a:gd name="connsiteX9" fmla="*/ 491000 w 2698509"/>
                <a:gd name="connsiteY9" fmla="*/ 1211058 h 1546843"/>
                <a:gd name="connsiteX10" fmla="*/ 743996 w 2698509"/>
                <a:gd name="connsiteY10" fmla="*/ 1189372 h 1546843"/>
                <a:gd name="connsiteX11" fmla="*/ 834352 w 2698509"/>
                <a:gd name="connsiteY11" fmla="*/ 943605 h 1546843"/>
                <a:gd name="connsiteX12" fmla="*/ 917479 w 2698509"/>
                <a:gd name="connsiteY12" fmla="*/ 697837 h 1546843"/>
                <a:gd name="connsiteX13" fmla="*/ 769295 w 2698509"/>
                <a:gd name="connsiteY13" fmla="*/ 1482125 h 1546843"/>
                <a:gd name="connsiteX14" fmla="*/ 1799351 w 2698509"/>
                <a:gd name="connsiteY14" fmla="*/ 1489353 h 1546843"/>
                <a:gd name="connsiteX15" fmla="*/ 1770437 w 2698509"/>
                <a:gd name="connsiteY15" fmla="*/ 1380926 h 1546843"/>
                <a:gd name="connsiteX16" fmla="*/ 1763208 w 2698509"/>
                <a:gd name="connsiteY16" fmla="*/ 1080945 h 1546843"/>
                <a:gd name="connsiteX17" fmla="*/ 1774051 w 2698509"/>
                <a:gd name="connsiteY17" fmla="*/ 925534 h 1546843"/>
                <a:gd name="connsiteX18" fmla="*/ 1846336 w 2698509"/>
                <a:gd name="connsiteY18" fmla="*/ 1142387 h 1546843"/>
                <a:gd name="connsiteX19" fmla="*/ 1961991 w 2698509"/>
                <a:gd name="connsiteY19" fmla="*/ 1276114 h 1546843"/>
                <a:gd name="connsiteX20" fmla="*/ 2095718 w 2698509"/>
                <a:gd name="connsiteY20" fmla="*/ 1250814 h 1546843"/>
                <a:gd name="connsiteX21" fmla="*/ 2337871 w 2698509"/>
                <a:gd name="connsiteY21" fmla="*/ 1048417 h 1546843"/>
                <a:gd name="connsiteX22" fmla="*/ 2666185 w 2698509"/>
                <a:gd name="connsiteY22" fmla="*/ 741128 h 1546843"/>
                <a:gd name="connsiteX23" fmla="*/ 2646158 w 2698509"/>
                <a:gd name="connsiteY23" fmla="*/ 634202 h 1546843"/>
                <a:gd name="connsiteX24" fmla="*/ 2569864 w 2698509"/>
                <a:gd name="connsiteY24" fmla="*/ 569680 h 1546843"/>
                <a:gd name="connsiteX25" fmla="*/ 2240128 w 2698509"/>
                <a:gd name="connsiteY25" fmla="*/ 815469 h 1546843"/>
                <a:gd name="connsiteX26" fmla="*/ 2081920 w 2698509"/>
                <a:gd name="connsiteY26" fmla="*/ 926852 h 1546843"/>
                <a:gd name="connsiteX27" fmla="*/ 1988529 w 2698509"/>
                <a:gd name="connsiteY27" fmla="*/ 765870 h 1546843"/>
                <a:gd name="connsiteX28" fmla="*/ 1858258 w 2698509"/>
                <a:gd name="connsiteY28" fmla="*/ 503111 h 1546843"/>
                <a:gd name="connsiteX29" fmla="*/ 1731657 w 2698509"/>
                <a:gd name="connsiteY29" fmla="*/ 211394 h 1546843"/>
                <a:gd name="connsiteX30" fmla="*/ 1630800 w 2698509"/>
                <a:gd name="connsiteY30" fmla="*/ 140189 h 1546843"/>
                <a:gd name="connsiteX31" fmla="*/ 1525011 w 2698509"/>
                <a:gd name="connsiteY31" fmla="*/ 91726 h 1546843"/>
                <a:gd name="connsiteX32" fmla="*/ 1415685 w 2698509"/>
                <a:gd name="connsiteY32" fmla="*/ 31342 h 1546843"/>
                <a:gd name="connsiteX33" fmla="*/ 1313590 w 2698509"/>
                <a:gd name="connsiteY33" fmla="*/ 102251 h 1546843"/>
                <a:gd name="connsiteX0" fmla="*/ 1313590 w 2688216"/>
                <a:gd name="connsiteY0" fmla="*/ 102251 h 1546843"/>
                <a:gd name="connsiteX1" fmla="*/ 1203265 w 2688216"/>
                <a:gd name="connsiteY1" fmla="*/ 370 h 1546843"/>
                <a:gd name="connsiteX2" fmla="*/ 1083733 w 2688216"/>
                <a:gd name="connsiteY2" fmla="*/ 72575 h 1546843"/>
                <a:gd name="connsiteX3" fmla="*/ 819895 w 2688216"/>
                <a:gd name="connsiteY3" fmla="*/ 188231 h 1546843"/>
                <a:gd name="connsiteX4" fmla="*/ 566899 w 2688216"/>
                <a:gd name="connsiteY4" fmla="*/ 903848 h 1546843"/>
                <a:gd name="connsiteX5" fmla="*/ 516299 w 2688216"/>
                <a:gd name="connsiteY5" fmla="*/ 911077 h 1546843"/>
                <a:gd name="connsiteX6" fmla="*/ 219933 w 2688216"/>
                <a:gd name="connsiteY6" fmla="*/ 535197 h 1546843"/>
                <a:gd name="connsiteX7" fmla="*/ 3079 w 2688216"/>
                <a:gd name="connsiteY7" fmla="*/ 618324 h 1546843"/>
                <a:gd name="connsiteX8" fmla="*/ 382573 w 2688216"/>
                <a:gd name="connsiteY8" fmla="*/ 1041189 h 1546843"/>
                <a:gd name="connsiteX9" fmla="*/ 491000 w 2688216"/>
                <a:gd name="connsiteY9" fmla="*/ 1211058 h 1546843"/>
                <a:gd name="connsiteX10" fmla="*/ 743996 w 2688216"/>
                <a:gd name="connsiteY10" fmla="*/ 1189372 h 1546843"/>
                <a:gd name="connsiteX11" fmla="*/ 834352 w 2688216"/>
                <a:gd name="connsiteY11" fmla="*/ 943605 h 1546843"/>
                <a:gd name="connsiteX12" fmla="*/ 917479 w 2688216"/>
                <a:gd name="connsiteY12" fmla="*/ 697837 h 1546843"/>
                <a:gd name="connsiteX13" fmla="*/ 769295 w 2688216"/>
                <a:gd name="connsiteY13" fmla="*/ 1482125 h 1546843"/>
                <a:gd name="connsiteX14" fmla="*/ 1799351 w 2688216"/>
                <a:gd name="connsiteY14" fmla="*/ 1489353 h 1546843"/>
                <a:gd name="connsiteX15" fmla="*/ 1770437 w 2688216"/>
                <a:gd name="connsiteY15" fmla="*/ 1380926 h 1546843"/>
                <a:gd name="connsiteX16" fmla="*/ 1763208 w 2688216"/>
                <a:gd name="connsiteY16" fmla="*/ 1080945 h 1546843"/>
                <a:gd name="connsiteX17" fmla="*/ 1774051 w 2688216"/>
                <a:gd name="connsiteY17" fmla="*/ 925534 h 1546843"/>
                <a:gd name="connsiteX18" fmla="*/ 1846336 w 2688216"/>
                <a:gd name="connsiteY18" fmla="*/ 1142387 h 1546843"/>
                <a:gd name="connsiteX19" fmla="*/ 1961991 w 2688216"/>
                <a:gd name="connsiteY19" fmla="*/ 1276114 h 1546843"/>
                <a:gd name="connsiteX20" fmla="*/ 2095718 w 2688216"/>
                <a:gd name="connsiteY20" fmla="*/ 1250814 h 1546843"/>
                <a:gd name="connsiteX21" fmla="*/ 2337871 w 2688216"/>
                <a:gd name="connsiteY21" fmla="*/ 1048417 h 1546843"/>
                <a:gd name="connsiteX22" fmla="*/ 2666185 w 2688216"/>
                <a:gd name="connsiteY22" fmla="*/ 741128 h 1546843"/>
                <a:gd name="connsiteX23" fmla="*/ 2646158 w 2688216"/>
                <a:gd name="connsiteY23" fmla="*/ 634202 h 1546843"/>
                <a:gd name="connsiteX24" fmla="*/ 2549736 w 2688216"/>
                <a:gd name="connsiteY24" fmla="*/ 586933 h 1546843"/>
                <a:gd name="connsiteX25" fmla="*/ 2240128 w 2688216"/>
                <a:gd name="connsiteY25" fmla="*/ 815469 h 1546843"/>
                <a:gd name="connsiteX26" fmla="*/ 2081920 w 2688216"/>
                <a:gd name="connsiteY26" fmla="*/ 926852 h 1546843"/>
                <a:gd name="connsiteX27" fmla="*/ 1988529 w 2688216"/>
                <a:gd name="connsiteY27" fmla="*/ 765870 h 1546843"/>
                <a:gd name="connsiteX28" fmla="*/ 1858258 w 2688216"/>
                <a:gd name="connsiteY28" fmla="*/ 503111 h 1546843"/>
                <a:gd name="connsiteX29" fmla="*/ 1731657 w 2688216"/>
                <a:gd name="connsiteY29" fmla="*/ 211394 h 1546843"/>
                <a:gd name="connsiteX30" fmla="*/ 1630800 w 2688216"/>
                <a:gd name="connsiteY30" fmla="*/ 140189 h 1546843"/>
                <a:gd name="connsiteX31" fmla="*/ 1525011 w 2688216"/>
                <a:gd name="connsiteY31" fmla="*/ 91726 h 1546843"/>
                <a:gd name="connsiteX32" fmla="*/ 1415685 w 2688216"/>
                <a:gd name="connsiteY32" fmla="*/ 31342 h 1546843"/>
                <a:gd name="connsiteX33" fmla="*/ 1313590 w 2688216"/>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31657 w 2697641"/>
                <a:gd name="connsiteY29" fmla="*/ 211394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81920 w 2697641"/>
                <a:gd name="connsiteY26" fmla="*/ 926852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40128 w 2697641"/>
                <a:gd name="connsiteY25" fmla="*/ 815469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7641"/>
                <a:gd name="connsiteY0" fmla="*/ 102251 h 1546843"/>
                <a:gd name="connsiteX1" fmla="*/ 1203265 w 2697641"/>
                <a:gd name="connsiteY1" fmla="*/ 370 h 1546843"/>
                <a:gd name="connsiteX2" fmla="*/ 1083733 w 2697641"/>
                <a:gd name="connsiteY2" fmla="*/ 72575 h 1546843"/>
                <a:gd name="connsiteX3" fmla="*/ 819895 w 2697641"/>
                <a:gd name="connsiteY3" fmla="*/ 188231 h 1546843"/>
                <a:gd name="connsiteX4" fmla="*/ 566899 w 2697641"/>
                <a:gd name="connsiteY4" fmla="*/ 903848 h 1546843"/>
                <a:gd name="connsiteX5" fmla="*/ 516299 w 2697641"/>
                <a:gd name="connsiteY5" fmla="*/ 911077 h 1546843"/>
                <a:gd name="connsiteX6" fmla="*/ 219933 w 2697641"/>
                <a:gd name="connsiteY6" fmla="*/ 535197 h 1546843"/>
                <a:gd name="connsiteX7" fmla="*/ 3079 w 2697641"/>
                <a:gd name="connsiteY7" fmla="*/ 618324 h 1546843"/>
                <a:gd name="connsiteX8" fmla="*/ 382573 w 2697641"/>
                <a:gd name="connsiteY8" fmla="*/ 1041189 h 1546843"/>
                <a:gd name="connsiteX9" fmla="*/ 491000 w 2697641"/>
                <a:gd name="connsiteY9" fmla="*/ 1211058 h 1546843"/>
                <a:gd name="connsiteX10" fmla="*/ 743996 w 2697641"/>
                <a:gd name="connsiteY10" fmla="*/ 1189372 h 1546843"/>
                <a:gd name="connsiteX11" fmla="*/ 834352 w 2697641"/>
                <a:gd name="connsiteY11" fmla="*/ 943605 h 1546843"/>
                <a:gd name="connsiteX12" fmla="*/ 917479 w 2697641"/>
                <a:gd name="connsiteY12" fmla="*/ 697837 h 1546843"/>
                <a:gd name="connsiteX13" fmla="*/ 769295 w 2697641"/>
                <a:gd name="connsiteY13" fmla="*/ 1482125 h 1546843"/>
                <a:gd name="connsiteX14" fmla="*/ 1799351 w 2697641"/>
                <a:gd name="connsiteY14" fmla="*/ 1489353 h 1546843"/>
                <a:gd name="connsiteX15" fmla="*/ 1770437 w 2697641"/>
                <a:gd name="connsiteY15" fmla="*/ 1380926 h 1546843"/>
                <a:gd name="connsiteX16" fmla="*/ 1763208 w 2697641"/>
                <a:gd name="connsiteY16" fmla="*/ 1080945 h 1546843"/>
                <a:gd name="connsiteX17" fmla="*/ 1774051 w 2697641"/>
                <a:gd name="connsiteY17" fmla="*/ 925534 h 1546843"/>
                <a:gd name="connsiteX18" fmla="*/ 1846336 w 2697641"/>
                <a:gd name="connsiteY18" fmla="*/ 1142387 h 1546843"/>
                <a:gd name="connsiteX19" fmla="*/ 1961991 w 2697641"/>
                <a:gd name="connsiteY19" fmla="*/ 1276114 h 1546843"/>
                <a:gd name="connsiteX20" fmla="*/ 2095718 w 2697641"/>
                <a:gd name="connsiteY20" fmla="*/ 1250814 h 1546843"/>
                <a:gd name="connsiteX21" fmla="*/ 2337871 w 2697641"/>
                <a:gd name="connsiteY21" fmla="*/ 1048417 h 1546843"/>
                <a:gd name="connsiteX22" fmla="*/ 2677687 w 2697641"/>
                <a:gd name="connsiteY22" fmla="*/ 723875 h 1546843"/>
                <a:gd name="connsiteX23" fmla="*/ 2646158 w 2697641"/>
                <a:gd name="connsiteY23" fmla="*/ 634202 h 1546843"/>
                <a:gd name="connsiteX24" fmla="*/ 2549736 w 2697641"/>
                <a:gd name="connsiteY24" fmla="*/ 586933 h 1546843"/>
                <a:gd name="connsiteX25" fmla="*/ 2214249 w 2697641"/>
                <a:gd name="connsiteY25" fmla="*/ 824096 h 1546843"/>
                <a:gd name="connsiteX26" fmla="*/ 2073294 w 2697641"/>
                <a:gd name="connsiteY26" fmla="*/ 918226 h 1546843"/>
                <a:gd name="connsiteX27" fmla="*/ 1988529 w 2697641"/>
                <a:gd name="connsiteY27" fmla="*/ 765870 h 1546843"/>
                <a:gd name="connsiteX28" fmla="*/ 1858258 w 2697641"/>
                <a:gd name="connsiteY28" fmla="*/ 503111 h 1546843"/>
                <a:gd name="connsiteX29" fmla="*/ 1763287 w 2697641"/>
                <a:gd name="connsiteY29" fmla="*/ 257401 h 1546843"/>
                <a:gd name="connsiteX30" fmla="*/ 1630800 w 2697641"/>
                <a:gd name="connsiteY30" fmla="*/ 140189 h 1546843"/>
                <a:gd name="connsiteX31" fmla="*/ 1525011 w 2697641"/>
                <a:gd name="connsiteY31" fmla="*/ 91726 h 1546843"/>
                <a:gd name="connsiteX32" fmla="*/ 1415685 w 2697641"/>
                <a:gd name="connsiteY32" fmla="*/ 31342 h 1546843"/>
                <a:gd name="connsiteX33" fmla="*/ 1313590 w 2697641"/>
                <a:gd name="connsiteY33" fmla="*/ 102251 h 1546843"/>
                <a:gd name="connsiteX0" fmla="*/ 1313590 w 2696474"/>
                <a:gd name="connsiteY0" fmla="*/ 102251 h 1546843"/>
                <a:gd name="connsiteX1" fmla="*/ 1203265 w 2696474"/>
                <a:gd name="connsiteY1" fmla="*/ 370 h 1546843"/>
                <a:gd name="connsiteX2" fmla="*/ 1083733 w 2696474"/>
                <a:gd name="connsiteY2" fmla="*/ 72575 h 1546843"/>
                <a:gd name="connsiteX3" fmla="*/ 819895 w 2696474"/>
                <a:gd name="connsiteY3" fmla="*/ 188231 h 1546843"/>
                <a:gd name="connsiteX4" fmla="*/ 566899 w 2696474"/>
                <a:gd name="connsiteY4" fmla="*/ 903848 h 1546843"/>
                <a:gd name="connsiteX5" fmla="*/ 516299 w 2696474"/>
                <a:gd name="connsiteY5" fmla="*/ 911077 h 1546843"/>
                <a:gd name="connsiteX6" fmla="*/ 219933 w 2696474"/>
                <a:gd name="connsiteY6" fmla="*/ 535197 h 1546843"/>
                <a:gd name="connsiteX7" fmla="*/ 3079 w 2696474"/>
                <a:gd name="connsiteY7" fmla="*/ 618324 h 1546843"/>
                <a:gd name="connsiteX8" fmla="*/ 382573 w 2696474"/>
                <a:gd name="connsiteY8" fmla="*/ 1041189 h 1546843"/>
                <a:gd name="connsiteX9" fmla="*/ 491000 w 2696474"/>
                <a:gd name="connsiteY9" fmla="*/ 1211058 h 1546843"/>
                <a:gd name="connsiteX10" fmla="*/ 743996 w 2696474"/>
                <a:gd name="connsiteY10" fmla="*/ 1189372 h 1546843"/>
                <a:gd name="connsiteX11" fmla="*/ 834352 w 2696474"/>
                <a:gd name="connsiteY11" fmla="*/ 943605 h 1546843"/>
                <a:gd name="connsiteX12" fmla="*/ 917479 w 2696474"/>
                <a:gd name="connsiteY12" fmla="*/ 697837 h 1546843"/>
                <a:gd name="connsiteX13" fmla="*/ 769295 w 2696474"/>
                <a:gd name="connsiteY13" fmla="*/ 1482125 h 1546843"/>
                <a:gd name="connsiteX14" fmla="*/ 1799351 w 2696474"/>
                <a:gd name="connsiteY14" fmla="*/ 1489353 h 1546843"/>
                <a:gd name="connsiteX15" fmla="*/ 1770437 w 2696474"/>
                <a:gd name="connsiteY15" fmla="*/ 1380926 h 1546843"/>
                <a:gd name="connsiteX16" fmla="*/ 1763208 w 2696474"/>
                <a:gd name="connsiteY16" fmla="*/ 1080945 h 1546843"/>
                <a:gd name="connsiteX17" fmla="*/ 1774051 w 2696474"/>
                <a:gd name="connsiteY17" fmla="*/ 925534 h 1546843"/>
                <a:gd name="connsiteX18" fmla="*/ 1846336 w 2696474"/>
                <a:gd name="connsiteY18" fmla="*/ 1142387 h 1546843"/>
                <a:gd name="connsiteX19" fmla="*/ 1961991 w 2696474"/>
                <a:gd name="connsiteY19" fmla="*/ 1276114 h 1546843"/>
                <a:gd name="connsiteX20" fmla="*/ 2095718 w 2696474"/>
                <a:gd name="connsiteY20" fmla="*/ 1250814 h 1546843"/>
                <a:gd name="connsiteX21" fmla="*/ 2337871 w 2696474"/>
                <a:gd name="connsiteY21" fmla="*/ 1048417 h 1546843"/>
                <a:gd name="connsiteX22" fmla="*/ 2677687 w 2696474"/>
                <a:gd name="connsiteY22" fmla="*/ 723875 h 1546843"/>
                <a:gd name="connsiteX23" fmla="*/ 2646158 w 2696474"/>
                <a:gd name="connsiteY23" fmla="*/ 634202 h 1546843"/>
                <a:gd name="connsiteX24" fmla="*/ 2592869 w 2696474"/>
                <a:gd name="connsiteY24" fmla="*/ 563929 h 1546843"/>
                <a:gd name="connsiteX25" fmla="*/ 2214249 w 2696474"/>
                <a:gd name="connsiteY25" fmla="*/ 824096 h 1546843"/>
                <a:gd name="connsiteX26" fmla="*/ 2073294 w 2696474"/>
                <a:gd name="connsiteY26" fmla="*/ 918226 h 1546843"/>
                <a:gd name="connsiteX27" fmla="*/ 1988529 w 2696474"/>
                <a:gd name="connsiteY27" fmla="*/ 765870 h 1546843"/>
                <a:gd name="connsiteX28" fmla="*/ 1858258 w 2696474"/>
                <a:gd name="connsiteY28" fmla="*/ 503111 h 1546843"/>
                <a:gd name="connsiteX29" fmla="*/ 1763287 w 2696474"/>
                <a:gd name="connsiteY29" fmla="*/ 257401 h 1546843"/>
                <a:gd name="connsiteX30" fmla="*/ 1630800 w 2696474"/>
                <a:gd name="connsiteY30" fmla="*/ 140189 h 1546843"/>
                <a:gd name="connsiteX31" fmla="*/ 1525011 w 2696474"/>
                <a:gd name="connsiteY31" fmla="*/ 91726 h 1546843"/>
                <a:gd name="connsiteX32" fmla="*/ 1415685 w 2696474"/>
                <a:gd name="connsiteY32" fmla="*/ 31342 h 1546843"/>
                <a:gd name="connsiteX33" fmla="*/ 1313590 w 2696474"/>
                <a:gd name="connsiteY33" fmla="*/ 102251 h 1546843"/>
                <a:gd name="connsiteX0" fmla="*/ 1313590 w 2737488"/>
                <a:gd name="connsiteY0" fmla="*/ 102251 h 1546843"/>
                <a:gd name="connsiteX1" fmla="*/ 1203265 w 2737488"/>
                <a:gd name="connsiteY1" fmla="*/ 370 h 1546843"/>
                <a:gd name="connsiteX2" fmla="*/ 1083733 w 2737488"/>
                <a:gd name="connsiteY2" fmla="*/ 72575 h 1546843"/>
                <a:gd name="connsiteX3" fmla="*/ 819895 w 2737488"/>
                <a:gd name="connsiteY3" fmla="*/ 188231 h 1546843"/>
                <a:gd name="connsiteX4" fmla="*/ 566899 w 2737488"/>
                <a:gd name="connsiteY4" fmla="*/ 903848 h 1546843"/>
                <a:gd name="connsiteX5" fmla="*/ 516299 w 2737488"/>
                <a:gd name="connsiteY5" fmla="*/ 911077 h 1546843"/>
                <a:gd name="connsiteX6" fmla="*/ 219933 w 2737488"/>
                <a:gd name="connsiteY6" fmla="*/ 535197 h 1546843"/>
                <a:gd name="connsiteX7" fmla="*/ 3079 w 2737488"/>
                <a:gd name="connsiteY7" fmla="*/ 618324 h 1546843"/>
                <a:gd name="connsiteX8" fmla="*/ 382573 w 2737488"/>
                <a:gd name="connsiteY8" fmla="*/ 1041189 h 1546843"/>
                <a:gd name="connsiteX9" fmla="*/ 491000 w 2737488"/>
                <a:gd name="connsiteY9" fmla="*/ 1211058 h 1546843"/>
                <a:gd name="connsiteX10" fmla="*/ 743996 w 2737488"/>
                <a:gd name="connsiteY10" fmla="*/ 1189372 h 1546843"/>
                <a:gd name="connsiteX11" fmla="*/ 834352 w 2737488"/>
                <a:gd name="connsiteY11" fmla="*/ 943605 h 1546843"/>
                <a:gd name="connsiteX12" fmla="*/ 917479 w 2737488"/>
                <a:gd name="connsiteY12" fmla="*/ 697837 h 1546843"/>
                <a:gd name="connsiteX13" fmla="*/ 769295 w 2737488"/>
                <a:gd name="connsiteY13" fmla="*/ 1482125 h 1546843"/>
                <a:gd name="connsiteX14" fmla="*/ 1799351 w 2737488"/>
                <a:gd name="connsiteY14" fmla="*/ 1489353 h 1546843"/>
                <a:gd name="connsiteX15" fmla="*/ 1770437 w 2737488"/>
                <a:gd name="connsiteY15" fmla="*/ 1380926 h 1546843"/>
                <a:gd name="connsiteX16" fmla="*/ 1763208 w 2737488"/>
                <a:gd name="connsiteY16" fmla="*/ 1080945 h 1546843"/>
                <a:gd name="connsiteX17" fmla="*/ 1774051 w 2737488"/>
                <a:gd name="connsiteY17" fmla="*/ 925534 h 1546843"/>
                <a:gd name="connsiteX18" fmla="*/ 1846336 w 2737488"/>
                <a:gd name="connsiteY18" fmla="*/ 1142387 h 1546843"/>
                <a:gd name="connsiteX19" fmla="*/ 1961991 w 2737488"/>
                <a:gd name="connsiteY19" fmla="*/ 1276114 h 1546843"/>
                <a:gd name="connsiteX20" fmla="*/ 2095718 w 2737488"/>
                <a:gd name="connsiteY20" fmla="*/ 1250814 h 1546843"/>
                <a:gd name="connsiteX21" fmla="*/ 2337871 w 2737488"/>
                <a:gd name="connsiteY21" fmla="*/ 1048417 h 1546843"/>
                <a:gd name="connsiteX22" fmla="*/ 2723694 w 2737488"/>
                <a:gd name="connsiteY22" fmla="*/ 677868 h 1546843"/>
                <a:gd name="connsiteX23" fmla="*/ 2646158 w 2737488"/>
                <a:gd name="connsiteY23" fmla="*/ 634202 h 1546843"/>
                <a:gd name="connsiteX24" fmla="*/ 2592869 w 2737488"/>
                <a:gd name="connsiteY24" fmla="*/ 563929 h 1546843"/>
                <a:gd name="connsiteX25" fmla="*/ 2214249 w 2737488"/>
                <a:gd name="connsiteY25" fmla="*/ 824096 h 1546843"/>
                <a:gd name="connsiteX26" fmla="*/ 2073294 w 2737488"/>
                <a:gd name="connsiteY26" fmla="*/ 918226 h 1546843"/>
                <a:gd name="connsiteX27" fmla="*/ 1988529 w 2737488"/>
                <a:gd name="connsiteY27" fmla="*/ 765870 h 1546843"/>
                <a:gd name="connsiteX28" fmla="*/ 1858258 w 2737488"/>
                <a:gd name="connsiteY28" fmla="*/ 503111 h 1546843"/>
                <a:gd name="connsiteX29" fmla="*/ 1763287 w 2737488"/>
                <a:gd name="connsiteY29" fmla="*/ 257401 h 1546843"/>
                <a:gd name="connsiteX30" fmla="*/ 1630800 w 2737488"/>
                <a:gd name="connsiteY30" fmla="*/ 140189 h 1546843"/>
                <a:gd name="connsiteX31" fmla="*/ 1525011 w 2737488"/>
                <a:gd name="connsiteY31" fmla="*/ 91726 h 1546843"/>
                <a:gd name="connsiteX32" fmla="*/ 1415685 w 2737488"/>
                <a:gd name="connsiteY32" fmla="*/ 31342 h 1546843"/>
                <a:gd name="connsiteX33" fmla="*/ 1313590 w 2737488"/>
                <a:gd name="connsiteY33" fmla="*/ 102251 h 1546843"/>
                <a:gd name="connsiteX0" fmla="*/ 1313590 w 2734703"/>
                <a:gd name="connsiteY0" fmla="*/ 102251 h 1546843"/>
                <a:gd name="connsiteX1" fmla="*/ 1203265 w 2734703"/>
                <a:gd name="connsiteY1" fmla="*/ 370 h 1546843"/>
                <a:gd name="connsiteX2" fmla="*/ 1083733 w 2734703"/>
                <a:gd name="connsiteY2" fmla="*/ 72575 h 1546843"/>
                <a:gd name="connsiteX3" fmla="*/ 819895 w 2734703"/>
                <a:gd name="connsiteY3" fmla="*/ 188231 h 1546843"/>
                <a:gd name="connsiteX4" fmla="*/ 566899 w 2734703"/>
                <a:gd name="connsiteY4" fmla="*/ 903848 h 1546843"/>
                <a:gd name="connsiteX5" fmla="*/ 516299 w 2734703"/>
                <a:gd name="connsiteY5" fmla="*/ 911077 h 1546843"/>
                <a:gd name="connsiteX6" fmla="*/ 219933 w 2734703"/>
                <a:gd name="connsiteY6" fmla="*/ 535197 h 1546843"/>
                <a:gd name="connsiteX7" fmla="*/ 3079 w 2734703"/>
                <a:gd name="connsiteY7" fmla="*/ 618324 h 1546843"/>
                <a:gd name="connsiteX8" fmla="*/ 382573 w 2734703"/>
                <a:gd name="connsiteY8" fmla="*/ 1041189 h 1546843"/>
                <a:gd name="connsiteX9" fmla="*/ 491000 w 2734703"/>
                <a:gd name="connsiteY9" fmla="*/ 1211058 h 1546843"/>
                <a:gd name="connsiteX10" fmla="*/ 743996 w 2734703"/>
                <a:gd name="connsiteY10" fmla="*/ 1189372 h 1546843"/>
                <a:gd name="connsiteX11" fmla="*/ 834352 w 2734703"/>
                <a:gd name="connsiteY11" fmla="*/ 943605 h 1546843"/>
                <a:gd name="connsiteX12" fmla="*/ 917479 w 2734703"/>
                <a:gd name="connsiteY12" fmla="*/ 697837 h 1546843"/>
                <a:gd name="connsiteX13" fmla="*/ 769295 w 2734703"/>
                <a:gd name="connsiteY13" fmla="*/ 1482125 h 1546843"/>
                <a:gd name="connsiteX14" fmla="*/ 1799351 w 2734703"/>
                <a:gd name="connsiteY14" fmla="*/ 1489353 h 1546843"/>
                <a:gd name="connsiteX15" fmla="*/ 1770437 w 2734703"/>
                <a:gd name="connsiteY15" fmla="*/ 1380926 h 1546843"/>
                <a:gd name="connsiteX16" fmla="*/ 1763208 w 2734703"/>
                <a:gd name="connsiteY16" fmla="*/ 1080945 h 1546843"/>
                <a:gd name="connsiteX17" fmla="*/ 1774051 w 2734703"/>
                <a:gd name="connsiteY17" fmla="*/ 925534 h 1546843"/>
                <a:gd name="connsiteX18" fmla="*/ 1846336 w 2734703"/>
                <a:gd name="connsiteY18" fmla="*/ 1142387 h 1546843"/>
                <a:gd name="connsiteX19" fmla="*/ 1961991 w 2734703"/>
                <a:gd name="connsiteY19" fmla="*/ 1276114 h 1546843"/>
                <a:gd name="connsiteX20" fmla="*/ 2095718 w 2734703"/>
                <a:gd name="connsiteY20" fmla="*/ 1250814 h 1546843"/>
                <a:gd name="connsiteX21" fmla="*/ 2337871 w 2734703"/>
                <a:gd name="connsiteY21" fmla="*/ 1048417 h 1546843"/>
                <a:gd name="connsiteX22" fmla="*/ 2723694 w 2734703"/>
                <a:gd name="connsiteY22" fmla="*/ 677868 h 1546843"/>
                <a:gd name="connsiteX23" fmla="*/ 2592869 w 2734703"/>
                <a:gd name="connsiteY23" fmla="*/ 563929 h 1546843"/>
                <a:gd name="connsiteX24" fmla="*/ 2214249 w 2734703"/>
                <a:gd name="connsiteY24" fmla="*/ 824096 h 1546843"/>
                <a:gd name="connsiteX25" fmla="*/ 2073294 w 2734703"/>
                <a:gd name="connsiteY25" fmla="*/ 918226 h 1546843"/>
                <a:gd name="connsiteX26" fmla="*/ 1988529 w 2734703"/>
                <a:gd name="connsiteY26" fmla="*/ 765870 h 1546843"/>
                <a:gd name="connsiteX27" fmla="*/ 1858258 w 2734703"/>
                <a:gd name="connsiteY27" fmla="*/ 503111 h 1546843"/>
                <a:gd name="connsiteX28" fmla="*/ 1763287 w 2734703"/>
                <a:gd name="connsiteY28" fmla="*/ 257401 h 1546843"/>
                <a:gd name="connsiteX29" fmla="*/ 1630800 w 2734703"/>
                <a:gd name="connsiteY29" fmla="*/ 140189 h 1546843"/>
                <a:gd name="connsiteX30" fmla="*/ 1525011 w 2734703"/>
                <a:gd name="connsiteY30" fmla="*/ 91726 h 1546843"/>
                <a:gd name="connsiteX31" fmla="*/ 1415685 w 2734703"/>
                <a:gd name="connsiteY31" fmla="*/ 31342 h 1546843"/>
                <a:gd name="connsiteX32" fmla="*/ 1313590 w 2734703"/>
                <a:gd name="connsiteY32" fmla="*/ 102251 h 1546843"/>
                <a:gd name="connsiteX0" fmla="*/ 1313590 w 2737423"/>
                <a:gd name="connsiteY0" fmla="*/ 102251 h 1546843"/>
                <a:gd name="connsiteX1" fmla="*/ 1203265 w 2737423"/>
                <a:gd name="connsiteY1" fmla="*/ 370 h 1546843"/>
                <a:gd name="connsiteX2" fmla="*/ 1083733 w 2737423"/>
                <a:gd name="connsiteY2" fmla="*/ 72575 h 1546843"/>
                <a:gd name="connsiteX3" fmla="*/ 819895 w 2737423"/>
                <a:gd name="connsiteY3" fmla="*/ 188231 h 1546843"/>
                <a:gd name="connsiteX4" fmla="*/ 566899 w 2737423"/>
                <a:gd name="connsiteY4" fmla="*/ 903848 h 1546843"/>
                <a:gd name="connsiteX5" fmla="*/ 516299 w 2737423"/>
                <a:gd name="connsiteY5" fmla="*/ 911077 h 1546843"/>
                <a:gd name="connsiteX6" fmla="*/ 219933 w 2737423"/>
                <a:gd name="connsiteY6" fmla="*/ 535197 h 1546843"/>
                <a:gd name="connsiteX7" fmla="*/ 3079 w 2737423"/>
                <a:gd name="connsiteY7" fmla="*/ 618324 h 1546843"/>
                <a:gd name="connsiteX8" fmla="*/ 382573 w 2737423"/>
                <a:gd name="connsiteY8" fmla="*/ 1041189 h 1546843"/>
                <a:gd name="connsiteX9" fmla="*/ 491000 w 2737423"/>
                <a:gd name="connsiteY9" fmla="*/ 1211058 h 1546843"/>
                <a:gd name="connsiteX10" fmla="*/ 743996 w 2737423"/>
                <a:gd name="connsiteY10" fmla="*/ 1189372 h 1546843"/>
                <a:gd name="connsiteX11" fmla="*/ 834352 w 2737423"/>
                <a:gd name="connsiteY11" fmla="*/ 943605 h 1546843"/>
                <a:gd name="connsiteX12" fmla="*/ 917479 w 2737423"/>
                <a:gd name="connsiteY12" fmla="*/ 697837 h 1546843"/>
                <a:gd name="connsiteX13" fmla="*/ 769295 w 2737423"/>
                <a:gd name="connsiteY13" fmla="*/ 1482125 h 1546843"/>
                <a:gd name="connsiteX14" fmla="*/ 1799351 w 2737423"/>
                <a:gd name="connsiteY14" fmla="*/ 1489353 h 1546843"/>
                <a:gd name="connsiteX15" fmla="*/ 1770437 w 2737423"/>
                <a:gd name="connsiteY15" fmla="*/ 1380926 h 1546843"/>
                <a:gd name="connsiteX16" fmla="*/ 1763208 w 2737423"/>
                <a:gd name="connsiteY16" fmla="*/ 1080945 h 1546843"/>
                <a:gd name="connsiteX17" fmla="*/ 1774051 w 2737423"/>
                <a:gd name="connsiteY17" fmla="*/ 925534 h 1546843"/>
                <a:gd name="connsiteX18" fmla="*/ 1846336 w 2737423"/>
                <a:gd name="connsiteY18" fmla="*/ 1142387 h 1546843"/>
                <a:gd name="connsiteX19" fmla="*/ 1961991 w 2737423"/>
                <a:gd name="connsiteY19" fmla="*/ 1276114 h 1546843"/>
                <a:gd name="connsiteX20" fmla="*/ 2095718 w 2737423"/>
                <a:gd name="connsiteY20" fmla="*/ 1250814 h 1546843"/>
                <a:gd name="connsiteX21" fmla="*/ 2337871 w 2737423"/>
                <a:gd name="connsiteY21" fmla="*/ 1048417 h 1546843"/>
                <a:gd name="connsiteX22" fmla="*/ 2723694 w 2737423"/>
                <a:gd name="connsiteY22" fmla="*/ 677868 h 1546843"/>
                <a:gd name="connsiteX23" fmla="*/ 2592869 w 2737423"/>
                <a:gd name="connsiteY23" fmla="*/ 563929 h 1546843"/>
                <a:gd name="connsiteX24" fmla="*/ 2214249 w 2737423"/>
                <a:gd name="connsiteY24" fmla="*/ 824096 h 1546843"/>
                <a:gd name="connsiteX25" fmla="*/ 2073294 w 2737423"/>
                <a:gd name="connsiteY25" fmla="*/ 918226 h 1546843"/>
                <a:gd name="connsiteX26" fmla="*/ 1988529 w 2737423"/>
                <a:gd name="connsiteY26" fmla="*/ 765870 h 1546843"/>
                <a:gd name="connsiteX27" fmla="*/ 1858258 w 2737423"/>
                <a:gd name="connsiteY27" fmla="*/ 503111 h 1546843"/>
                <a:gd name="connsiteX28" fmla="*/ 1763287 w 2737423"/>
                <a:gd name="connsiteY28" fmla="*/ 257401 h 1546843"/>
                <a:gd name="connsiteX29" fmla="*/ 1630800 w 2737423"/>
                <a:gd name="connsiteY29" fmla="*/ 140189 h 1546843"/>
                <a:gd name="connsiteX30" fmla="*/ 1525011 w 2737423"/>
                <a:gd name="connsiteY30" fmla="*/ 91726 h 1546843"/>
                <a:gd name="connsiteX31" fmla="*/ 1415685 w 2737423"/>
                <a:gd name="connsiteY31" fmla="*/ 31342 h 1546843"/>
                <a:gd name="connsiteX32" fmla="*/ 1313590 w 2737423"/>
                <a:gd name="connsiteY32" fmla="*/ 102251 h 1546843"/>
                <a:gd name="connsiteX0" fmla="*/ 1313590 w 2732903"/>
                <a:gd name="connsiteY0" fmla="*/ 102251 h 1546843"/>
                <a:gd name="connsiteX1" fmla="*/ 1203265 w 2732903"/>
                <a:gd name="connsiteY1" fmla="*/ 370 h 1546843"/>
                <a:gd name="connsiteX2" fmla="*/ 1083733 w 2732903"/>
                <a:gd name="connsiteY2" fmla="*/ 72575 h 1546843"/>
                <a:gd name="connsiteX3" fmla="*/ 819895 w 2732903"/>
                <a:gd name="connsiteY3" fmla="*/ 188231 h 1546843"/>
                <a:gd name="connsiteX4" fmla="*/ 566899 w 2732903"/>
                <a:gd name="connsiteY4" fmla="*/ 903848 h 1546843"/>
                <a:gd name="connsiteX5" fmla="*/ 516299 w 2732903"/>
                <a:gd name="connsiteY5" fmla="*/ 911077 h 1546843"/>
                <a:gd name="connsiteX6" fmla="*/ 219933 w 2732903"/>
                <a:gd name="connsiteY6" fmla="*/ 535197 h 1546843"/>
                <a:gd name="connsiteX7" fmla="*/ 3079 w 2732903"/>
                <a:gd name="connsiteY7" fmla="*/ 618324 h 1546843"/>
                <a:gd name="connsiteX8" fmla="*/ 382573 w 2732903"/>
                <a:gd name="connsiteY8" fmla="*/ 1041189 h 1546843"/>
                <a:gd name="connsiteX9" fmla="*/ 491000 w 2732903"/>
                <a:gd name="connsiteY9" fmla="*/ 1211058 h 1546843"/>
                <a:gd name="connsiteX10" fmla="*/ 743996 w 2732903"/>
                <a:gd name="connsiteY10" fmla="*/ 1189372 h 1546843"/>
                <a:gd name="connsiteX11" fmla="*/ 834352 w 2732903"/>
                <a:gd name="connsiteY11" fmla="*/ 943605 h 1546843"/>
                <a:gd name="connsiteX12" fmla="*/ 917479 w 2732903"/>
                <a:gd name="connsiteY12" fmla="*/ 697837 h 1546843"/>
                <a:gd name="connsiteX13" fmla="*/ 769295 w 2732903"/>
                <a:gd name="connsiteY13" fmla="*/ 1482125 h 1546843"/>
                <a:gd name="connsiteX14" fmla="*/ 1799351 w 2732903"/>
                <a:gd name="connsiteY14" fmla="*/ 1489353 h 1546843"/>
                <a:gd name="connsiteX15" fmla="*/ 1770437 w 2732903"/>
                <a:gd name="connsiteY15" fmla="*/ 1380926 h 1546843"/>
                <a:gd name="connsiteX16" fmla="*/ 1763208 w 2732903"/>
                <a:gd name="connsiteY16" fmla="*/ 1080945 h 1546843"/>
                <a:gd name="connsiteX17" fmla="*/ 1774051 w 2732903"/>
                <a:gd name="connsiteY17" fmla="*/ 925534 h 1546843"/>
                <a:gd name="connsiteX18" fmla="*/ 1846336 w 2732903"/>
                <a:gd name="connsiteY18" fmla="*/ 1142387 h 1546843"/>
                <a:gd name="connsiteX19" fmla="*/ 1961991 w 2732903"/>
                <a:gd name="connsiteY19" fmla="*/ 1276114 h 1546843"/>
                <a:gd name="connsiteX20" fmla="*/ 2095718 w 2732903"/>
                <a:gd name="connsiteY20" fmla="*/ 1250814 h 1546843"/>
                <a:gd name="connsiteX21" fmla="*/ 2337871 w 2732903"/>
                <a:gd name="connsiteY21" fmla="*/ 1048417 h 1546843"/>
                <a:gd name="connsiteX22" fmla="*/ 2723694 w 2732903"/>
                <a:gd name="connsiteY22" fmla="*/ 677868 h 1546843"/>
                <a:gd name="connsiteX23" fmla="*/ 2592869 w 2732903"/>
                <a:gd name="connsiteY23" fmla="*/ 563929 h 1546843"/>
                <a:gd name="connsiteX24" fmla="*/ 2214249 w 2732903"/>
                <a:gd name="connsiteY24" fmla="*/ 824096 h 1546843"/>
                <a:gd name="connsiteX25" fmla="*/ 2073294 w 2732903"/>
                <a:gd name="connsiteY25" fmla="*/ 918226 h 1546843"/>
                <a:gd name="connsiteX26" fmla="*/ 1988529 w 2732903"/>
                <a:gd name="connsiteY26" fmla="*/ 765870 h 1546843"/>
                <a:gd name="connsiteX27" fmla="*/ 1858258 w 2732903"/>
                <a:gd name="connsiteY27" fmla="*/ 503111 h 1546843"/>
                <a:gd name="connsiteX28" fmla="*/ 1763287 w 2732903"/>
                <a:gd name="connsiteY28" fmla="*/ 257401 h 1546843"/>
                <a:gd name="connsiteX29" fmla="*/ 1630800 w 2732903"/>
                <a:gd name="connsiteY29" fmla="*/ 140189 h 1546843"/>
                <a:gd name="connsiteX30" fmla="*/ 1525011 w 2732903"/>
                <a:gd name="connsiteY30" fmla="*/ 91726 h 1546843"/>
                <a:gd name="connsiteX31" fmla="*/ 1415685 w 2732903"/>
                <a:gd name="connsiteY31" fmla="*/ 31342 h 1546843"/>
                <a:gd name="connsiteX32" fmla="*/ 1313590 w 2732903"/>
                <a:gd name="connsiteY32" fmla="*/ 102251 h 1546843"/>
                <a:gd name="connsiteX0" fmla="*/ 1313590 w 2746125"/>
                <a:gd name="connsiteY0" fmla="*/ 102251 h 1546843"/>
                <a:gd name="connsiteX1" fmla="*/ 1203265 w 2746125"/>
                <a:gd name="connsiteY1" fmla="*/ 370 h 1546843"/>
                <a:gd name="connsiteX2" fmla="*/ 1083733 w 2746125"/>
                <a:gd name="connsiteY2" fmla="*/ 72575 h 1546843"/>
                <a:gd name="connsiteX3" fmla="*/ 819895 w 2746125"/>
                <a:gd name="connsiteY3" fmla="*/ 188231 h 1546843"/>
                <a:gd name="connsiteX4" fmla="*/ 566899 w 2746125"/>
                <a:gd name="connsiteY4" fmla="*/ 903848 h 1546843"/>
                <a:gd name="connsiteX5" fmla="*/ 516299 w 2746125"/>
                <a:gd name="connsiteY5" fmla="*/ 911077 h 1546843"/>
                <a:gd name="connsiteX6" fmla="*/ 219933 w 2746125"/>
                <a:gd name="connsiteY6" fmla="*/ 535197 h 1546843"/>
                <a:gd name="connsiteX7" fmla="*/ 3079 w 2746125"/>
                <a:gd name="connsiteY7" fmla="*/ 618324 h 1546843"/>
                <a:gd name="connsiteX8" fmla="*/ 382573 w 2746125"/>
                <a:gd name="connsiteY8" fmla="*/ 1041189 h 1546843"/>
                <a:gd name="connsiteX9" fmla="*/ 491000 w 2746125"/>
                <a:gd name="connsiteY9" fmla="*/ 1211058 h 1546843"/>
                <a:gd name="connsiteX10" fmla="*/ 743996 w 2746125"/>
                <a:gd name="connsiteY10" fmla="*/ 1189372 h 1546843"/>
                <a:gd name="connsiteX11" fmla="*/ 834352 w 2746125"/>
                <a:gd name="connsiteY11" fmla="*/ 943605 h 1546843"/>
                <a:gd name="connsiteX12" fmla="*/ 917479 w 2746125"/>
                <a:gd name="connsiteY12" fmla="*/ 697837 h 1546843"/>
                <a:gd name="connsiteX13" fmla="*/ 769295 w 2746125"/>
                <a:gd name="connsiteY13" fmla="*/ 1482125 h 1546843"/>
                <a:gd name="connsiteX14" fmla="*/ 1799351 w 2746125"/>
                <a:gd name="connsiteY14" fmla="*/ 1489353 h 1546843"/>
                <a:gd name="connsiteX15" fmla="*/ 1770437 w 2746125"/>
                <a:gd name="connsiteY15" fmla="*/ 1380926 h 1546843"/>
                <a:gd name="connsiteX16" fmla="*/ 1763208 w 2746125"/>
                <a:gd name="connsiteY16" fmla="*/ 1080945 h 1546843"/>
                <a:gd name="connsiteX17" fmla="*/ 1774051 w 2746125"/>
                <a:gd name="connsiteY17" fmla="*/ 925534 h 1546843"/>
                <a:gd name="connsiteX18" fmla="*/ 1846336 w 2746125"/>
                <a:gd name="connsiteY18" fmla="*/ 1142387 h 1546843"/>
                <a:gd name="connsiteX19" fmla="*/ 1961991 w 2746125"/>
                <a:gd name="connsiteY19" fmla="*/ 1276114 h 1546843"/>
                <a:gd name="connsiteX20" fmla="*/ 2095718 w 2746125"/>
                <a:gd name="connsiteY20" fmla="*/ 1250814 h 1546843"/>
                <a:gd name="connsiteX21" fmla="*/ 2337871 w 2746125"/>
                <a:gd name="connsiteY21" fmla="*/ 1048417 h 1546843"/>
                <a:gd name="connsiteX22" fmla="*/ 2723694 w 2746125"/>
                <a:gd name="connsiteY22" fmla="*/ 677868 h 1546843"/>
                <a:gd name="connsiteX23" fmla="*/ 2688588 w 2746125"/>
                <a:gd name="connsiteY23" fmla="*/ 562826 h 1546843"/>
                <a:gd name="connsiteX24" fmla="*/ 2592869 w 2746125"/>
                <a:gd name="connsiteY24" fmla="*/ 563929 h 1546843"/>
                <a:gd name="connsiteX25" fmla="*/ 2214249 w 2746125"/>
                <a:gd name="connsiteY25" fmla="*/ 824096 h 1546843"/>
                <a:gd name="connsiteX26" fmla="*/ 2073294 w 2746125"/>
                <a:gd name="connsiteY26" fmla="*/ 918226 h 1546843"/>
                <a:gd name="connsiteX27" fmla="*/ 1988529 w 2746125"/>
                <a:gd name="connsiteY27" fmla="*/ 765870 h 1546843"/>
                <a:gd name="connsiteX28" fmla="*/ 1858258 w 2746125"/>
                <a:gd name="connsiteY28" fmla="*/ 503111 h 1546843"/>
                <a:gd name="connsiteX29" fmla="*/ 1763287 w 2746125"/>
                <a:gd name="connsiteY29" fmla="*/ 257401 h 1546843"/>
                <a:gd name="connsiteX30" fmla="*/ 1630800 w 2746125"/>
                <a:gd name="connsiteY30" fmla="*/ 140189 h 1546843"/>
                <a:gd name="connsiteX31" fmla="*/ 1525011 w 2746125"/>
                <a:gd name="connsiteY31" fmla="*/ 91726 h 1546843"/>
                <a:gd name="connsiteX32" fmla="*/ 1415685 w 2746125"/>
                <a:gd name="connsiteY32" fmla="*/ 31342 h 1546843"/>
                <a:gd name="connsiteX33" fmla="*/ 1313590 w 2746125"/>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92869 w 2738788"/>
                <a:gd name="connsiteY24" fmla="*/ 563929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38788"/>
                <a:gd name="connsiteY0" fmla="*/ 102251 h 1546843"/>
                <a:gd name="connsiteX1" fmla="*/ 1203265 w 2738788"/>
                <a:gd name="connsiteY1" fmla="*/ 370 h 1546843"/>
                <a:gd name="connsiteX2" fmla="*/ 1083733 w 2738788"/>
                <a:gd name="connsiteY2" fmla="*/ 72575 h 1546843"/>
                <a:gd name="connsiteX3" fmla="*/ 819895 w 2738788"/>
                <a:gd name="connsiteY3" fmla="*/ 188231 h 1546843"/>
                <a:gd name="connsiteX4" fmla="*/ 566899 w 2738788"/>
                <a:gd name="connsiteY4" fmla="*/ 903848 h 1546843"/>
                <a:gd name="connsiteX5" fmla="*/ 516299 w 2738788"/>
                <a:gd name="connsiteY5" fmla="*/ 911077 h 1546843"/>
                <a:gd name="connsiteX6" fmla="*/ 219933 w 2738788"/>
                <a:gd name="connsiteY6" fmla="*/ 535197 h 1546843"/>
                <a:gd name="connsiteX7" fmla="*/ 3079 w 2738788"/>
                <a:gd name="connsiteY7" fmla="*/ 618324 h 1546843"/>
                <a:gd name="connsiteX8" fmla="*/ 382573 w 2738788"/>
                <a:gd name="connsiteY8" fmla="*/ 1041189 h 1546843"/>
                <a:gd name="connsiteX9" fmla="*/ 491000 w 2738788"/>
                <a:gd name="connsiteY9" fmla="*/ 1211058 h 1546843"/>
                <a:gd name="connsiteX10" fmla="*/ 743996 w 2738788"/>
                <a:gd name="connsiteY10" fmla="*/ 1189372 h 1546843"/>
                <a:gd name="connsiteX11" fmla="*/ 834352 w 2738788"/>
                <a:gd name="connsiteY11" fmla="*/ 943605 h 1546843"/>
                <a:gd name="connsiteX12" fmla="*/ 917479 w 2738788"/>
                <a:gd name="connsiteY12" fmla="*/ 697837 h 1546843"/>
                <a:gd name="connsiteX13" fmla="*/ 769295 w 2738788"/>
                <a:gd name="connsiteY13" fmla="*/ 1482125 h 1546843"/>
                <a:gd name="connsiteX14" fmla="*/ 1799351 w 2738788"/>
                <a:gd name="connsiteY14" fmla="*/ 1489353 h 1546843"/>
                <a:gd name="connsiteX15" fmla="*/ 1770437 w 2738788"/>
                <a:gd name="connsiteY15" fmla="*/ 1380926 h 1546843"/>
                <a:gd name="connsiteX16" fmla="*/ 1763208 w 2738788"/>
                <a:gd name="connsiteY16" fmla="*/ 1080945 h 1546843"/>
                <a:gd name="connsiteX17" fmla="*/ 1774051 w 2738788"/>
                <a:gd name="connsiteY17" fmla="*/ 925534 h 1546843"/>
                <a:gd name="connsiteX18" fmla="*/ 1846336 w 2738788"/>
                <a:gd name="connsiteY18" fmla="*/ 1142387 h 1546843"/>
                <a:gd name="connsiteX19" fmla="*/ 1961991 w 2738788"/>
                <a:gd name="connsiteY19" fmla="*/ 1276114 h 1546843"/>
                <a:gd name="connsiteX20" fmla="*/ 2095718 w 2738788"/>
                <a:gd name="connsiteY20" fmla="*/ 1250814 h 1546843"/>
                <a:gd name="connsiteX21" fmla="*/ 2337871 w 2738788"/>
                <a:gd name="connsiteY21" fmla="*/ 1048417 h 1546843"/>
                <a:gd name="connsiteX22" fmla="*/ 2723694 w 2738788"/>
                <a:gd name="connsiteY22" fmla="*/ 677868 h 1546843"/>
                <a:gd name="connsiteX23" fmla="*/ 2654082 w 2738788"/>
                <a:gd name="connsiteY23" fmla="*/ 634713 h 1546843"/>
                <a:gd name="connsiteX24" fmla="*/ 2538235 w 2738788"/>
                <a:gd name="connsiteY24" fmla="*/ 598435 h 1546843"/>
                <a:gd name="connsiteX25" fmla="*/ 2214249 w 2738788"/>
                <a:gd name="connsiteY25" fmla="*/ 824096 h 1546843"/>
                <a:gd name="connsiteX26" fmla="*/ 2073294 w 2738788"/>
                <a:gd name="connsiteY26" fmla="*/ 918226 h 1546843"/>
                <a:gd name="connsiteX27" fmla="*/ 1988529 w 2738788"/>
                <a:gd name="connsiteY27" fmla="*/ 765870 h 1546843"/>
                <a:gd name="connsiteX28" fmla="*/ 1858258 w 2738788"/>
                <a:gd name="connsiteY28" fmla="*/ 503111 h 1546843"/>
                <a:gd name="connsiteX29" fmla="*/ 1763287 w 2738788"/>
                <a:gd name="connsiteY29" fmla="*/ 257401 h 1546843"/>
                <a:gd name="connsiteX30" fmla="*/ 1630800 w 2738788"/>
                <a:gd name="connsiteY30" fmla="*/ 140189 h 1546843"/>
                <a:gd name="connsiteX31" fmla="*/ 1525011 w 2738788"/>
                <a:gd name="connsiteY31" fmla="*/ 91726 h 1546843"/>
                <a:gd name="connsiteX32" fmla="*/ 1415685 w 2738788"/>
                <a:gd name="connsiteY32" fmla="*/ 31342 h 1546843"/>
                <a:gd name="connsiteX33" fmla="*/ 1313590 w 2738788"/>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095718 w 2709125"/>
                <a:gd name="connsiteY20" fmla="*/ 1250814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4051 w 2709125"/>
                <a:gd name="connsiteY17" fmla="*/ 925534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46336 w 2709125"/>
                <a:gd name="connsiteY18" fmla="*/ 1142387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94179 w 2709125"/>
                <a:gd name="connsiteY17" fmla="*/ 960040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63208 w 2709125"/>
                <a:gd name="connsiteY16" fmla="*/ 1080945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799351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6843"/>
                <a:gd name="connsiteX1" fmla="*/ 1203265 w 2709125"/>
                <a:gd name="connsiteY1" fmla="*/ 370 h 1546843"/>
                <a:gd name="connsiteX2" fmla="*/ 1083733 w 2709125"/>
                <a:gd name="connsiteY2" fmla="*/ 72575 h 1546843"/>
                <a:gd name="connsiteX3" fmla="*/ 819895 w 2709125"/>
                <a:gd name="connsiteY3" fmla="*/ 188231 h 1546843"/>
                <a:gd name="connsiteX4" fmla="*/ 566899 w 2709125"/>
                <a:gd name="connsiteY4" fmla="*/ 903848 h 1546843"/>
                <a:gd name="connsiteX5" fmla="*/ 516299 w 2709125"/>
                <a:gd name="connsiteY5" fmla="*/ 911077 h 1546843"/>
                <a:gd name="connsiteX6" fmla="*/ 219933 w 2709125"/>
                <a:gd name="connsiteY6" fmla="*/ 535197 h 1546843"/>
                <a:gd name="connsiteX7" fmla="*/ 3079 w 2709125"/>
                <a:gd name="connsiteY7" fmla="*/ 618324 h 1546843"/>
                <a:gd name="connsiteX8" fmla="*/ 382573 w 2709125"/>
                <a:gd name="connsiteY8" fmla="*/ 1041189 h 1546843"/>
                <a:gd name="connsiteX9" fmla="*/ 491000 w 2709125"/>
                <a:gd name="connsiteY9" fmla="*/ 1211058 h 1546843"/>
                <a:gd name="connsiteX10" fmla="*/ 743996 w 2709125"/>
                <a:gd name="connsiteY10" fmla="*/ 1189372 h 1546843"/>
                <a:gd name="connsiteX11" fmla="*/ 834352 w 2709125"/>
                <a:gd name="connsiteY11" fmla="*/ 943605 h 1546843"/>
                <a:gd name="connsiteX12" fmla="*/ 917479 w 2709125"/>
                <a:gd name="connsiteY12" fmla="*/ 697837 h 1546843"/>
                <a:gd name="connsiteX13" fmla="*/ 769295 w 2709125"/>
                <a:gd name="connsiteY13" fmla="*/ 1482125 h 1546843"/>
                <a:gd name="connsiteX14" fmla="*/ 1491675 w 2709125"/>
                <a:gd name="connsiteY14" fmla="*/ 1489353 h 1546843"/>
                <a:gd name="connsiteX15" fmla="*/ 1770437 w 2709125"/>
                <a:gd name="connsiteY15" fmla="*/ 1380926 h 1546843"/>
                <a:gd name="connsiteX16" fmla="*/ 1771834 w 2709125"/>
                <a:gd name="connsiteY16" fmla="*/ 1129828 h 1546843"/>
                <a:gd name="connsiteX17" fmla="*/ 1776926 w 2709125"/>
                <a:gd name="connsiteY17" fmla="*/ 962915 h 1546843"/>
                <a:gd name="connsiteX18" fmla="*/ 1863589 w 2709125"/>
                <a:gd name="connsiteY18" fmla="*/ 1133760 h 1546843"/>
                <a:gd name="connsiteX19" fmla="*/ 1961991 w 2709125"/>
                <a:gd name="connsiteY19" fmla="*/ 1276114 h 1546843"/>
                <a:gd name="connsiteX20" fmla="*/ 2104345 w 2709125"/>
                <a:gd name="connsiteY20" fmla="*/ 1256565 h 1546843"/>
                <a:gd name="connsiteX21" fmla="*/ 2337871 w 2709125"/>
                <a:gd name="connsiteY21" fmla="*/ 1048417 h 1546843"/>
                <a:gd name="connsiteX22" fmla="*/ 2689189 w 2709125"/>
                <a:gd name="connsiteY22" fmla="*/ 712373 h 1546843"/>
                <a:gd name="connsiteX23" fmla="*/ 2654082 w 2709125"/>
                <a:gd name="connsiteY23" fmla="*/ 634713 h 1546843"/>
                <a:gd name="connsiteX24" fmla="*/ 2538235 w 2709125"/>
                <a:gd name="connsiteY24" fmla="*/ 598435 h 1546843"/>
                <a:gd name="connsiteX25" fmla="*/ 2214249 w 2709125"/>
                <a:gd name="connsiteY25" fmla="*/ 824096 h 1546843"/>
                <a:gd name="connsiteX26" fmla="*/ 2073294 w 2709125"/>
                <a:gd name="connsiteY26" fmla="*/ 918226 h 1546843"/>
                <a:gd name="connsiteX27" fmla="*/ 1988529 w 2709125"/>
                <a:gd name="connsiteY27" fmla="*/ 765870 h 1546843"/>
                <a:gd name="connsiteX28" fmla="*/ 1858258 w 2709125"/>
                <a:gd name="connsiteY28" fmla="*/ 503111 h 1546843"/>
                <a:gd name="connsiteX29" fmla="*/ 1763287 w 2709125"/>
                <a:gd name="connsiteY29" fmla="*/ 257401 h 1546843"/>
                <a:gd name="connsiteX30" fmla="*/ 1630800 w 2709125"/>
                <a:gd name="connsiteY30" fmla="*/ 140189 h 1546843"/>
                <a:gd name="connsiteX31" fmla="*/ 1525011 w 2709125"/>
                <a:gd name="connsiteY31" fmla="*/ 91726 h 1546843"/>
                <a:gd name="connsiteX32" fmla="*/ 1415685 w 2709125"/>
                <a:gd name="connsiteY32" fmla="*/ 31342 h 1546843"/>
                <a:gd name="connsiteX33" fmla="*/ 1313590 w 2709125"/>
                <a:gd name="connsiteY33" fmla="*/ 102251 h 1546843"/>
                <a:gd name="connsiteX0" fmla="*/ 1313590 w 2709125"/>
                <a:gd name="connsiteY0" fmla="*/ 102251 h 1543393"/>
                <a:gd name="connsiteX1" fmla="*/ 1203265 w 2709125"/>
                <a:gd name="connsiteY1" fmla="*/ 370 h 1543393"/>
                <a:gd name="connsiteX2" fmla="*/ 1083733 w 2709125"/>
                <a:gd name="connsiteY2" fmla="*/ 72575 h 1543393"/>
                <a:gd name="connsiteX3" fmla="*/ 819895 w 2709125"/>
                <a:gd name="connsiteY3" fmla="*/ 188231 h 1543393"/>
                <a:gd name="connsiteX4" fmla="*/ 566899 w 2709125"/>
                <a:gd name="connsiteY4" fmla="*/ 903848 h 1543393"/>
                <a:gd name="connsiteX5" fmla="*/ 516299 w 2709125"/>
                <a:gd name="connsiteY5" fmla="*/ 911077 h 1543393"/>
                <a:gd name="connsiteX6" fmla="*/ 219933 w 2709125"/>
                <a:gd name="connsiteY6" fmla="*/ 535197 h 1543393"/>
                <a:gd name="connsiteX7" fmla="*/ 3079 w 2709125"/>
                <a:gd name="connsiteY7" fmla="*/ 618324 h 1543393"/>
                <a:gd name="connsiteX8" fmla="*/ 382573 w 2709125"/>
                <a:gd name="connsiteY8" fmla="*/ 1041189 h 1543393"/>
                <a:gd name="connsiteX9" fmla="*/ 491000 w 2709125"/>
                <a:gd name="connsiteY9" fmla="*/ 1211058 h 1543393"/>
                <a:gd name="connsiteX10" fmla="*/ 743996 w 2709125"/>
                <a:gd name="connsiteY10" fmla="*/ 1189372 h 1543393"/>
                <a:gd name="connsiteX11" fmla="*/ 834352 w 2709125"/>
                <a:gd name="connsiteY11" fmla="*/ 943605 h 1543393"/>
                <a:gd name="connsiteX12" fmla="*/ 917479 w 2709125"/>
                <a:gd name="connsiteY12" fmla="*/ 697837 h 1543393"/>
                <a:gd name="connsiteX13" fmla="*/ 769295 w 2709125"/>
                <a:gd name="connsiteY13" fmla="*/ 1482125 h 1543393"/>
                <a:gd name="connsiteX14" fmla="*/ 1491675 w 2709125"/>
                <a:gd name="connsiteY14" fmla="*/ 1489353 h 1543393"/>
                <a:gd name="connsiteX15" fmla="*/ 1770437 w 2709125"/>
                <a:gd name="connsiteY15" fmla="*/ 1464315 h 1543393"/>
                <a:gd name="connsiteX16" fmla="*/ 1771834 w 2709125"/>
                <a:gd name="connsiteY16" fmla="*/ 1129828 h 1543393"/>
                <a:gd name="connsiteX17" fmla="*/ 1776926 w 2709125"/>
                <a:gd name="connsiteY17" fmla="*/ 962915 h 1543393"/>
                <a:gd name="connsiteX18" fmla="*/ 1863589 w 2709125"/>
                <a:gd name="connsiteY18" fmla="*/ 1133760 h 1543393"/>
                <a:gd name="connsiteX19" fmla="*/ 1961991 w 2709125"/>
                <a:gd name="connsiteY19" fmla="*/ 1276114 h 1543393"/>
                <a:gd name="connsiteX20" fmla="*/ 2104345 w 2709125"/>
                <a:gd name="connsiteY20" fmla="*/ 1256565 h 1543393"/>
                <a:gd name="connsiteX21" fmla="*/ 2337871 w 2709125"/>
                <a:gd name="connsiteY21" fmla="*/ 1048417 h 1543393"/>
                <a:gd name="connsiteX22" fmla="*/ 2689189 w 2709125"/>
                <a:gd name="connsiteY22" fmla="*/ 712373 h 1543393"/>
                <a:gd name="connsiteX23" fmla="*/ 2654082 w 2709125"/>
                <a:gd name="connsiteY23" fmla="*/ 634713 h 1543393"/>
                <a:gd name="connsiteX24" fmla="*/ 2538235 w 2709125"/>
                <a:gd name="connsiteY24" fmla="*/ 598435 h 1543393"/>
                <a:gd name="connsiteX25" fmla="*/ 2214249 w 2709125"/>
                <a:gd name="connsiteY25" fmla="*/ 824096 h 1543393"/>
                <a:gd name="connsiteX26" fmla="*/ 2073294 w 2709125"/>
                <a:gd name="connsiteY26" fmla="*/ 918226 h 1543393"/>
                <a:gd name="connsiteX27" fmla="*/ 1988529 w 2709125"/>
                <a:gd name="connsiteY27" fmla="*/ 765870 h 1543393"/>
                <a:gd name="connsiteX28" fmla="*/ 1858258 w 2709125"/>
                <a:gd name="connsiteY28" fmla="*/ 503111 h 1543393"/>
                <a:gd name="connsiteX29" fmla="*/ 1763287 w 2709125"/>
                <a:gd name="connsiteY29" fmla="*/ 257401 h 1543393"/>
                <a:gd name="connsiteX30" fmla="*/ 1630800 w 2709125"/>
                <a:gd name="connsiteY30" fmla="*/ 140189 h 1543393"/>
                <a:gd name="connsiteX31" fmla="*/ 1525011 w 2709125"/>
                <a:gd name="connsiteY31" fmla="*/ 91726 h 1543393"/>
                <a:gd name="connsiteX32" fmla="*/ 1415685 w 2709125"/>
                <a:gd name="connsiteY32" fmla="*/ 31342 h 1543393"/>
                <a:gd name="connsiteX33" fmla="*/ 1313590 w 2709125"/>
                <a:gd name="connsiteY33" fmla="*/ 102251 h 1543393"/>
                <a:gd name="connsiteX0" fmla="*/ 1313590 w 2709125"/>
                <a:gd name="connsiteY0" fmla="*/ 102251 h 1600571"/>
                <a:gd name="connsiteX1" fmla="*/ 1203265 w 2709125"/>
                <a:gd name="connsiteY1" fmla="*/ 370 h 1600571"/>
                <a:gd name="connsiteX2" fmla="*/ 1083733 w 2709125"/>
                <a:gd name="connsiteY2" fmla="*/ 72575 h 1600571"/>
                <a:gd name="connsiteX3" fmla="*/ 819895 w 2709125"/>
                <a:gd name="connsiteY3" fmla="*/ 188231 h 1600571"/>
                <a:gd name="connsiteX4" fmla="*/ 566899 w 2709125"/>
                <a:gd name="connsiteY4" fmla="*/ 903848 h 1600571"/>
                <a:gd name="connsiteX5" fmla="*/ 516299 w 2709125"/>
                <a:gd name="connsiteY5" fmla="*/ 911077 h 1600571"/>
                <a:gd name="connsiteX6" fmla="*/ 219933 w 2709125"/>
                <a:gd name="connsiteY6" fmla="*/ 535197 h 1600571"/>
                <a:gd name="connsiteX7" fmla="*/ 3079 w 2709125"/>
                <a:gd name="connsiteY7" fmla="*/ 618324 h 1600571"/>
                <a:gd name="connsiteX8" fmla="*/ 382573 w 2709125"/>
                <a:gd name="connsiteY8" fmla="*/ 1041189 h 1600571"/>
                <a:gd name="connsiteX9" fmla="*/ 491000 w 2709125"/>
                <a:gd name="connsiteY9" fmla="*/ 1211058 h 1600571"/>
                <a:gd name="connsiteX10" fmla="*/ 743996 w 2709125"/>
                <a:gd name="connsiteY10" fmla="*/ 1189372 h 1600571"/>
                <a:gd name="connsiteX11" fmla="*/ 834352 w 2709125"/>
                <a:gd name="connsiteY11" fmla="*/ 943605 h 1600571"/>
                <a:gd name="connsiteX12" fmla="*/ 917479 w 2709125"/>
                <a:gd name="connsiteY12" fmla="*/ 697837 h 1600571"/>
                <a:gd name="connsiteX13" fmla="*/ 769295 w 2709125"/>
                <a:gd name="connsiteY13" fmla="*/ 1482125 h 1600571"/>
                <a:gd name="connsiteX14" fmla="*/ 1491675 w 2709125"/>
                <a:gd name="connsiteY14" fmla="*/ 1489353 h 1600571"/>
                <a:gd name="connsiteX15" fmla="*/ 1770437 w 2709125"/>
                <a:gd name="connsiteY15" fmla="*/ 1464315 h 1600571"/>
                <a:gd name="connsiteX16" fmla="*/ 1771834 w 2709125"/>
                <a:gd name="connsiteY16" fmla="*/ 1129828 h 1600571"/>
                <a:gd name="connsiteX17" fmla="*/ 1776926 w 2709125"/>
                <a:gd name="connsiteY17" fmla="*/ 962915 h 1600571"/>
                <a:gd name="connsiteX18" fmla="*/ 1863589 w 2709125"/>
                <a:gd name="connsiteY18" fmla="*/ 1133760 h 1600571"/>
                <a:gd name="connsiteX19" fmla="*/ 1961991 w 2709125"/>
                <a:gd name="connsiteY19" fmla="*/ 1276114 h 1600571"/>
                <a:gd name="connsiteX20" fmla="*/ 2104345 w 2709125"/>
                <a:gd name="connsiteY20" fmla="*/ 1256565 h 1600571"/>
                <a:gd name="connsiteX21" fmla="*/ 2337871 w 2709125"/>
                <a:gd name="connsiteY21" fmla="*/ 1048417 h 1600571"/>
                <a:gd name="connsiteX22" fmla="*/ 2689189 w 2709125"/>
                <a:gd name="connsiteY22" fmla="*/ 712373 h 1600571"/>
                <a:gd name="connsiteX23" fmla="*/ 2654082 w 2709125"/>
                <a:gd name="connsiteY23" fmla="*/ 634713 h 1600571"/>
                <a:gd name="connsiteX24" fmla="*/ 2538235 w 2709125"/>
                <a:gd name="connsiteY24" fmla="*/ 598435 h 1600571"/>
                <a:gd name="connsiteX25" fmla="*/ 2214249 w 2709125"/>
                <a:gd name="connsiteY25" fmla="*/ 824096 h 1600571"/>
                <a:gd name="connsiteX26" fmla="*/ 2073294 w 2709125"/>
                <a:gd name="connsiteY26" fmla="*/ 918226 h 1600571"/>
                <a:gd name="connsiteX27" fmla="*/ 1988529 w 2709125"/>
                <a:gd name="connsiteY27" fmla="*/ 765870 h 1600571"/>
                <a:gd name="connsiteX28" fmla="*/ 1858258 w 2709125"/>
                <a:gd name="connsiteY28" fmla="*/ 503111 h 1600571"/>
                <a:gd name="connsiteX29" fmla="*/ 1763287 w 2709125"/>
                <a:gd name="connsiteY29" fmla="*/ 257401 h 1600571"/>
                <a:gd name="connsiteX30" fmla="*/ 1630800 w 2709125"/>
                <a:gd name="connsiteY30" fmla="*/ 140189 h 1600571"/>
                <a:gd name="connsiteX31" fmla="*/ 1525011 w 2709125"/>
                <a:gd name="connsiteY31" fmla="*/ 91726 h 1600571"/>
                <a:gd name="connsiteX32" fmla="*/ 1415685 w 2709125"/>
                <a:gd name="connsiteY32" fmla="*/ 31342 h 1600571"/>
                <a:gd name="connsiteX33" fmla="*/ 1313590 w 2709125"/>
                <a:gd name="connsiteY33" fmla="*/ 102251 h 160057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71834 w 2709125"/>
                <a:gd name="connsiteY16" fmla="*/ 1129828 h 1547651"/>
                <a:gd name="connsiteX17" fmla="*/ 1776926 w 2709125"/>
                <a:gd name="connsiteY17" fmla="*/ 962915 h 1547651"/>
                <a:gd name="connsiteX18" fmla="*/ 1863589 w 2709125"/>
                <a:gd name="connsiteY18" fmla="*/ 1133760 h 1547651"/>
                <a:gd name="connsiteX19" fmla="*/ 1961991 w 2709125"/>
                <a:gd name="connsiteY19" fmla="*/ 1276114 h 1547651"/>
                <a:gd name="connsiteX20" fmla="*/ 2104345 w 2709125"/>
                <a:gd name="connsiteY20" fmla="*/ 1256565 h 1547651"/>
                <a:gd name="connsiteX21" fmla="*/ 2337871 w 2709125"/>
                <a:gd name="connsiteY21" fmla="*/ 1048417 h 1547651"/>
                <a:gd name="connsiteX22" fmla="*/ 2689189 w 2709125"/>
                <a:gd name="connsiteY22" fmla="*/ 712373 h 1547651"/>
                <a:gd name="connsiteX23" fmla="*/ 2654082 w 2709125"/>
                <a:gd name="connsiteY23" fmla="*/ 634713 h 1547651"/>
                <a:gd name="connsiteX24" fmla="*/ 2538235 w 2709125"/>
                <a:gd name="connsiteY24" fmla="*/ 598435 h 1547651"/>
                <a:gd name="connsiteX25" fmla="*/ 2214249 w 2709125"/>
                <a:gd name="connsiteY25" fmla="*/ 824096 h 1547651"/>
                <a:gd name="connsiteX26" fmla="*/ 2073294 w 2709125"/>
                <a:gd name="connsiteY26" fmla="*/ 918226 h 1547651"/>
                <a:gd name="connsiteX27" fmla="*/ 1988529 w 2709125"/>
                <a:gd name="connsiteY27" fmla="*/ 765870 h 1547651"/>
                <a:gd name="connsiteX28" fmla="*/ 1858258 w 2709125"/>
                <a:gd name="connsiteY28" fmla="*/ 503111 h 1547651"/>
                <a:gd name="connsiteX29" fmla="*/ 1763287 w 2709125"/>
                <a:gd name="connsiteY29" fmla="*/ 257401 h 1547651"/>
                <a:gd name="connsiteX30" fmla="*/ 1630800 w 2709125"/>
                <a:gd name="connsiteY30" fmla="*/ 140189 h 1547651"/>
                <a:gd name="connsiteX31" fmla="*/ 1525011 w 2709125"/>
                <a:gd name="connsiteY31" fmla="*/ 91726 h 1547651"/>
                <a:gd name="connsiteX32" fmla="*/ 1415685 w 2709125"/>
                <a:gd name="connsiteY32" fmla="*/ 31342 h 1547651"/>
                <a:gd name="connsiteX33" fmla="*/ 1313590 w 2709125"/>
                <a:gd name="connsiteY33"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811570 w 2709125"/>
                <a:gd name="connsiteY16" fmla="*/ 1298947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651"/>
                <a:gd name="connsiteX1" fmla="*/ 1203265 w 2709125"/>
                <a:gd name="connsiteY1" fmla="*/ 370 h 1547651"/>
                <a:gd name="connsiteX2" fmla="*/ 1083733 w 2709125"/>
                <a:gd name="connsiteY2" fmla="*/ 72575 h 1547651"/>
                <a:gd name="connsiteX3" fmla="*/ 819895 w 2709125"/>
                <a:gd name="connsiteY3" fmla="*/ 188231 h 1547651"/>
                <a:gd name="connsiteX4" fmla="*/ 566899 w 2709125"/>
                <a:gd name="connsiteY4" fmla="*/ 903848 h 1547651"/>
                <a:gd name="connsiteX5" fmla="*/ 516299 w 2709125"/>
                <a:gd name="connsiteY5" fmla="*/ 911077 h 1547651"/>
                <a:gd name="connsiteX6" fmla="*/ 219933 w 2709125"/>
                <a:gd name="connsiteY6" fmla="*/ 535197 h 1547651"/>
                <a:gd name="connsiteX7" fmla="*/ 3079 w 2709125"/>
                <a:gd name="connsiteY7" fmla="*/ 618324 h 1547651"/>
                <a:gd name="connsiteX8" fmla="*/ 382573 w 2709125"/>
                <a:gd name="connsiteY8" fmla="*/ 1041189 h 1547651"/>
                <a:gd name="connsiteX9" fmla="*/ 491000 w 2709125"/>
                <a:gd name="connsiteY9" fmla="*/ 1211058 h 1547651"/>
                <a:gd name="connsiteX10" fmla="*/ 743996 w 2709125"/>
                <a:gd name="connsiteY10" fmla="*/ 1189372 h 1547651"/>
                <a:gd name="connsiteX11" fmla="*/ 834352 w 2709125"/>
                <a:gd name="connsiteY11" fmla="*/ 943605 h 1547651"/>
                <a:gd name="connsiteX12" fmla="*/ 917479 w 2709125"/>
                <a:gd name="connsiteY12" fmla="*/ 697837 h 1547651"/>
                <a:gd name="connsiteX13" fmla="*/ 769295 w 2709125"/>
                <a:gd name="connsiteY13" fmla="*/ 1482125 h 1547651"/>
                <a:gd name="connsiteX14" fmla="*/ 1149494 w 2709125"/>
                <a:gd name="connsiteY14" fmla="*/ 1500855 h 1547651"/>
                <a:gd name="connsiteX15" fmla="*/ 1770437 w 2709125"/>
                <a:gd name="connsiteY15" fmla="*/ 1464315 h 1547651"/>
                <a:gd name="connsiteX16" fmla="*/ 1768438 w 2709125"/>
                <a:gd name="connsiteY16" fmla="*/ 1336328 h 1547651"/>
                <a:gd name="connsiteX17" fmla="*/ 1771834 w 2709125"/>
                <a:gd name="connsiteY17" fmla="*/ 1129828 h 1547651"/>
                <a:gd name="connsiteX18" fmla="*/ 1776926 w 2709125"/>
                <a:gd name="connsiteY18" fmla="*/ 962915 h 1547651"/>
                <a:gd name="connsiteX19" fmla="*/ 1863589 w 2709125"/>
                <a:gd name="connsiteY19" fmla="*/ 1133760 h 1547651"/>
                <a:gd name="connsiteX20" fmla="*/ 1961991 w 2709125"/>
                <a:gd name="connsiteY20" fmla="*/ 1276114 h 1547651"/>
                <a:gd name="connsiteX21" fmla="*/ 2104345 w 2709125"/>
                <a:gd name="connsiteY21" fmla="*/ 1256565 h 1547651"/>
                <a:gd name="connsiteX22" fmla="*/ 2337871 w 2709125"/>
                <a:gd name="connsiteY22" fmla="*/ 1048417 h 1547651"/>
                <a:gd name="connsiteX23" fmla="*/ 2689189 w 2709125"/>
                <a:gd name="connsiteY23" fmla="*/ 712373 h 1547651"/>
                <a:gd name="connsiteX24" fmla="*/ 2654082 w 2709125"/>
                <a:gd name="connsiteY24" fmla="*/ 634713 h 1547651"/>
                <a:gd name="connsiteX25" fmla="*/ 2538235 w 2709125"/>
                <a:gd name="connsiteY25" fmla="*/ 598435 h 1547651"/>
                <a:gd name="connsiteX26" fmla="*/ 2214249 w 2709125"/>
                <a:gd name="connsiteY26" fmla="*/ 824096 h 1547651"/>
                <a:gd name="connsiteX27" fmla="*/ 2073294 w 2709125"/>
                <a:gd name="connsiteY27" fmla="*/ 918226 h 1547651"/>
                <a:gd name="connsiteX28" fmla="*/ 1988529 w 2709125"/>
                <a:gd name="connsiteY28" fmla="*/ 765870 h 1547651"/>
                <a:gd name="connsiteX29" fmla="*/ 1858258 w 2709125"/>
                <a:gd name="connsiteY29" fmla="*/ 503111 h 1547651"/>
                <a:gd name="connsiteX30" fmla="*/ 1763287 w 2709125"/>
                <a:gd name="connsiteY30" fmla="*/ 257401 h 1547651"/>
                <a:gd name="connsiteX31" fmla="*/ 1630800 w 2709125"/>
                <a:gd name="connsiteY31" fmla="*/ 140189 h 1547651"/>
                <a:gd name="connsiteX32" fmla="*/ 1525011 w 2709125"/>
                <a:gd name="connsiteY32" fmla="*/ 91726 h 1547651"/>
                <a:gd name="connsiteX33" fmla="*/ 1415685 w 2709125"/>
                <a:gd name="connsiteY33" fmla="*/ 31342 h 1547651"/>
                <a:gd name="connsiteX34" fmla="*/ 1313590 w 2709125"/>
                <a:gd name="connsiteY34" fmla="*/ 102251 h 1547651"/>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336328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527"/>
                <a:gd name="connsiteX1" fmla="*/ 1203265 w 2709125"/>
                <a:gd name="connsiteY1" fmla="*/ 370 h 1547527"/>
                <a:gd name="connsiteX2" fmla="*/ 1083733 w 2709125"/>
                <a:gd name="connsiteY2" fmla="*/ 72575 h 1547527"/>
                <a:gd name="connsiteX3" fmla="*/ 819895 w 2709125"/>
                <a:gd name="connsiteY3" fmla="*/ 188231 h 1547527"/>
                <a:gd name="connsiteX4" fmla="*/ 566899 w 2709125"/>
                <a:gd name="connsiteY4" fmla="*/ 903848 h 1547527"/>
                <a:gd name="connsiteX5" fmla="*/ 516299 w 2709125"/>
                <a:gd name="connsiteY5" fmla="*/ 911077 h 1547527"/>
                <a:gd name="connsiteX6" fmla="*/ 219933 w 2709125"/>
                <a:gd name="connsiteY6" fmla="*/ 535197 h 1547527"/>
                <a:gd name="connsiteX7" fmla="*/ 3079 w 2709125"/>
                <a:gd name="connsiteY7" fmla="*/ 618324 h 1547527"/>
                <a:gd name="connsiteX8" fmla="*/ 382573 w 2709125"/>
                <a:gd name="connsiteY8" fmla="*/ 1041189 h 1547527"/>
                <a:gd name="connsiteX9" fmla="*/ 491000 w 2709125"/>
                <a:gd name="connsiteY9" fmla="*/ 1211058 h 1547527"/>
                <a:gd name="connsiteX10" fmla="*/ 743996 w 2709125"/>
                <a:gd name="connsiteY10" fmla="*/ 1189372 h 1547527"/>
                <a:gd name="connsiteX11" fmla="*/ 834352 w 2709125"/>
                <a:gd name="connsiteY11" fmla="*/ 943605 h 1547527"/>
                <a:gd name="connsiteX12" fmla="*/ 917479 w 2709125"/>
                <a:gd name="connsiteY12" fmla="*/ 697837 h 1547527"/>
                <a:gd name="connsiteX13" fmla="*/ 769295 w 2709125"/>
                <a:gd name="connsiteY13" fmla="*/ 1482125 h 1547527"/>
                <a:gd name="connsiteX14" fmla="*/ 1149494 w 2709125"/>
                <a:gd name="connsiteY14" fmla="*/ 1500855 h 1547527"/>
                <a:gd name="connsiteX15" fmla="*/ 1592157 w 2709125"/>
                <a:gd name="connsiteY15" fmla="*/ 1467191 h 1547527"/>
                <a:gd name="connsiteX16" fmla="*/ 1768438 w 2709125"/>
                <a:gd name="connsiteY16" fmla="*/ 1477226 h 1547527"/>
                <a:gd name="connsiteX17" fmla="*/ 1771834 w 2709125"/>
                <a:gd name="connsiteY17" fmla="*/ 1129828 h 1547527"/>
                <a:gd name="connsiteX18" fmla="*/ 1776926 w 2709125"/>
                <a:gd name="connsiteY18" fmla="*/ 962915 h 1547527"/>
                <a:gd name="connsiteX19" fmla="*/ 1863589 w 2709125"/>
                <a:gd name="connsiteY19" fmla="*/ 1133760 h 1547527"/>
                <a:gd name="connsiteX20" fmla="*/ 1961991 w 2709125"/>
                <a:gd name="connsiteY20" fmla="*/ 1276114 h 1547527"/>
                <a:gd name="connsiteX21" fmla="*/ 2104345 w 2709125"/>
                <a:gd name="connsiteY21" fmla="*/ 1256565 h 1547527"/>
                <a:gd name="connsiteX22" fmla="*/ 2337871 w 2709125"/>
                <a:gd name="connsiteY22" fmla="*/ 1048417 h 1547527"/>
                <a:gd name="connsiteX23" fmla="*/ 2689189 w 2709125"/>
                <a:gd name="connsiteY23" fmla="*/ 712373 h 1547527"/>
                <a:gd name="connsiteX24" fmla="*/ 2654082 w 2709125"/>
                <a:gd name="connsiteY24" fmla="*/ 634713 h 1547527"/>
                <a:gd name="connsiteX25" fmla="*/ 2538235 w 2709125"/>
                <a:gd name="connsiteY25" fmla="*/ 598435 h 1547527"/>
                <a:gd name="connsiteX26" fmla="*/ 2214249 w 2709125"/>
                <a:gd name="connsiteY26" fmla="*/ 824096 h 1547527"/>
                <a:gd name="connsiteX27" fmla="*/ 2073294 w 2709125"/>
                <a:gd name="connsiteY27" fmla="*/ 918226 h 1547527"/>
                <a:gd name="connsiteX28" fmla="*/ 1988529 w 2709125"/>
                <a:gd name="connsiteY28" fmla="*/ 765870 h 1547527"/>
                <a:gd name="connsiteX29" fmla="*/ 1858258 w 2709125"/>
                <a:gd name="connsiteY29" fmla="*/ 503111 h 1547527"/>
                <a:gd name="connsiteX30" fmla="*/ 1763287 w 2709125"/>
                <a:gd name="connsiteY30" fmla="*/ 257401 h 1547527"/>
                <a:gd name="connsiteX31" fmla="*/ 1630800 w 2709125"/>
                <a:gd name="connsiteY31" fmla="*/ 140189 h 1547527"/>
                <a:gd name="connsiteX32" fmla="*/ 1525011 w 2709125"/>
                <a:gd name="connsiteY32" fmla="*/ 91726 h 1547527"/>
                <a:gd name="connsiteX33" fmla="*/ 1415685 w 2709125"/>
                <a:gd name="connsiteY33" fmla="*/ 31342 h 1547527"/>
                <a:gd name="connsiteX34" fmla="*/ 1313590 w 2709125"/>
                <a:gd name="connsiteY34" fmla="*/ 102251 h 1547527"/>
                <a:gd name="connsiteX0" fmla="*/ 1313590 w 2709125"/>
                <a:gd name="connsiteY0" fmla="*/ 102251 h 1547031"/>
                <a:gd name="connsiteX1" fmla="*/ 1203265 w 2709125"/>
                <a:gd name="connsiteY1" fmla="*/ 370 h 1547031"/>
                <a:gd name="connsiteX2" fmla="*/ 1083733 w 2709125"/>
                <a:gd name="connsiteY2" fmla="*/ 72575 h 1547031"/>
                <a:gd name="connsiteX3" fmla="*/ 819895 w 2709125"/>
                <a:gd name="connsiteY3" fmla="*/ 188231 h 1547031"/>
                <a:gd name="connsiteX4" fmla="*/ 566899 w 2709125"/>
                <a:gd name="connsiteY4" fmla="*/ 903848 h 1547031"/>
                <a:gd name="connsiteX5" fmla="*/ 516299 w 2709125"/>
                <a:gd name="connsiteY5" fmla="*/ 911077 h 1547031"/>
                <a:gd name="connsiteX6" fmla="*/ 219933 w 2709125"/>
                <a:gd name="connsiteY6" fmla="*/ 535197 h 1547031"/>
                <a:gd name="connsiteX7" fmla="*/ 3079 w 2709125"/>
                <a:gd name="connsiteY7" fmla="*/ 618324 h 1547031"/>
                <a:gd name="connsiteX8" fmla="*/ 382573 w 2709125"/>
                <a:gd name="connsiteY8" fmla="*/ 1041189 h 1547031"/>
                <a:gd name="connsiteX9" fmla="*/ 491000 w 2709125"/>
                <a:gd name="connsiteY9" fmla="*/ 1211058 h 1547031"/>
                <a:gd name="connsiteX10" fmla="*/ 743996 w 2709125"/>
                <a:gd name="connsiteY10" fmla="*/ 1189372 h 1547031"/>
                <a:gd name="connsiteX11" fmla="*/ 834352 w 2709125"/>
                <a:gd name="connsiteY11" fmla="*/ 943605 h 1547031"/>
                <a:gd name="connsiteX12" fmla="*/ 917479 w 2709125"/>
                <a:gd name="connsiteY12" fmla="*/ 697837 h 1547031"/>
                <a:gd name="connsiteX13" fmla="*/ 769295 w 2709125"/>
                <a:gd name="connsiteY13" fmla="*/ 1482125 h 1547031"/>
                <a:gd name="connsiteX14" fmla="*/ 1149494 w 2709125"/>
                <a:gd name="connsiteY14" fmla="*/ 1500855 h 1547031"/>
                <a:gd name="connsiteX15" fmla="*/ 1362119 w 2709125"/>
                <a:gd name="connsiteY15" fmla="*/ 1478693 h 1547031"/>
                <a:gd name="connsiteX16" fmla="*/ 1768438 w 2709125"/>
                <a:gd name="connsiteY16" fmla="*/ 1477226 h 1547031"/>
                <a:gd name="connsiteX17" fmla="*/ 1771834 w 2709125"/>
                <a:gd name="connsiteY17" fmla="*/ 1129828 h 1547031"/>
                <a:gd name="connsiteX18" fmla="*/ 1776926 w 2709125"/>
                <a:gd name="connsiteY18" fmla="*/ 962915 h 1547031"/>
                <a:gd name="connsiteX19" fmla="*/ 1863589 w 2709125"/>
                <a:gd name="connsiteY19" fmla="*/ 1133760 h 1547031"/>
                <a:gd name="connsiteX20" fmla="*/ 1961991 w 2709125"/>
                <a:gd name="connsiteY20" fmla="*/ 1276114 h 1547031"/>
                <a:gd name="connsiteX21" fmla="*/ 2104345 w 2709125"/>
                <a:gd name="connsiteY21" fmla="*/ 1256565 h 1547031"/>
                <a:gd name="connsiteX22" fmla="*/ 2337871 w 2709125"/>
                <a:gd name="connsiteY22" fmla="*/ 1048417 h 1547031"/>
                <a:gd name="connsiteX23" fmla="*/ 2689189 w 2709125"/>
                <a:gd name="connsiteY23" fmla="*/ 712373 h 1547031"/>
                <a:gd name="connsiteX24" fmla="*/ 2654082 w 2709125"/>
                <a:gd name="connsiteY24" fmla="*/ 634713 h 1547031"/>
                <a:gd name="connsiteX25" fmla="*/ 2538235 w 2709125"/>
                <a:gd name="connsiteY25" fmla="*/ 598435 h 1547031"/>
                <a:gd name="connsiteX26" fmla="*/ 2214249 w 2709125"/>
                <a:gd name="connsiteY26" fmla="*/ 824096 h 1547031"/>
                <a:gd name="connsiteX27" fmla="*/ 2073294 w 2709125"/>
                <a:gd name="connsiteY27" fmla="*/ 918226 h 1547031"/>
                <a:gd name="connsiteX28" fmla="*/ 1988529 w 2709125"/>
                <a:gd name="connsiteY28" fmla="*/ 765870 h 1547031"/>
                <a:gd name="connsiteX29" fmla="*/ 1858258 w 2709125"/>
                <a:gd name="connsiteY29" fmla="*/ 503111 h 1547031"/>
                <a:gd name="connsiteX30" fmla="*/ 1763287 w 2709125"/>
                <a:gd name="connsiteY30" fmla="*/ 257401 h 1547031"/>
                <a:gd name="connsiteX31" fmla="*/ 1630800 w 2709125"/>
                <a:gd name="connsiteY31" fmla="*/ 140189 h 1547031"/>
                <a:gd name="connsiteX32" fmla="*/ 1525011 w 2709125"/>
                <a:gd name="connsiteY32" fmla="*/ 91726 h 1547031"/>
                <a:gd name="connsiteX33" fmla="*/ 1415685 w 2709125"/>
                <a:gd name="connsiteY33" fmla="*/ 31342 h 1547031"/>
                <a:gd name="connsiteX34" fmla="*/ 1313590 w 2709125"/>
                <a:gd name="connsiteY34" fmla="*/ 102251 h 1547031"/>
                <a:gd name="connsiteX0" fmla="*/ 1313590 w 2709125"/>
                <a:gd name="connsiteY0" fmla="*/ 102251 h 1543845"/>
                <a:gd name="connsiteX1" fmla="*/ 1203265 w 2709125"/>
                <a:gd name="connsiteY1" fmla="*/ 370 h 1543845"/>
                <a:gd name="connsiteX2" fmla="*/ 1083733 w 2709125"/>
                <a:gd name="connsiteY2" fmla="*/ 72575 h 1543845"/>
                <a:gd name="connsiteX3" fmla="*/ 819895 w 2709125"/>
                <a:gd name="connsiteY3" fmla="*/ 188231 h 1543845"/>
                <a:gd name="connsiteX4" fmla="*/ 566899 w 2709125"/>
                <a:gd name="connsiteY4" fmla="*/ 903848 h 1543845"/>
                <a:gd name="connsiteX5" fmla="*/ 516299 w 2709125"/>
                <a:gd name="connsiteY5" fmla="*/ 911077 h 1543845"/>
                <a:gd name="connsiteX6" fmla="*/ 219933 w 2709125"/>
                <a:gd name="connsiteY6" fmla="*/ 535197 h 1543845"/>
                <a:gd name="connsiteX7" fmla="*/ 3079 w 2709125"/>
                <a:gd name="connsiteY7" fmla="*/ 618324 h 1543845"/>
                <a:gd name="connsiteX8" fmla="*/ 382573 w 2709125"/>
                <a:gd name="connsiteY8" fmla="*/ 1041189 h 1543845"/>
                <a:gd name="connsiteX9" fmla="*/ 491000 w 2709125"/>
                <a:gd name="connsiteY9" fmla="*/ 1211058 h 1543845"/>
                <a:gd name="connsiteX10" fmla="*/ 743996 w 2709125"/>
                <a:gd name="connsiteY10" fmla="*/ 1189372 h 1543845"/>
                <a:gd name="connsiteX11" fmla="*/ 834352 w 2709125"/>
                <a:gd name="connsiteY11" fmla="*/ 943605 h 1543845"/>
                <a:gd name="connsiteX12" fmla="*/ 917479 w 2709125"/>
                <a:gd name="connsiteY12" fmla="*/ 697837 h 1543845"/>
                <a:gd name="connsiteX13" fmla="*/ 769295 w 2709125"/>
                <a:gd name="connsiteY13" fmla="*/ 1482125 h 1543845"/>
                <a:gd name="connsiteX14" fmla="*/ 907955 w 2709125"/>
                <a:gd name="connsiteY14" fmla="*/ 1492229 h 1543845"/>
                <a:gd name="connsiteX15" fmla="*/ 1362119 w 2709125"/>
                <a:gd name="connsiteY15" fmla="*/ 1478693 h 1543845"/>
                <a:gd name="connsiteX16" fmla="*/ 1768438 w 2709125"/>
                <a:gd name="connsiteY16" fmla="*/ 1477226 h 1543845"/>
                <a:gd name="connsiteX17" fmla="*/ 1771834 w 2709125"/>
                <a:gd name="connsiteY17" fmla="*/ 1129828 h 1543845"/>
                <a:gd name="connsiteX18" fmla="*/ 1776926 w 2709125"/>
                <a:gd name="connsiteY18" fmla="*/ 962915 h 1543845"/>
                <a:gd name="connsiteX19" fmla="*/ 1863589 w 2709125"/>
                <a:gd name="connsiteY19" fmla="*/ 1133760 h 1543845"/>
                <a:gd name="connsiteX20" fmla="*/ 1961991 w 2709125"/>
                <a:gd name="connsiteY20" fmla="*/ 1276114 h 1543845"/>
                <a:gd name="connsiteX21" fmla="*/ 2104345 w 2709125"/>
                <a:gd name="connsiteY21" fmla="*/ 1256565 h 1543845"/>
                <a:gd name="connsiteX22" fmla="*/ 2337871 w 2709125"/>
                <a:gd name="connsiteY22" fmla="*/ 1048417 h 1543845"/>
                <a:gd name="connsiteX23" fmla="*/ 2689189 w 2709125"/>
                <a:gd name="connsiteY23" fmla="*/ 712373 h 1543845"/>
                <a:gd name="connsiteX24" fmla="*/ 2654082 w 2709125"/>
                <a:gd name="connsiteY24" fmla="*/ 634713 h 1543845"/>
                <a:gd name="connsiteX25" fmla="*/ 2538235 w 2709125"/>
                <a:gd name="connsiteY25" fmla="*/ 598435 h 1543845"/>
                <a:gd name="connsiteX26" fmla="*/ 2214249 w 2709125"/>
                <a:gd name="connsiteY26" fmla="*/ 824096 h 1543845"/>
                <a:gd name="connsiteX27" fmla="*/ 2073294 w 2709125"/>
                <a:gd name="connsiteY27" fmla="*/ 918226 h 1543845"/>
                <a:gd name="connsiteX28" fmla="*/ 1988529 w 2709125"/>
                <a:gd name="connsiteY28" fmla="*/ 765870 h 1543845"/>
                <a:gd name="connsiteX29" fmla="*/ 1858258 w 2709125"/>
                <a:gd name="connsiteY29" fmla="*/ 503111 h 1543845"/>
                <a:gd name="connsiteX30" fmla="*/ 1763287 w 2709125"/>
                <a:gd name="connsiteY30" fmla="*/ 257401 h 1543845"/>
                <a:gd name="connsiteX31" fmla="*/ 1630800 w 2709125"/>
                <a:gd name="connsiteY31" fmla="*/ 140189 h 1543845"/>
                <a:gd name="connsiteX32" fmla="*/ 1525011 w 2709125"/>
                <a:gd name="connsiteY32" fmla="*/ 91726 h 1543845"/>
                <a:gd name="connsiteX33" fmla="*/ 1415685 w 2709125"/>
                <a:gd name="connsiteY33" fmla="*/ 31342 h 1543845"/>
                <a:gd name="connsiteX34" fmla="*/ 1313590 w 2709125"/>
                <a:gd name="connsiteY34" fmla="*/ 102251 h 1543845"/>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00284 w 2709125"/>
                <a:gd name="connsiteY13" fmla="*/ 1329725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743996 w 2709125"/>
                <a:gd name="connsiteY10" fmla="*/ 1189372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834352 w 2709125"/>
                <a:gd name="connsiteY11" fmla="*/ 94360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917479 w 2709125"/>
                <a:gd name="connsiteY12" fmla="*/ 697837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907955 w 2709125"/>
                <a:gd name="connsiteY14" fmla="*/ 1492229 h 1501828"/>
                <a:gd name="connsiteX15" fmla="*/ 1362119 w 2709125"/>
                <a:gd name="connsiteY15" fmla="*/ 1478693 h 1501828"/>
                <a:gd name="connsiteX16" fmla="*/ 1768438 w 2709125"/>
                <a:gd name="connsiteY16" fmla="*/ 1477226 h 1501828"/>
                <a:gd name="connsiteX17" fmla="*/ 1771834 w 2709125"/>
                <a:gd name="connsiteY17" fmla="*/ 1129828 h 1501828"/>
                <a:gd name="connsiteX18" fmla="*/ 1776926 w 2709125"/>
                <a:gd name="connsiteY18" fmla="*/ 962915 h 1501828"/>
                <a:gd name="connsiteX19" fmla="*/ 1863589 w 2709125"/>
                <a:gd name="connsiteY19" fmla="*/ 1133760 h 1501828"/>
                <a:gd name="connsiteX20" fmla="*/ 1961991 w 2709125"/>
                <a:gd name="connsiteY20" fmla="*/ 1276114 h 1501828"/>
                <a:gd name="connsiteX21" fmla="*/ 2104345 w 2709125"/>
                <a:gd name="connsiteY21" fmla="*/ 1256565 h 1501828"/>
                <a:gd name="connsiteX22" fmla="*/ 2337871 w 2709125"/>
                <a:gd name="connsiteY22" fmla="*/ 1048417 h 1501828"/>
                <a:gd name="connsiteX23" fmla="*/ 2689189 w 2709125"/>
                <a:gd name="connsiteY23" fmla="*/ 712373 h 1501828"/>
                <a:gd name="connsiteX24" fmla="*/ 2654082 w 2709125"/>
                <a:gd name="connsiteY24" fmla="*/ 634713 h 1501828"/>
                <a:gd name="connsiteX25" fmla="*/ 2538235 w 2709125"/>
                <a:gd name="connsiteY25" fmla="*/ 598435 h 1501828"/>
                <a:gd name="connsiteX26" fmla="*/ 2214249 w 2709125"/>
                <a:gd name="connsiteY26" fmla="*/ 824096 h 1501828"/>
                <a:gd name="connsiteX27" fmla="*/ 2073294 w 2709125"/>
                <a:gd name="connsiteY27" fmla="*/ 918226 h 1501828"/>
                <a:gd name="connsiteX28" fmla="*/ 1988529 w 2709125"/>
                <a:gd name="connsiteY28" fmla="*/ 765870 h 1501828"/>
                <a:gd name="connsiteX29" fmla="*/ 1858258 w 2709125"/>
                <a:gd name="connsiteY29" fmla="*/ 503111 h 1501828"/>
                <a:gd name="connsiteX30" fmla="*/ 1763287 w 2709125"/>
                <a:gd name="connsiteY30" fmla="*/ 257401 h 1501828"/>
                <a:gd name="connsiteX31" fmla="*/ 1630800 w 2709125"/>
                <a:gd name="connsiteY31" fmla="*/ 140189 h 1501828"/>
                <a:gd name="connsiteX32" fmla="*/ 1525011 w 2709125"/>
                <a:gd name="connsiteY32" fmla="*/ 91726 h 1501828"/>
                <a:gd name="connsiteX33" fmla="*/ 1415685 w 2709125"/>
                <a:gd name="connsiteY33" fmla="*/ 31342 h 1501828"/>
                <a:gd name="connsiteX34" fmla="*/ 1313590 w 2709125"/>
                <a:gd name="connsiteY34"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62022 w 2709125"/>
                <a:gd name="connsiteY14" fmla="*/ 1462849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63287 w 2709125"/>
                <a:gd name="connsiteY31" fmla="*/ 257401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6143 w 2709125"/>
                <a:gd name="connsiteY14" fmla="*/ 1474351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44951 w 2709125"/>
                <a:gd name="connsiteY12" fmla="*/ 948003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70451 w 2709125"/>
                <a:gd name="connsiteY11" fmla="*/ 917725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985384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684828 w 2709125"/>
                <a:gd name="connsiteY11" fmla="*/ 860216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11724 w 2709125"/>
                <a:gd name="connsiteY10" fmla="*/ 1134738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491000 w 2709125"/>
                <a:gd name="connsiteY9" fmla="*/ 1211058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1828"/>
                <a:gd name="connsiteX1" fmla="*/ 1203265 w 2709125"/>
                <a:gd name="connsiteY1" fmla="*/ 370 h 1501828"/>
                <a:gd name="connsiteX2" fmla="*/ 1083733 w 2709125"/>
                <a:gd name="connsiteY2" fmla="*/ 72575 h 1501828"/>
                <a:gd name="connsiteX3" fmla="*/ 819895 w 2709125"/>
                <a:gd name="connsiteY3" fmla="*/ 188231 h 1501828"/>
                <a:gd name="connsiteX4" fmla="*/ 566899 w 2709125"/>
                <a:gd name="connsiteY4" fmla="*/ 903848 h 1501828"/>
                <a:gd name="connsiteX5" fmla="*/ 516299 w 2709125"/>
                <a:gd name="connsiteY5" fmla="*/ 911077 h 1501828"/>
                <a:gd name="connsiteX6" fmla="*/ 219933 w 2709125"/>
                <a:gd name="connsiteY6" fmla="*/ 535197 h 1501828"/>
                <a:gd name="connsiteX7" fmla="*/ 3079 w 2709125"/>
                <a:gd name="connsiteY7" fmla="*/ 618324 h 1501828"/>
                <a:gd name="connsiteX8" fmla="*/ 382573 w 2709125"/>
                <a:gd name="connsiteY8" fmla="*/ 1041189 h 1501828"/>
                <a:gd name="connsiteX9" fmla="*/ 508252 w 2709125"/>
                <a:gd name="connsiteY9" fmla="*/ 1167926 h 1501828"/>
                <a:gd name="connsiteX10" fmla="*/ 646230 w 2709125"/>
                <a:gd name="connsiteY10" fmla="*/ 1140489 h 1501828"/>
                <a:gd name="connsiteX11" fmla="*/ 713583 w 2709125"/>
                <a:gd name="connsiteY11" fmla="*/ 940729 h 1501828"/>
                <a:gd name="connsiteX12" fmla="*/ 721947 w 2709125"/>
                <a:gd name="connsiteY12" fmla="*/ 1109029 h 1501828"/>
                <a:gd name="connsiteX13" fmla="*/ 711786 w 2709125"/>
                <a:gd name="connsiteY13" fmla="*/ 1390110 h 1501828"/>
                <a:gd name="connsiteX14" fmla="*/ 739018 w 2709125"/>
                <a:gd name="connsiteY14" fmla="*/ 1485853 h 1501828"/>
                <a:gd name="connsiteX15" fmla="*/ 907955 w 2709125"/>
                <a:gd name="connsiteY15" fmla="*/ 1492229 h 1501828"/>
                <a:gd name="connsiteX16" fmla="*/ 1362119 w 2709125"/>
                <a:gd name="connsiteY16" fmla="*/ 1478693 h 1501828"/>
                <a:gd name="connsiteX17" fmla="*/ 1768438 w 2709125"/>
                <a:gd name="connsiteY17" fmla="*/ 1477226 h 1501828"/>
                <a:gd name="connsiteX18" fmla="*/ 1771834 w 2709125"/>
                <a:gd name="connsiteY18" fmla="*/ 1129828 h 1501828"/>
                <a:gd name="connsiteX19" fmla="*/ 1776926 w 2709125"/>
                <a:gd name="connsiteY19" fmla="*/ 962915 h 1501828"/>
                <a:gd name="connsiteX20" fmla="*/ 1863589 w 2709125"/>
                <a:gd name="connsiteY20" fmla="*/ 1133760 h 1501828"/>
                <a:gd name="connsiteX21" fmla="*/ 1961991 w 2709125"/>
                <a:gd name="connsiteY21" fmla="*/ 1276114 h 1501828"/>
                <a:gd name="connsiteX22" fmla="*/ 2104345 w 2709125"/>
                <a:gd name="connsiteY22" fmla="*/ 1256565 h 1501828"/>
                <a:gd name="connsiteX23" fmla="*/ 2337871 w 2709125"/>
                <a:gd name="connsiteY23" fmla="*/ 1048417 h 1501828"/>
                <a:gd name="connsiteX24" fmla="*/ 2689189 w 2709125"/>
                <a:gd name="connsiteY24" fmla="*/ 712373 h 1501828"/>
                <a:gd name="connsiteX25" fmla="*/ 2654082 w 2709125"/>
                <a:gd name="connsiteY25" fmla="*/ 634713 h 1501828"/>
                <a:gd name="connsiteX26" fmla="*/ 2538235 w 2709125"/>
                <a:gd name="connsiteY26" fmla="*/ 598435 h 1501828"/>
                <a:gd name="connsiteX27" fmla="*/ 2214249 w 2709125"/>
                <a:gd name="connsiteY27" fmla="*/ 824096 h 1501828"/>
                <a:gd name="connsiteX28" fmla="*/ 2073294 w 2709125"/>
                <a:gd name="connsiteY28" fmla="*/ 918226 h 1501828"/>
                <a:gd name="connsiteX29" fmla="*/ 1988529 w 2709125"/>
                <a:gd name="connsiteY29" fmla="*/ 765870 h 1501828"/>
                <a:gd name="connsiteX30" fmla="*/ 1858258 w 2709125"/>
                <a:gd name="connsiteY30" fmla="*/ 503111 h 1501828"/>
                <a:gd name="connsiteX31" fmla="*/ 1748909 w 2709125"/>
                <a:gd name="connsiteY31" fmla="*/ 237272 h 1501828"/>
                <a:gd name="connsiteX32" fmla="*/ 1630800 w 2709125"/>
                <a:gd name="connsiteY32" fmla="*/ 140189 h 1501828"/>
                <a:gd name="connsiteX33" fmla="*/ 1525011 w 2709125"/>
                <a:gd name="connsiteY33" fmla="*/ 91726 h 1501828"/>
                <a:gd name="connsiteX34" fmla="*/ 1415685 w 2709125"/>
                <a:gd name="connsiteY34" fmla="*/ 31342 h 1501828"/>
                <a:gd name="connsiteX35" fmla="*/ 1313590 w 2709125"/>
                <a:gd name="connsiteY35" fmla="*/ 102251 h 1501828"/>
                <a:gd name="connsiteX0" fmla="*/ 1313590 w 2709125"/>
                <a:gd name="connsiteY0" fmla="*/ 102251 h 1505950"/>
                <a:gd name="connsiteX1" fmla="*/ 1203265 w 2709125"/>
                <a:gd name="connsiteY1" fmla="*/ 370 h 1505950"/>
                <a:gd name="connsiteX2" fmla="*/ 1083733 w 2709125"/>
                <a:gd name="connsiteY2" fmla="*/ 72575 h 1505950"/>
                <a:gd name="connsiteX3" fmla="*/ 819895 w 2709125"/>
                <a:gd name="connsiteY3" fmla="*/ 188231 h 1505950"/>
                <a:gd name="connsiteX4" fmla="*/ 566899 w 2709125"/>
                <a:gd name="connsiteY4" fmla="*/ 903848 h 1505950"/>
                <a:gd name="connsiteX5" fmla="*/ 516299 w 2709125"/>
                <a:gd name="connsiteY5" fmla="*/ 911077 h 1505950"/>
                <a:gd name="connsiteX6" fmla="*/ 219933 w 2709125"/>
                <a:gd name="connsiteY6" fmla="*/ 535197 h 1505950"/>
                <a:gd name="connsiteX7" fmla="*/ 3079 w 2709125"/>
                <a:gd name="connsiteY7" fmla="*/ 618324 h 1505950"/>
                <a:gd name="connsiteX8" fmla="*/ 382573 w 2709125"/>
                <a:gd name="connsiteY8" fmla="*/ 1041189 h 1505950"/>
                <a:gd name="connsiteX9" fmla="*/ 508252 w 2709125"/>
                <a:gd name="connsiteY9" fmla="*/ 1167926 h 1505950"/>
                <a:gd name="connsiteX10" fmla="*/ 646230 w 2709125"/>
                <a:gd name="connsiteY10" fmla="*/ 1140489 h 1505950"/>
                <a:gd name="connsiteX11" fmla="*/ 713583 w 2709125"/>
                <a:gd name="connsiteY11" fmla="*/ 940729 h 1505950"/>
                <a:gd name="connsiteX12" fmla="*/ 721947 w 2709125"/>
                <a:gd name="connsiteY12" fmla="*/ 1109029 h 1505950"/>
                <a:gd name="connsiteX13" fmla="*/ 711786 w 2709125"/>
                <a:gd name="connsiteY13" fmla="*/ 1390110 h 1505950"/>
                <a:gd name="connsiteX14" fmla="*/ 739018 w 2709125"/>
                <a:gd name="connsiteY14" fmla="*/ 1485853 h 1505950"/>
                <a:gd name="connsiteX15" fmla="*/ 907955 w 2709125"/>
                <a:gd name="connsiteY15" fmla="*/ 1492229 h 1505950"/>
                <a:gd name="connsiteX16" fmla="*/ 1362119 w 2709125"/>
                <a:gd name="connsiteY16" fmla="*/ 1478693 h 1505950"/>
                <a:gd name="connsiteX17" fmla="*/ 1231374 w 2709125"/>
                <a:gd name="connsiteY17" fmla="*/ 1485791 h 1505950"/>
                <a:gd name="connsiteX18" fmla="*/ 1768438 w 2709125"/>
                <a:gd name="connsiteY18" fmla="*/ 1477226 h 1505950"/>
                <a:gd name="connsiteX19" fmla="*/ 1771834 w 2709125"/>
                <a:gd name="connsiteY19" fmla="*/ 1129828 h 1505950"/>
                <a:gd name="connsiteX20" fmla="*/ 1776926 w 2709125"/>
                <a:gd name="connsiteY20" fmla="*/ 962915 h 1505950"/>
                <a:gd name="connsiteX21" fmla="*/ 1863589 w 2709125"/>
                <a:gd name="connsiteY21" fmla="*/ 1133760 h 1505950"/>
                <a:gd name="connsiteX22" fmla="*/ 1961991 w 2709125"/>
                <a:gd name="connsiteY22" fmla="*/ 1276114 h 1505950"/>
                <a:gd name="connsiteX23" fmla="*/ 2104345 w 2709125"/>
                <a:gd name="connsiteY23" fmla="*/ 1256565 h 1505950"/>
                <a:gd name="connsiteX24" fmla="*/ 2337871 w 2709125"/>
                <a:gd name="connsiteY24" fmla="*/ 1048417 h 1505950"/>
                <a:gd name="connsiteX25" fmla="*/ 2689189 w 2709125"/>
                <a:gd name="connsiteY25" fmla="*/ 712373 h 1505950"/>
                <a:gd name="connsiteX26" fmla="*/ 2654082 w 2709125"/>
                <a:gd name="connsiteY26" fmla="*/ 634713 h 1505950"/>
                <a:gd name="connsiteX27" fmla="*/ 2538235 w 2709125"/>
                <a:gd name="connsiteY27" fmla="*/ 598435 h 1505950"/>
                <a:gd name="connsiteX28" fmla="*/ 2214249 w 2709125"/>
                <a:gd name="connsiteY28" fmla="*/ 824096 h 1505950"/>
                <a:gd name="connsiteX29" fmla="*/ 2073294 w 2709125"/>
                <a:gd name="connsiteY29" fmla="*/ 918226 h 1505950"/>
                <a:gd name="connsiteX30" fmla="*/ 1988529 w 2709125"/>
                <a:gd name="connsiteY30" fmla="*/ 765870 h 1505950"/>
                <a:gd name="connsiteX31" fmla="*/ 1858258 w 2709125"/>
                <a:gd name="connsiteY31" fmla="*/ 503111 h 1505950"/>
                <a:gd name="connsiteX32" fmla="*/ 1748909 w 2709125"/>
                <a:gd name="connsiteY32" fmla="*/ 237272 h 1505950"/>
                <a:gd name="connsiteX33" fmla="*/ 1630800 w 2709125"/>
                <a:gd name="connsiteY33" fmla="*/ 140189 h 1505950"/>
                <a:gd name="connsiteX34" fmla="*/ 1525011 w 2709125"/>
                <a:gd name="connsiteY34" fmla="*/ 91726 h 1505950"/>
                <a:gd name="connsiteX35" fmla="*/ 1415685 w 2709125"/>
                <a:gd name="connsiteY35" fmla="*/ 31342 h 1505950"/>
                <a:gd name="connsiteX36" fmla="*/ 1313590 w 2709125"/>
                <a:gd name="connsiteY36" fmla="*/ 102251 h 1505950"/>
                <a:gd name="connsiteX0" fmla="*/ 1313590 w 2709125"/>
                <a:gd name="connsiteY0" fmla="*/ 102251 h 1520445"/>
                <a:gd name="connsiteX1" fmla="*/ 1203265 w 2709125"/>
                <a:gd name="connsiteY1" fmla="*/ 370 h 1520445"/>
                <a:gd name="connsiteX2" fmla="*/ 1083733 w 2709125"/>
                <a:gd name="connsiteY2" fmla="*/ 72575 h 1520445"/>
                <a:gd name="connsiteX3" fmla="*/ 819895 w 2709125"/>
                <a:gd name="connsiteY3" fmla="*/ 188231 h 1520445"/>
                <a:gd name="connsiteX4" fmla="*/ 566899 w 2709125"/>
                <a:gd name="connsiteY4" fmla="*/ 903848 h 1520445"/>
                <a:gd name="connsiteX5" fmla="*/ 516299 w 2709125"/>
                <a:gd name="connsiteY5" fmla="*/ 911077 h 1520445"/>
                <a:gd name="connsiteX6" fmla="*/ 219933 w 2709125"/>
                <a:gd name="connsiteY6" fmla="*/ 535197 h 1520445"/>
                <a:gd name="connsiteX7" fmla="*/ 3079 w 2709125"/>
                <a:gd name="connsiteY7" fmla="*/ 618324 h 1520445"/>
                <a:gd name="connsiteX8" fmla="*/ 382573 w 2709125"/>
                <a:gd name="connsiteY8" fmla="*/ 1041189 h 1520445"/>
                <a:gd name="connsiteX9" fmla="*/ 508252 w 2709125"/>
                <a:gd name="connsiteY9" fmla="*/ 1167926 h 1520445"/>
                <a:gd name="connsiteX10" fmla="*/ 646230 w 2709125"/>
                <a:gd name="connsiteY10" fmla="*/ 1140489 h 1520445"/>
                <a:gd name="connsiteX11" fmla="*/ 713583 w 2709125"/>
                <a:gd name="connsiteY11" fmla="*/ 940729 h 1520445"/>
                <a:gd name="connsiteX12" fmla="*/ 721947 w 2709125"/>
                <a:gd name="connsiteY12" fmla="*/ 1109029 h 1520445"/>
                <a:gd name="connsiteX13" fmla="*/ 711786 w 2709125"/>
                <a:gd name="connsiteY13" fmla="*/ 1390110 h 1520445"/>
                <a:gd name="connsiteX14" fmla="*/ 739018 w 2709125"/>
                <a:gd name="connsiteY14" fmla="*/ 1485853 h 1520445"/>
                <a:gd name="connsiteX15" fmla="*/ 907955 w 2709125"/>
                <a:gd name="connsiteY15" fmla="*/ 1492229 h 1520445"/>
                <a:gd name="connsiteX16" fmla="*/ 1362119 w 2709125"/>
                <a:gd name="connsiteY16" fmla="*/ 1478693 h 1520445"/>
                <a:gd name="connsiteX17" fmla="*/ 1231374 w 2709125"/>
                <a:gd name="connsiteY17" fmla="*/ 1485791 h 1520445"/>
                <a:gd name="connsiteX18" fmla="*/ 1768438 w 2709125"/>
                <a:gd name="connsiteY18" fmla="*/ 1477226 h 1520445"/>
                <a:gd name="connsiteX19" fmla="*/ 1771834 w 2709125"/>
                <a:gd name="connsiteY19" fmla="*/ 1129828 h 1520445"/>
                <a:gd name="connsiteX20" fmla="*/ 1776926 w 2709125"/>
                <a:gd name="connsiteY20" fmla="*/ 962915 h 1520445"/>
                <a:gd name="connsiteX21" fmla="*/ 1863589 w 2709125"/>
                <a:gd name="connsiteY21" fmla="*/ 1133760 h 1520445"/>
                <a:gd name="connsiteX22" fmla="*/ 1961991 w 2709125"/>
                <a:gd name="connsiteY22" fmla="*/ 1276114 h 1520445"/>
                <a:gd name="connsiteX23" fmla="*/ 2104345 w 2709125"/>
                <a:gd name="connsiteY23" fmla="*/ 1256565 h 1520445"/>
                <a:gd name="connsiteX24" fmla="*/ 2337871 w 2709125"/>
                <a:gd name="connsiteY24" fmla="*/ 1048417 h 1520445"/>
                <a:gd name="connsiteX25" fmla="*/ 2689189 w 2709125"/>
                <a:gd name="connsiteY25" fmla="*/ 712373 h 1520445"/>
                <a:gd name="connsiteX26" fmla="*/ 2654082 w 2709125"/>
                <a:gd name="connsiteY26" fmla="*/ 634713 h 1520445"/>
                <a:gd name="connsiteX27" fmla="*/ 2538235 w 2709125"/>
                <a:gd name="connsiteY27" fmla="*/ 598435 h 1520445"/>
                <a:gd name="connsiteX28" fmla="*/ 2214249 w 2709125"/>
                <a:gd name="connsiteY28" fmla="*/ 824096 h 1520445"/>
                <a:gd name="connsiteX29" fmla="*/ 2073294 w 2709125"/>
                <a:gd name="connsiteY29" fmla="*/ 918226 h 1520445"/>
                <a:gd name="connsiteX30" fmla="*/ 1988529 w 2709125"/>
                <a:gd name="connsiteY30" fmla="*/ 765870 h 1520445"/>
                <a:gd name="connsiteX31" fmla="*/ 1858258 w 2709125"/>
                <a:gd name="connsiteY31" fmla="*/ 503111 h 1520445"/>
                <a:gd name="connsiteX32" fmla="*/ 1748909 w 2709125"/>
                <a:gd name="connsiteY32" fmla="*/ 237272 h 1520445"/>
                <a:gd name="connsiteX33" fmla="*/ 1630800 w 2709125"/>
                <a:gd name="connsiteY33" fmla="*/ 140189 h 1520445"/>
                <a:gd name="connsiteX34" fmla="*/ 1525011 w 2709125"/>
                <a:gd name="connsiteY34" fmla="*/ 91726 h 1520445"/>
                <a:gd name="connsiteX35" fmla="*/ 1415685 w 2709125"/>
                <a:gd name="connsiteY35" fmla="*/ 31342 h 1520445"/>
                <a:gd name="connsiteX36" fmla="*/ 1313590 w 2709125"/>
                <a:gd name="connsiteY36" fmla="*/ 102251 h 1520445"/>
                <a:gd name="connsiteX0" fmla="*/ 1313590 w 2709125"/>
                <a:gd name="connsiteY0" fmla="*/ 102251 h 1539342"/>
                <a:gd name="connsiteX1" fmla="*/ 1203265 w 2709125"/>
                <a:gd name="connsiteY1" fmla="*/ 370 h 1539342"/>
                <a:gd name="connsiteX2" fmla="*/ 1083733 w 2709125"/>
                <a:gd name="connsiteY2" fmla="*/ 72575 h 1539342"/>
                <a:gd name="connsiteX3" fmla="*/ 819895 w 2709125"/>
                <a:gd name="connsiteY3" fmla="*/ 188231 h 1539342"/>
                <a:gd name="connsiteX4" fmla="*/ 566899 w 2709125"/>
                <a:gd name="connsiteY4" fmla="*/ 903848 h 1539342"/>
                <a:gd name="connsiteX5" fmla="*/ 516299 w 2709125"/>
                <a:gd name="connsiteY5" fmla="*/ 911077 h 1539342"/>
                <a:gd name="connsiteX6" fmla="*/ 219933 w 2709125"/>
                <a:gd name="connsiteY6" fmla="*/ 535197 h 1539342"/>
                <a:gd name="connsiteX7" fmla="*/ 3079 w 2709125"/>
                <a:gd name="connsiteY7" fmla="*/ 618324 h 1539342"/>
                <a:gd name="connsiteX8" fmla="*/ 382573 w 2709125"/>
                <a:gd name="connsiteY8" fmla="*/ 1041189 h 1539342"/>
                <a:gd name="connsiteX9" fmla="*/ 508252 w 2709125"/>
                <a:gd name="connsiteY9" fmla="*/ 1167926 h 1539342"/>
                <a:gd name="connsiteX10" fmla="*/ 646230 w 2709125"/>
                <a:gd name="connsiteY10" fmla="*/ 1140489 h 1539342"/>
                <a:gd name="connsiteX11" fmla="*/ 713583 w 2709125"/>
                <a:gd name="connsiteY11" fmla="*/ 940729 h 1539342"/>
                <a:gd name="connsiteX12" fmla="*/ 721947 w 2709125"/>
                <a:gd name="connsiteY12" fmla="*/ 1109029 h 1539342"/>
                <a:gd name="connsiteX13" fmla="*/ 711786 w 2709125"/>
                <a:gd name="connsiteY13" fmla="*/ 1390110 h 1539342"/>
                <a:gd name="connsiteX14" fmla="*/ 739018 w 2709125"/>
                <a:gd name="connsiteY14" fmla="*/ 1485853 h 1539342"/>
                <a:gd name="connsiteX15" fmla="*/ 907955 w 2709125"/>
                <a:gd name="connsiteY15" fmla="*/ 1492229 h 1539342"/>
                <a:gd name="connsiteX16" fmla="*/ 1362119 w 2709125"/>
                <a:gd name="connsiteY16" fmla="*/ 1478693 h 1539342"/>
                <a:gd name="connsiteX17" fmla="*/ 1231374 w 2709125"/>
                <a:gd name="connsiteY17" fmla="*/ 1485791 h 1539342"/>
                <a:gd name="connsiteX18" fmla="*/ 1768438 w 2709125"/>
                <a:gd name="connsiteY18" fmla="*/ 1477226 h 1539342"/>
                <a:gd name="connsiteX19" fmla="*/ 1771834 w 2709125"/>
                <a:gd name="connsiteY19" fmla="*/ 1129828 h 1539342"/>
                <a:gd name="connsiteX20" fmla="*/ 1776926 w 2709125"/>
                <a:gd name="connsiteY20" fmla="*/ 962915 h 1539342"/>
                <a:gd name="connsiteX21" fmla="*/ 1863589 w 2709125"/>
                <a:gd name="connsiteY21" fmla="*/ 1133760 h 1539342"/>
                <a:gd name="connsiteX22" fmla="*/ 1961991 w 2709125"/>
                <a:gd name="connsiteY22" fmla="*/ 1276114 h 1539342"/>
                <a:gd name="connsiteX23" fmla="*/ 2104345 w 2709125"/>
                <a:gd name="connsiteY23" fmla="*/ 1256565 h 1539342"/>
                <a:gd name="connsiteX24" fmla="*/ 2337871 w 2709125"/>
                <a:gd name="connsiteY24" fmla="*/ 1048417 h 1539342"/>
                <a:gd name="connsiteX25" fmla="*/ 2689189 w 2709125"/>
                <a:gd name="connsiteY25" fmla="*/ 712373 h 1539342"/>
                <a:gd name="connsiteX26" fmla="*/ 2654082 w 2709125"/>
                <a:gd name="connsiteY26" fmla="*/ 634713 h 1539342"/>
                <a:gd name="connsiteX27" fmla="*/ 2538235 w 2709125"/>
                <a:gd name="connsiteY27" fmla="*/ 598435 h 1539342"/>
                <a:gd name="connsiteX28" fmla="*/ 2214249 w 2709125"/>
                <a:gd name="connsiteY28" fmla="*/ 824096 h 1539342"/>
                <a:gd name="connsiteX29" fmla="*/ 2073294 w 2709125"/>
                <a:gd name="connsiteY29" fmla="*/ 918226 h 1539342"/>
                <a:gd name="connsiteX30" fmla="*/ 1988529 w 2709125"/>
                <a:gd name="connsiteY30" fmla="*/ 765870 h 1539342"/>
                <a:gd name="connsiteX31" fmla="*/ 1858258 w 2709125"/>
                <a:gd name="connsiteY31" fmla="*/ 503111 h 1539342"/>
                <a:gd name="connsiteX32" fmla="*/ 1748909 w 2709125"/>
                <a:gd name="connsiteY32" fmla="*/ 237272 h 1539342"/>
                <a:gd name="connsiteX33" fmla="*/ 1630800 w 2709125"/>
                <a:gd name="connsiteY33" fmla="*/ 140189 h 1539342"/>
                <a:gd name="connsiteX34" fmla="*/ 1525011 w 2709125"/>
                <a:gd name="connsiteY34" fmla="*/ 91726 h 1539342"/>
                <a:gd name="connsiteX35" fmla="*/ 1415685 w 2709125"/>
                <a:gd name="connsiteY35" fmla="*/ 31342 h 1539342"/>
                <a:gd name="connsiteX36" fmla="*/ 1313590 w 2709125"/>
                <a:gd name="connsiteY36" fmla="*/ 102251 h 1539342"/>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362119 w 2709125"/>
                <a:gd name="connsiteY16" fmla="*/ 147869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49180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11508"/>
                <a:gd name="connsiteX1" fmla="*/ 1203265 w 2709125"/>
                <a:gd name="connsiteY1" fmla="*/ 370 h 1511508"/>
                <a:gd name="connsiteX2" fmla="*/ 1083733 w 2709125"/>
                <a:gd name="connsiteY2" fmla="*/ 72575 h 1511508"/>
                <a:gd name="connsiteX3" fmla="*/ 819895 w 2709125"/>
                <a:gd name="connsiteY3" fmla="*/ 188231 h 1511508"/>
                <a:gd name="connsiteX4" fmla="*/ 566899 w 2709125"/>
                <a:gd name="connsiteY4" fmla="*/ 903848 h 1511508"/>
                <a:gd name="connsiteX5" fmla="*/ 516299 w 2709125"/>
                <a:gd name="connsiteY5" fmla="*/ 911077 h 1511508"/>
                <a:gd name="connsiteX6" fmla="*/ 219933 w 2709125"/>
                <a:gd name="connsiteY6" fmla="*/ 535197 h 1511508"/>
                <a:gd name="connsiteX7" fmla="*/ 3079 w 2709125"/>
                <a:gd name="connsiteY7" fmla="*/ 618324 h 1511508"/>
                <a:gd name="connsiteX8" fmla="*/ 382573 w 2709125"/>
                <a:gd name="connsiteY8" fmla="*/ 1041189 h 1511508"/>
                <a:gd name="connsiteX9" fmla="*/ 508252 w 2709125"/>
                <a:gd name="connsiteY9" fmla="*/ 1167926 h 1511508"/>
                <a:gd name="connsiteX10" fmla="*/ 646230 w 2709125"/>
                <a:gd name="connsiteY10" fmla="*/ 1140489 h 1511508"/>
                <a:gd name="connsiteX11" fmla="*/ 713583 w 2709125"/>
                <a:gd name="connsiteY11" fmla="*/ 940729 h 1511508"/>
                <a:gd name="connsiteX12" fmla="*/ 721947 w 2709125"/>
                <a:gd name="connsiteY12" fmla="*/ 1109029 h 1511508"/>
                <a:gd name="connsiteX13" fmla="*/ 711786 w 2709125"/>
                <a:gd name="connsiteY13" fmla="*/ 1390110 h 1511508"/>
                <a:gd name="connsiteX14" fmla="*/ 739018 w 2709125"/>
                <a:gd name="connsiteY14" fmla="*/ 1485853 h 1511508"/>
                <a:gd name="connsiteX15" fmla="*/ 907955 w 2709125"/>
                <a:gd name="connsiteY15" fmla="*/ 1492229 h 1511508"/>
                <a:gd name="connsiteX16" fmla="*/ 1234299 w 2709125"/>
                <a:gd name="connsiteY16" fmla="*/ 1504913 h 1511508"/>
                <a:gd name="connsiteX17" fmla="*/ 1546006 w 2709125"/>
                <a:gd name="connsiteY17" fmla="*/ 1498900 h 1511508"/>
                <a:gd name="connsiteX18" fmla="*/ 1768438 w 2709125"/>
                <a:gd name="connsiteY18" fmla="*/ 1477226 h 1511508"/>
                <a:gd name="connsiteX19" fmla="*/ 1771834 w 2709125"/>
                <a:gd name="connsiteY19" fmla="*/ 1129828 h 1511508"/>
                <a:gd name="connsiteX20" fmla="*/ 1776926 w 2709125"/>
                <a:gd name="connsiteY20" fmla="*/ 962915 h 1511508"/>
                <a:gd name="connsiteX21" fmla="*/ 1863589 w 2709125"/>
                <a:gd name="connsiteY21" fmla="*/ 1133760 h 1511508"/>
                <a:gd name="connsiteX22" fmla="*/ 1961991 w 2709125"/>
                <a:gd name="connsiteY22" fmla="*/ 1276114 h 1511508"/>
                <a:gd name="connsiteX23" fmla="*/ 2104345 w 2709125"/>
                <a:gd name="connsiteY23" fmla="*/ 1256565 h 1511508"/>
                <a:gd name="connsiteX24" fmla="*/ 2337871 w 2709125"/>
                <a:gd name="connsiteY24" fmla="*/ 1048417 h 1511508"/>
                <a:gd name="connsiteX25" fmla="*/ 2689189 w 2709125"/>
                <a:gd name="connsiteY25" fmla="*/ 712373 h 1511508"/>
                <a:gd name="connsiteX26" fmla="*/ 2654082 w 2709125"/>
                <a:gd name="connsiteY26" fmla="*/ 634713 h 1511508"/>
                <a:gd name="connsiteX27" fmla="*/ 2538235 w 2709125"/>
                <a:gd name="connsiteY27" fmla="*/ 598435 h 1511508"/>
                <a:gd name="connsiteX28" fmla="*/ 2214249 w 2709125"/>
                <a:gd name="connsiteY28" fmla="*/ 824096 h 1511508"/>
                <a:gd name="connsiteX29" fmla="*/ 2073294 w 2709125"/>
                <a:gd name="connsiteY29" fmla="*/ 918226 h 1511508"/>
                <a:gd name="connsiteX30" fmla="*/ 1988529 w 2709125"/>
                <a:gd name="connsiteY30" fmla="*/ 765870 h 1511508"/>
                <a:gd name="connsiteX31" fmla="*/ 1858258 w 2709125"/>
                <a:gd name="connsiteY31" fmla="*/ 503111 h 1511508"/>
                <a:gd name="connsiteX32" fmla="*/ 1748909 w 2709125"/>
                <a:gd name="connsiteY32" fmla="*/ 237272 h 1511508"/>
                <a:gd name="connsiteX33" fmla="*/ 1630800 w 2709125"/>
                <a:gd name="connsiteY33" fmla="*/ 140189 h 1511508"/>
                <a:gd name="connsiteX34" fmla="*/ 1525011 w 2709125"/>
                <a:gd name="connsiteY34" fmla="*/ 91726 h 1511508"/>
                <a:gd name="connsiteX35" fmla="*/ 1415685 w 2709125"/>
                <a:gd name="connsiteY35" fmla="*/ 31342 h 1511508"/>
                <a:gd name="connsiteX36" fmla="*/ 1313590 w 2709125"/>
                <a:gd name="connsiteY36" fmla="*/ 102251 h 1511508"/>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12315"/>
                <a:gd name="connsiteX1" fmla="*/ 1203265 w 2709125"/>
                <a:gd name="connsiteY1" fmla="*/ 370 h 1512315"/>
                <a:gd name="connsiteX2" fmla="*/ 1083733 w 2709125"/>
                <a:gd name="connsiteY2" fmla="*/ 72575 h 1512315"/>
                <a:gd name="connsiteX3" fmla="*/ 819895 w 2709125"/>
                <a:gd name="connsiteY3" fmla="*/ 188231 h 1512315"/>
                <a:gd name="connsiteX4" fmla="*/ 566899 w 2709125"/>
                <a:gd name="connsiteY4" fmla="*/ 903848 h 1512315"/>
                <a:gd name="connsiteX5" fmla="*/ 516299 w 2709125"/>
                <a:gd name="connsiteY5" fmla="*/ 911077 h 1512315"/>
                <a:gd name="connsiteX6" fmla="*/ 219933 w 2709125"/>
                <a:gd name="connsiteY6" fmla="*/ 535197 h 1512315"/>
                <a:gd name="connsiteX7" fmla="*/ 3079 w 2709125"/>
                <a:gd name="connsiteY7" fmla="*/ 618324 h 1512315"/>
                <a:gd name="connsiteX8" fmla="*/ 382573 w 2709125"/>
                <a:gd name="connsiteY8" fmla="*/ 1041189 h 1512315"/>
                <a:gd name="connsiteX9" fmla="*/ 508252 w 2709125"/>
                <a:gd name="connsiteY9" fmla="*/ 1167926 h 1512315"/>
                <a:gd name="connsiteX10" fmla="*/ 646230 w 2709125"/>
                <a:gd name="connsiteY10" fmla="*/ 1140489 h 1512315"/>
                <a:gd name="connsiteX11" fmla="*/ 713583 w 2709125"/>
                <a:gd name="connsiteY11" fmla="*/ 940729 h 1512315"/>
                <a:gd name="connsiteX12" fmla="*/ 721947 w 2709125"/>
                <a:gd name="connsiteY12" fmla="*/ 1109029 h 1512315"/>
                <a:gd name="connsiteX13" fmla="*/ 711786 w 2709125"/>
                <a:gd name="connsiteY13" fmla="*/ 1390110 h 1512315"/>
                <a:gd name="connsiteX14" fmla="*/ 739018 w 2709125"/>
                <a:gd name="connsiteY14" fmla="*/ 1485853 h 1512315"/>
                <a:gd name="connsiteX15" fmla="*/ 907955 w 2709125"/>
                <a:gd name="connsiteY15" fmla="*/ 1492229 h 1512315"/>
                <a:gd name="connsiteX16" fmla="*/ 1234299 w 2709125"/>
                <a:gd name="connsiteY16" fmla="*/ 1504913 h 1512315"/>
                <a:gd name="connsiteX17" fmla="*/ 1546006 w 2709125"/>
                <a:gd name="connsiteY17" fmla="*/ 1498900 h 1512315"/>
                <a:gd name="connsiteX18" fmla="*/ 1768438 w 2709125"/>
                <a:gd name="connsiteY18" fmla="*/ 1477226 h 1512315"/>
                <a:gd name="connsiteX19" fmla="*/ 1771834 w 2709125"/>
                <a:gd name="connsiteY19" fmla="*/ 1129828 h 1512315"/>
                <a:gd name="connsiteX20" fmla="*/ 1776926 w 2709125"/>
                <a:gd name="connsiteY20" fmla="*/ 962915 h 1512315"/>
                <a:gd name="connsiteX21" fmla="*/ 1863589 w 2709125"/>
                <a:gd name="connsiteY21" fmla="*/ 1133760 h 1512315"/>
                <a:gd name="connsiteX22" fmla="*/ 1961991 w 2709125"/>
                <a:gd name="connsiteY22" fmla="*/ 1276114 h 1512315"/>
                <a:gd name="connsiteX23" fmla="*/ 2104345 w 2709125"/>
                <a:gd name="connsiteY23" fmla="*/ 1256565 h 1512315"/>
                <a:gd name="connsiteX24" fmla="*/ 2337871 w 2709125"/>
                <a:gd name="connsiteY24" fmla="*/ 1048417 h 1512315"/>
                <a:gd name="connsiteX25" fmla="*/ 2689189 w 2709125"/>
                <a:gd name="connsiteY25" fmla="*/ 712373 h 1512315"/>
                <a:gd name="connsiteX26" fmla="*/ 2654082 w 2709125"/>
                <a:gd name="connsiteY26" fmla="*/ 634713 h 1512315"/>
                <a:gd name="connsiteX27" fmla="*/ 2538235 w 2709125"/>
                <a:gd name="connsiteY27" fmla="*/ 598435 h 1512315"/>
                <a:gd name="connsiteX28" fmla="*/ 2214249 w 2709125"/>
                <a:gd name="connsiteY28" fmla="*/ 824096 h 1512315"/>
                <a:gd name="connsiteX29" fmla="*/ 2073294 w 2709125"/>
                <a:gd name="connsiteY29" fmla="*/ 918226 h 1512315"/>
                <a:gd name="connsiteX30" fmla="*/ 1988529 w 2709125"/>
                <a:gd name="connsiteY30" fmla="*/ 765870 h 1512315"/>
                <a:gd name="connsiteX31" fmla="*/ 1858258 w 2709125"/>
                <a:gd name="connsiteY31" fmla="*/ 503111 h 1512315"/>
                <a:gd name="connsiteX32" fmla="*/ 1748909 w 2709125"/>
                <a:gd name="connsiteY32" fmla="*/ 237272 h 1512315"/>
                <a:gd name="connsiteX33" fmla="*/ 1630800 w 2709125"/>
                <a:gd name="connsiteY33" fmla="*/ 140189 h 1512315"/>
                <a:gd name="connsiteX34" fmla="*/ 1525011 w 2709125"/>
                <a:gd name="connsiteY34" fmla="*/ 91726 h 1512315"/>
                <a:gd name="connsiteX35" fmla="*/ 1415685 w 2709125"/>
                <a:gd name="connsiteY35" fmla="*/ 31342 h 1512315"/>
                <a:gd name="connsiteX36" fmla="*/ 1313590 w 2709125"/>
                <a:gd name="connsiteY36" fmla="*/ 102251 h 1512315"/>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77226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590 w 2709125"/>
                <a:gd name="connsiteY0" fmla="*/ 102251 h 1504913"/>
                <a:gd name="connsiteX1" fmla="*/ 1203265 w 2709125"/>
                <a:gd name="connsiteY1" fmla="*/ 370 h 1504913"/>
                <a:gd name="connsiteX2" fmla="*/ 1083733 w 2709125"/>
                <a:gd name="connsiteY2" fmla="*/ 72575 h 1504913"/>
                <a:gd name="connsiteX3" fmla="*/ 819895 w 2709125"/>
                <a:gd name="connsiteY3" fmla="*/ 188231 h 1504913"/>
                <a:gd name="connsiteX4" fmla="*/ 566899 w 2709125"/>
                <a:gd name="connsiteY4" fmla="*/ 903848 h 1504913"/>
                <a:gd name="connsiteX5" fmla="*/ 516299 w 2709125"/>
                <a:gd name="connsiteY5" fmla="*/ 911077 h 1504913"/>
                <a:gd name="connsiteX6" fmla="*/ 219933 w 2709125"/>
                <a:gd name="connsiteY6" fmla="*/ 535197 h 1504913"/>
                <a:gd name="connsiteX7" fmla="*/ 3079 w 2709125"/>
                <a:gd name="connsiteY7" fmla="*/ 618324 h 1504913"/>
                <a:gd name="connsiteX8" fmla="*/ 382573 w 2709125"/>
                <a:gd name="connsiteY8" fmla="*/ 1041189 h 1504913"/>
                <a:gd name="connsiteX9" fmla="*/ 508252 w 2709125"/>
                <a:gd name="connsiteY9" fmla="*/ 1167926 h 1504913"/>
                <a:gd name="connsiteX10" fmla="*/ 646230 w 2709125"/>
                <a:gd name="connsiteY10" fmla="*/ 1140489 h 1504913"/>
                <a:gd name="connsiteX11" fmla="*/ 713583 w 2709125"/>
                <a:gd name="connsiteY11" fmla="*/ 940729 h 1504913"/>
                <a:gd name="connsiteX12" fmla="*/ 721947 w 2709125"/>
                <a:gd name="connsiteY12" fmla="*/ 1109029 h 1504913"/>
                <a:gd name="connsiteX13" fmla="*/ 711786 w 2709125"/>
                <a:gd name="connsiteY13" fmla="*/ 1390110 h 1504913"/>
                <a:gd name="connsiteX14" fmla="*/ 739018 w 2709125"/>
                <a:gd name="connsiteY14" fmla="*/ 1485853 h 1504913"/>
                <a:gd name="connsiteX15" fmla="*/ 907955 w 2709125"/>
                <a:gd name="connsiteY15" fmla="*/ 1492229 h 1504913"/>
                <a:gd name="connsiteX16" fmla="*/ 1234299 w 2709125"/>
                <a:gd name="connsiteY16" fmla="*/ 1504913 h 1504913"/>
                <a:gd name="connsiteX17" fmla="*/ 1546006 w 2709125"/>
                <a:gd name="connsiteY17" fmla="*/ 1498900 h 1504913"/>
                <a:gd name="connsiteX18" fmla="*/ 1768438 w 2709125"/>
                <a:gd name="connsiteY18" fmla="*/ 1483781 h 1504913"/>
                <a:gd name="connsiteX19" fmla="*/ 1771834 w 2709125"/>
                <a:gd name="connsiteY19" fmla="*/ 1129828 h 1504913"/>
                <a:gd name="connsiteX20" fmla="*/ 1776926 w 2709125"/>
                <a:gd name="connsiteY20" fmla="*/ 962915 h 1504913"/>
                <a:gd name="connsiteX21" fmla="*/ 1863589 w 2709125"/>
                <a:gd name="connsiteY21" fmla="*/ 1133760 h 1504913"/>
                <a:gd name="connsiteX22" fmla="*/ 1961991 w 2709125"/>
                <a:gd name="connsiteY22" fmla="*/ 1276114 h 1504913"/>
                <a:gd name="connsiteX23" fmla="*/ 2104345 w 2709125"/>
                <a:gd name="connsiteY23" fmla="*/ 1256565 h 1504913"/>
                <a:gd name="connsiteX24" fmla="*/ 2337871 w 2709125"/>
                <a:gd name="connsiteY24" fmla="*/ 1048417 h 1504913"/>
                <a:gd name="connsiteX25" fmla="*/ 2689189 w 2709125"/>
                <a:gd name="connsiteY25" fmla="*/ 712373 h 1504913"/>
                <a:gd name="connsiteX26" fmla="*/ 2654082 w 2709125"/>
                <a:gd name="connsiteY26" fmla="*/ 634713 h 1504913"/>
                <a:gd name="connsiteX27" fmla="*/ 2538235 w 2709125"/>
                <a:gd name="connsiteY27" fmla="*/ 598435 h 1504913"/>
                <a:gd name="connsiteX28" fmla="*/ 2214249 w 2709125"/>
                <a:gd name="connsiteY28" fmla="*/ 824096 h 1504913"/>
                <a:gd name="connsiteX29" fmla="*/ 2073294 w 2709125"/>
                <a:gd name="connsiteY29" fmla="*/ 918226 h 1504913"/>
                <a:gd name="connsiteX30" fmla="*/ 1988529 w 2709125"/>
                <a:gd name="connsiteY30" fmla="*/ 765870 h 1504913"/>
                <a:gd name="connsiteX31" fmla="*/ 1858258 w 2709125"/>
                <a:gd name="connsiteY31" fmla="*/ 503111 h 1504913"/>
                <a:gd name="connsiteX32" fmla="*/ 1748909 w 2709125"/>
                <a:gd name="connsiteY32" fmla="*/ 237272 h 1504913"/>
                <a:gd name="connsiteX33" fmla="*/ 1630800 w 2709125"/>
                <a:gd name="connsiteY33" fmla="*/ 140189 h 1504913"/>
                <a:gd name="connsiteX34" fmla="*/ 1525011 w 2709125"/>
                <a:gd name="connsiteY34" fmla="*/ 91726 h 1504913"/>
                <a:gd name="connsiteX35" fmla="*/ 1415685 w 2709125"/>
                <a:gd name="connsiteY35" fmla="*/ 31342 h 1504913"/>
                <a:gd name="connsiteX36" fmla="*/ 1313590 w 2709125"/>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903848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566787 w 2709013"/>
                <a:gd name="connsiteY4" fmla="*/ 880907 h 1504913"/>
                <a:gd name="connsiteX5" fmla="*/ 473580 w 2709013"/>
                <a:gd name="connsiteY5" fmla="*/ 881580 h 1504913"/>
                <a:gd name="connsiteX6" fmla="*/ 219821 w 2709013"/>
                <a:gd name="connsiteY6" fmla="*/ 535197 h 1504913"/>
                <a:gd name="connsiteX7" fmla="*/ 2967 w 2709013"/>
                <a:gd name="connsiteY7" fmla="*/ 618324 h 1504913"/>
                <a:gd name="connsiteX8" fmla="*/ 382461 w 2709013"/>
                <a:gd name="connsiteY8" fmla="*/ 1041189 h 1504913"/>
                <a:gd name="connsiteX9" fmla="*/ 508140 w 2709013"/>
                <a:gd name="connsiteY9" fmla="*/ 1167926 h 1504913"/>
                <a:gd name="connsiteX10" fmla="*/ 646118 w 2709013"/>
                <a:gd name="connsiteY10" fmla="*/ 1140489 h 1504913"/>
                <a:gd name="connsiteX11" fmla="*/ 713471 w 2709013"/>
                <a:gd name="connsiteY11" fmla="*/ 940729 h 1504913"/>
                <a:gd name="connsiteX12" fmla="*/ 721835 w 2709013"/>
                <a:gd name="connsiteY12" fmla="*/ 1109029 h 1504913"/>
                <a:gd name="connsiteX13" fmla="*/ 711674 w 2709013"/>
                <a:gd name="connsiteY13" fmla="*/ 1390110 h 1504913"/>
                <a:gd name="connsiteX14" fmla="*/ 738906 w 2709013"/>
                <a:gd name="connsiteY14" fmla="*/ 1485853 h 1504913"/>
                <a:gd name="connsiteX15" fmla="*/ 907843 w 2709013"/>
                <a:gd name="connsiteY15" fmla="*/ 1492229 h 1504913"/>
                <a:gd name="connsiteX16" fmla="*/ 1234187 w 2709013"/>
                <a:gd name="connsiteY16" fmla="*/ 1504913 h 1504913"/>
                <a:gd name="connsiteX17" fmla="*/ 1545894 w 2709013"/>
                <a:gd name="connsiteY17" fmla="*/ 1498900 h 1504913"/>
                <a:gd name="connsiteX18" fmla="*/ 1768326 w 2709013"/>
                <a:gd name="connsiteY18" fmla="*/ 1483781 h 1504913"/>
                <a:gd name="connsiteX19" fmla="*/ 1771722 w 2709013"/>
                <a:gd name="connsiteY19" fmla="*/ 1129828 h 1504913"/>
                <a:gd name="connsiteX20" fmla="*/ 1776814 w 2709013"/>
                <a:gd name="connsiteY20" fmla="*/ 962915 h 1504913"/>
                <a:gd name="connsiteX21" fmla="*/ 1863477 w 2709013"/>
                <a:gd name="connsiteY21" fmla="*/ 1133760 h 1504913"/>
                <a:gd name="connsiteX22" fmla="*/ 1961879 w 2709013"/>
                <a:gd name="connsiteY22" fmla="*/ 1276114 h 1504913"/>
                <a:gd name="connsiteX23" fmla="*/ 2104233 w 2709013"/>
                <a:gd name="connsiteY23" fmla="*/ 1256565 h 1504913"/>
                <a:gd name="connsiteX24" fmla="*/ 2337759 w 2709013"/>
                <a:gd name="connsiteY24" fmla="*/ 1048417 h 1504913"/>
                <a:gd name="connsiteX25" fmla="*/ 2689077 w 2709013"/>
                <a:gd name="connsiteY25" fmla="*/ 712373 h 1504913"/>
                <a:gd name="connsiteX26" fmla="*/ 2653970 w 2709013"/>
                <a:gd name="connsiteY26" fmla="*/ 634713 h 1504913"/>
                <a:gd name="connsiteX27" fmla="*/ 2538123 w 2709013"/>
                <a:gd name="connsiteY27" fmla="*/ 598435 h 1504913"/>
                <a:gd name="connsiteX28" fmla="*/ 2214137 w 2709013"/>
                <a:gd name="connsiteY28" fmla="*/ 824096 h 1504913"/>
                <a:gd name="connsiteX29" fmla="*/ 2073182 w 2709013"/>
                <a:gd name="connsiteY29" fmla="*/ 918226 h 1504913"/>
                <a:gd name="connsiteX30" fmla="*/ 1988417 w 2709013"/>
                <a:gd name="connsiteY30" fmla="*/ 765870 h 1504913"/>
                <a:gd name="connsiteX31" fmla="*/ 1858146 w 2709013"/>
                <a:gd name="connsiteY31" fmla="*/ 503111 h 1504913"/>
                <a:gd name="connsiteX32" fmla="*/ 1748797 w 2709013"/>
                <a:gd name="connsiteY32" fmla="*/ 237272 h 1504913"/>
                <a:gd name="connsiteX33" fmla="*/ 1630688 w 2709013"/>
                <a:gd name="connsiteY33" fmla="*/ 140189 h 1504913"/>
                <a:gd name="connsiteX34" fmla="*/ 1524899 w 2709013"/>
                <a:gd name="connsiteY34" fmla="*/ 91726 h 1504913"/>
                <a:gd name="connsiteX35" fmla="*/ 1415573 w 2709013"/>
                <a:gd name="connsiteY35" fmla="*/ 31342 h 1504913"/>
                <a:gd name="connsiteX36" fmla="*/ 1313478 w 2709013"/>
                <a:gd name="connsiteY36"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83933 w 2709013"/>
                <a:gd name="connsiteY4" fmla="*/ 555004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66787 w 2709013"/>
                <a:gd name="connsiteY5" fmla="*/ 880907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78 w 2709013"/>
                <a:gd name="connsiteY0" fmla="*/ 102251 h 1504913"/>
                <a:gd name="connsiteX1" fmla="*/ 1203153 w 2709013"/>
                <a:gd name="connsiteY1" fmla="*/ 370 h 1504913"/>
                <a:gd name="connsiteX2" fmla="*/ 1083621 w 2709013"/>
                <a:gd name="connsiteY2" fmla="*/ 72575 h 1504913"/>
                <a:gd name="connsiteX3" fmla="*/ 819783 w 2709013"/>
                <a:gd name="connsiteY3" fmla="*/ 188231 h 1504913"/>
                <a:gd name="connsiteX4" fmla="*/ 631494 w 2709013"/>
                <a:gd name="connsiteY4" fmla="*/ 607442 h 1504913"/>
                <a:gd name="connsiteX5" fmla="*/ 524180 w 2709013"/>
                <a:gd name="connsiteY5" fmla="*/ 887462 h 1504913"/>
                <a:gd name="connsiteX6" fmla="*/ 473580 w 2709013"/>
                <a:gd name="connsiteY6" fmla="*/ 881580 h 1504913"/>
                <a:gd name="connsiteX7" fmla="*/ 219821 w 2709013"/>
                <a:gd name="connsiteY7" fmla="*/ 535197 h 1504913"/>
                <a:gd name="connsiteX8" fmla="*/ 2967 w 2709013"/>
                <a:gd name="connsiteY8" fmla="*/ 618324 h 1504913"/>
                <a:gd name="connsiteX9" fmla="*/ 382461 w 2709013"/>
                <a:gd name="connsiteY9" fmla="*/ 1041189 h 1504913"/>
                <a:gd name="connsiteX10" fmla="*/ 508140 w 2709013"/>
                <a:gd name="connsiteY10" fmla="*/ 1167926 h 1504913"/>
                <a:gd name="connsiteX11" fmla="*/ 646118 w 2709013"/>
                <a:gd name="connsiteY11" fmla="*/ 1140489 h 1504913"/>
                <a:gd name="connsiteX12" fmla="*/ 713471 w 2709013"/>
                <a:gd name="connsiteY12" fmla="*/ 940729 h 1504913"/>
                <a:gd name="connsiteX13" fmla="*/ 721835 w 2709013"/>
                <a:gd name="connsiteY13" fmla="*/ 1109029 h 1504913"/>
                <a:gd name="connsiteX14" fmla="*/ 711674 w 2709013"/>
                <a:gd name="connsiteY14" fmla="*/ 1390110 h 1504913"/>
                <a:gd name="connsiteX15" fmla="*/ 738906 w 2709013"/>
                <a:gd name="connsiteY15" fmla="*/ 1485853 h 1504913"/>
                <a:gd name="connsiteX16" fmla="*/ 907843 w 2709013"/>
                <a:gd name="connsiteY16" fmla="*/ 1492229 h 1504913"/>
                <a:gd name="connsiteX17" fmla="*/ 1234187 w 2709013"/>
                <a:gd name="connsiteY17" fmla="*/ 1504913 h 1504913"/>
                <a:gd name="connsiteX18" fmla="*/ 1545894 w 2709013"/>
                <a:gd name="connsiteY18" fmla="*/ 1498900 h 1504913"/>
                <a:gd name="connsiteX19" fmla="*/ 1768326 w 2709013"/>
                <a:gd name="connsiteY19" fmla="*/ 1483781 h 1504913"/>
                <a:gd name="connsiteX20" fmla="*/ 1771722 w 2709013"/>
                <a:gd name="connsiteY20" fmla="*/ 1129828 h 1504913"/>
                <a:gd name="connsiteX21" fmla="*/ 1776814 w 2709013"/>
                <a:gd name="connsiteY21" fmla="*/ 962915 h 1504913"/>
                <a:gd name="connsiteX22" fmla="*/ 1863477 w 2709013"/>
                <a:gd name="connsiteY22" fmla="*/ 1133760 h 1504913"/>
                <a:gd name="connsiteX23" fmla="*/ 1961879 w 2709013"/>
                <a:gd name="connsiteY23" fmla="*/ 1276114 h 1504913"/>
                <a:gd name="connsiteX24" fmla="*/ 2104233 w 2709013"/>
                <a:gd name="connsiteY24" fmla="*/ 1256565 h 1504913"/>
                <a:gd name="connsiteX25" fmla="*/ 2337759 w 2709013"/>
                <a:gd name="connsiteY25" fmla="*/ 1048417 h 1504913"/>
                <a:gd name="connsiteX26" fmla="*/ 2689077 w 2709013"/>
                <a:gd name="connsiteY26" fmla="*/ 712373 h 1504913"/>
                <a:gd name="connsiteX27" fmla="*/ 2653970 w 2709013"/>
                <a:gd name="connsiteY27" fmla="*/ 634713 h 1504913"/>
                <a:gd name="connsiteX28" fmla="*/ 2538123 w 2709013"/>
                <a:gd name="connsiteY28" fmla="*/ 598435 h 1504913"/>
                <a:gd name="connsiteX29" fmla="*/ 2214137 w 2709013"/>
                <a:gd name="connsiteY29" fmla="*/ 824096 h 1504913"/>
                <a:gd name="connsiteX30" fmla="*/ 2073182 w 2709013"/>
                <a:gd name="connsiteY30" fmla="*/ 918226 h 1504913"/>
                <a:gd name="connsiteX31" fmla="*/ 1988417 w 2709013"/>
                <a:gd name="connsiteY31" fmla="*/ 765870 h 1504913"/>
                <a:gd name="connsiteX32" fmla="*/ 1858146 w 2709013"/>
                <a:gd name="connsiteY32" fmla="*/ 503111 h 1504913"/>
                <a:gd name="connsiteX33" fmla="*/ 1748797 w 2709013"/>
                <a:gd name="connsiteY33" fmla="*/ 237272 h 1504913"/>
                <a:gd name="connsiteX34" fmla="*/ 1630688 w 2709013"/>
                <a:gd name="connsiteY34" fmla="*/ 140189 h 1504913"/>
                <a:gd name="connsiteX35" fmla="*/ 1524899 w 2709013"/>
                <a:gd name="connsiteY35" fmla="*/ 91726 h 1504913"/>
                <a:gd name="connsiteX36" fmla="*/ 1415573 w 2709013"/>
                <a:gd name="connsiteY36" fmla="*/ 31342 h 1504913"/>
                <a:gd name="connsiteX37" fmla="*/ 1313478 w 2709013"/>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32418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24163 w 2708996"/>
                <a:gd name="connsiteY5" fmla="*/ 887462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33995 w 2708996"/>
                <a:gd name="connsiteY5" fmla="*/ 795695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631477 w 2708996"/>
                <a:gd name="connsiteY4" fmla="*/ 607442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3461 w 2708996"/>
                <a:gd name="connsiteY0" fmla="*/ 102251 h 1504913"/>
                <a:gd name="connsiteX1" fmla="*/ 1203136 w 2708996"/>
                <a:gd name="connsiteY1" fmla="*/ 370 h 1504913"/>
                <a:gd name="connsiteX2" fmla="*/ 1083604 w 2708996"/>
                <a:gd name="connsiteY2" fmla="*/ 72575 h 1504913"/>
                <a:gd name="connsiteX3" fmla="*/ 819766 w 2708996"/>
                <a:gd name="connsiteY3" fmla="*/ 188231 h 1504913"/>
                <a:gd name="connsiteX4" fmla="*/ 595426 w 2708996"/>
                <a:gd name="connsiteY4" fmla="*/ 600887 h 1504913"/>
                <a:gd name="connsiteX5" fmla="*/ 507776 w 2708996"/>
                <a:gd name="connsiteY5" fmla="*/ 844856 h 1504913"/>
                <a:gd name="connsiteX6" fmla="*/ 467009 w 2708996"/>
                <a:gd name="connsiteY6" fmla="*/ 802922 h 1504913"/>
                <a:gd name="connsiteX7" fmla="*/ 219804 w 2708996"/>
                <a:gd name="connsiteY7" fmla="*/ 535197 h 1504913"/>
                <a:gd name="connsiteX8" fmla="*/ 2950 w 2708996"/>
                <a:gd name="connsiteY8" fmla="*/ 618324 h 1504913"/>
                <a:gd name="connsiteX9" fmla="*/ 382444 w 2708996"/>
                <a:gd name="connsiteY9" fmla="*/ 1041189 h 1504913"/>
                <a:gd name="connsiteX10" fmla="*/ 508123 w 2708996"/>
                <a:gd name="connsiteY10" fmla="*/ 1167926 h 1504913"/>
                <a:gd name="connsiteX11" fmla="*/ 646101 w 2708996"/>
                <a:gd name="connsiteY11" fmla="*/ 1140489 h 1504913"/>
                <a:gd name="connsiteX12" fmla="*/ 713454 w 2708996"/>
                <a:gd name="connsiteY12" fmla="*/ 940729 h 1504913"/>
                <a:gd name="connsiteX13" fmla="*/ 721818 w 2708996"/>
                <a:gd name="connsiteY13" fmla="*/ 1109029 h 1504913"/>
                <a:gd name="connsiteX14" fmla="*/ 711657 w 2708996"/>
                <a:gd name="connsiteY14" fmla="*/ 1390110 h 1504913"/>
                <a:gd name="connsiteX15" fmla="*/ 738889 w 2708996"/>
                <a:gd name="connsiteY15" fmla="*/ 1485853 h 1504913"/>
                <a:gd name="connsiteX16" fmla="*/ 907826 w 2708996"/>
                <a:gd name="connsiteY16" fmla="*/ 1492229 h 1504913"/>
                <a:gd name="connsiteX17" fmla="*/ 1234170 w 2708996"/>
                <a:gd name="connsiteY17" fmla="*/ 1504913 h 1504913"/>
                <a:gd name="connsiteX18" fmla="*/ 1545877 w 2708996"/>
                <a:gd name="connsiteY18" fmla="*/ 1498900 h 1504913"/>
                <a:gd name="connsiteX19" fmla="*/ 1768309 w 2708996"/>
                <a:gd name="connsiteY19" fmla="*/ 1483781 h 1504913"/>
                <a:gd name="connsiteX20" fmla="*/ 1771705 w 2708996"/>
                <a:gd name="connsiteY20" fmla="*/ 1129828 h 1504913"/>
                <a:gd name="connsiteX21" fmla="*/ 1776797 w 2708996"/>
                <a:gd name="connsiteY21" fmla="*/ 962915 h 1504913"/>
                <a:gd name="connsiteX22" fmla="*/ 1863460 w 2708996"/>
                <a:gd name="connsiteY22" fmla="*/ 1133760 h 1504913"/>
                <a:gd name="connsiteX23" fmla="*/ 1961862 w 2708996"/>
                <a:gd name="connsiteY23" fmla="*/ 1276114 h 1504913"/>
                <a:gd name="connsiteX24" fmla="*/ 2104216 w 2708996"/>
                <a:gd name="connsiteY24" fmla="*/ 1256565 h 1504913"/>
                <a:gd name="connsiteX25" fmla="*/ 2337742 w 2708996"/>
                <a:gd name="connsiteY25" fmla="*/ 1048417 h 1504913"/>
                <a:gd name="connsiteX26" fmla="*/ 2689060 w 2708996"/>
                <a:gd name="connsiteY26" fmla="*/ 712373 h 1504913"/>
                <a:gd name="connsiteX27" fmla="*/ 2653953 w 2708996"/>
                <a:gd name="connsiteY27" fmla="*/ 634713 h 1504913"/>
                <a:gd name="connsiteX28" fmla="*/ 2538106 w 2708996"/>
                <a:gd name="connsiteY28" fmla="*/ 598435 h 1504913"/>
                <a:gd name="connsiteX29" fmla="*/ 2214120 w 2708996"/>
                <a:gd name="connsiteY29" fmla="*/ 824096 h 1504913"/>
                <a:gd name="connsiteX30" fmla="*/ 2073165 w 2708996"/>
                <a:gd name="connsiteY30" fmla="*/ 918226 h 1504913"/>
                <a:gd name="connsiteX31" fmla="*/ 1988400 w 2708996"/>
                <a:gd name="connsiteY31" fmla="*/ 765870 h 1504913"/>
                <a:gd name="connsiteX32" fmla="*/ 1858129 w 2708996"/>
                <a:gd name="connsiteY32" fmla="*/ 503111 h 1504913"/>
                <a:gd name="connsiteX33" fmla="*/ 1748780 w 2708996"/>
                <a:gd name="connsiteY33" fmla="*/ 237272 h 1504913"/>
                <a:gd name="connsiteX34" fmla="*/ 1630671 w 2708996"/>
                <a:gd name="connsiteY34" fmla="*/ 140189 h 1504913"/>
                <a:gd name="connsiteX35" fmla="*/ 1524882 w 2708996"/>
                <a:gd name="connsiteY35" fmla="*/ 91726 h 1504913"/>
                <a:gd name="connsiteX36" fmla="*/ 1415556 w 2708996"/>
                <a:gd name="connsiteY36" fmla="*/ 31342 h 1504913"/>
                <a:gd name="connsiteX37" fmla="*/ 1313461 w 2708996"/>
                <a:gd name="connsiteY37" fmla="*/ 102251 h 1504913"/>
                <a:gd name="connsiteX0" fmla="*/ 1318646 w 2714181"/>
                <a:gd name="connsiteY0" fmla="*/ 102251 h 1504913"/>
                <a:gd name="connsiteX1" fmla="*/ 1208321 w 2714181"/>
                <a:gd name="connsiteY1" fmla="*/ 370 h 1504913"/>
                <a:gd name="connsiteX2" fmla="*/ 1088789 w 2714181"/>
                <a:gd name="connsiteY2" fmla="*/ 72575 h 1504913"/>
                <a:gd name="connsiteX3" fmla="*/ 824951 w 2714181"/>
                <a:gd name="connsiteY3" fmla="*/ 188231 h 1504913"/>
                <a:gd name="connsiteX4" fmla="*/ 600611 w 2714181"/>
                <a:gd name="connsiteY4" fmla="*/ 600887 h 1504913"/>
                <a:gd name="connsiteX5" fmla="*/ 512961 w 2714181"/>
                <a:gd name="connsiteY5" fmla="*/ 844856 h 1504913"/>
                <a:gd name="connsiteX6" fmla="*/ 472194 w 2714181"/>
                <a:gd name="connsiteY6" fmla="*/ 802922 h 1504913"/>
                <a:gd name="connsiteX7" fmla="*/ 224989 w 2714181"/>
                <a:gd name="connsiteY7" fmla="*/ 535197 h 1504913"/>
                <a:gd name="connsiteX8" fmla="*/ 135216 w 2714181"/>
                <a:gd name="connsiteY8" fmla="*/ 525507 h 1504913"/>
                <a:gd name="connsiteX9" fmla="*/ 8135 w 2714181"/>
                <a:gd name="connsiteY9" fmla="*/ 618324 h 1504913"/>
                <a:gd name="connsiteX10" fmla="*/ 387629 w 2714181"/>
                <a:gd name="connsiteY10" fmla="*/ 1041189 h 1504913"/>
                <a:gd name="connsiteX11" fmla="*/ 513308 w 2714181"/>
                <a:gd name="connsiteY11" fmla="*/ 1167926 h 1504913"/>
                <a:gd name="connsiteX12" fmla="*/ 651286 w 2714181"/>
                <a:gd name="connsiteY12" fmla="*/ 1140489 h 1504913"/>
                <a:gd name="connsiteX13" fmla="*/ 718639 w 2714181"/>
                <a:gd name="connsiteY13" fmla="*/ 940729 h 1504913"/>
                <a:gd name="connsiteX14" fmla="*/ 727003 w 2714181"/>
                <a:gd name="connsiteY14" fmla="*/ 1109029 h 1504913"/>
                <a:gd name="connsiteX15" fmla="*/ 716842 w 2714181"/>
                <a:gd name="connsiteY15" fmla="*/ 1390110 h 1504913"/>
                <a:gd name="connsiteX16" fmla="*/ 744074 w 2714181"/>
                <a:gd name="connsiteY16" fmla="*/ 1485853 h 1504913"/>
                <a:gd name="connsiteX17" fmla="*/ 913011 w 2714181"/>
                <a:gd name="connsiteY17" fmla="*/ 1492229 h 1504913"/>
                <a:gd name="connsiteX18" fmla="*/ 1239355 w 2714181"/>
                <a:gd name="connsiteY18" fmla="*/ 1504913 h 1504913"/>
                <a:gd name="connsiteX19" fmla="*/ 1551062 w 2714181"/>
                <a:gd name="connsiteY19" fmla="*/ 1498900 h 1504913"/>
                <a:gd name="connsiteX20" fmla="*/ 1773494 w 2714181"/>
                <a:gd name="connsiteY20" fmla="*/ 1483781 h 1504913"/>
                <a:gd name="connsiteX21" fmla="*/ 1776890 w 2714181"/>
                <a:gd name="connsiteY21" fmla="*/ 1129828 h 1504913"/>
                <a:gd name="connsiteX22" fmla="*/ 1781982 w 2714181"/>
                <a:gd name="connsiteY22" fmla="*/ 962915 h 1504913"/>
                <a:gd name="connsiteX23" fmla="*/ 1868645 w 2714181"/>
                <a:gd name="connsiteY23" fmla="*/ 1133760 h 1504913"/>
                <a:gd name="connsiteX24" fmla="*/ 1967047 w 2714181"/>
                <a:gd name="connsiteY24" fmla="*/ 1276114 h 1504913"/>
                <a:gd name="connsiteX25" fmla="*/ 2109401 w 2714181"/>
                <a:gd name="connsiteY25" fmla="*/ 1256565 h 1504913"/>
                <a:gd name="connsiteX26" fmla="*/ 2342927 w 2714181"/>
                <a:gd name="connsiteY26" fmla="*/ 1048417 h 1504913"/>
                <a:gd name="connsiteX27" fmla="*/ 2694245 w 2714181"/>
                <a:gd name="connsiteY27" fmla="*/ 712373 h 1504913"/>
                <a:gd name="connsiteX28" fmla="*/ 2659138 w 2714181"/>
                <a:gd name="connsiteY28" fmla="*/ 634713 h 1504913"/>
                <a:gd name="connsiteX29" fmla="*/ 2543291 w 2714181"/>
                <a:gd name="connsiteY29" fmla="*/ 598435 h 1504913"/>
                <a:gd name="connsiteX30" fmla="*/ 2219305 w 2714181"/>
                <a:gd name="connsiteY30" fmla="*/ 824096 h 1504913"/>
                <a:gd name="connsiteX31" fmla="*/ 2078350 w 2714181"/>
                <a:gd name="connsiteY31" fmla="*/ 918226 h 1504913"/>
                <a:gd name="connsiteX32" fmla="*/ 1993585 w 2714181"/>
                <a:gd name="connsiteY32" fmla="*/ 765870 h 1504913"/>
                <a:gd name="connsiteX33" fmla="*/ 1863314 w 2714181"/>
                <a:gd name="connsiteY33" fmla="*/ 503111 h 1504913"/>
                <a:gd name="connsiteX34" fmla="*/ 1753965 w 2714181"/>
                <a:gd name="connsiteY34" fmla="*/ 237272 h 1504913"/>
                <a:gd name="connsiteX35" fmla="*/ 1635856 w 2714181"/>
                <a:gd name="connsiteY35" fmla="*/ 140189 h 1504913"/>
                <a:gd name="connsiteX36" fmla="*/ 1530067 w 2714181"/>
                <a:gd name="connsiteY36" fmla="*/ 91726 h 1504913"/>
                <a:gd name="connsiteX37" fmla="*/ 1420741 w 2714181"/>
                <a:gd name="connsiteY37" fmla="*/ 31342 h 1504913"/>
                <a:gd name="connsiteX38" fmla="*/ 1318646 w 271418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599121 w 2712691"/>
                <a:gd name="connsiteY4" fmla="*/ 600887 h 1504913"/>
                <a:gd name="connsiteX5" fmla="*/ 511471 w 2712691"/>
                <a:gd name="connsiteY5" fmla="*/ 844856 h 1504913"/>
                <a:gd name="connsiteX6" fmla="*/ 470704 w 2712691"/>
                <a:gd name="connsiteY6" fmla="*/ 802922 h 1504913"/>
                <a:gd name="connsiteX7" fmla="*/ 223499 w 2712691"/>
                <a:gd name="connsiteY7" fmla="*/ 535197 h 1504913"/>
                <a:gd name="connsiteX8" fmla="*/ 150113 w 2712691"/>
                <a:gd name="connsiteY8" fmla="*/ 499288 h 1504913"/>
                <a:gd name="connsiteX9" fmla="*/ 6645 w 2712691"/>
                <a:gd name="connsiteY9" fmla="*/ 618324 h 1504913"/>
                <a:gd name="connsiteX10" fmla="*/ 386139 w 2712691"/>
                <a:gd name="connsiteY10" fmla="*/ 1041189 h 1504913"/>
                <a:gd name="connsiteX11" fmla="*/ 511818 w 2712691"/>
                <a:gd name="connsiteY11" fmla="*/ 1167926 h 1504913"/>
                <a:gd name="connsiteX12" fmla="*/ 649796 w 2712691"/>
                <a:gd name="connsiteY12" fmla="*/ 1140489 h 1504913"/>
                <a:gd name="connsiteX13" fmla="*/ 717149 w 2712691"/>
                <a:gd name="connsiteY13" fmla="*/ 940729 h 1504913"/>
                <a:gd name="connsiteX14" fmla="*/ 725513 w 2712691"/>
                <a:gd name="connsiteY14" fmla="*/ 1109029 h 1504913"/>
                <a:gd name="connsiteX15" fmla="*/ 715352 w 2712691"/>
                <a:gd name="connsiteY15" fmla="*/ 1390110 h 1504913"/>
                <a:gd name="connsiteX16" fmla="*/ 742584 w 2712691"/>
                <a:gd name="connsiteY16" fmla="*/ 1485853 h 1504913"/>
                <a:gd name="connsiteX17" fmla="*/ 911521 w 2712691"/>
                <a:gd name="connsiteY17" fmla="*/ 1492229 h 1504913"/>
                <a:gd name="connsiteX18" fmla="*/ 1237865 w 2712691"/>
                <a:gd name="connsiteY18" fmla="*/ 1504913 h 1504913"/>
                <a:gd name="connsiteX19" fmla="*/ 1549572 w 2712691"/>
                <a:gd name="connsiteY19" fmla="*/ 1498900 h 1504913"/>
                <a:gd name="connsiteX20" fmla="*/ 1772004 w 2712691"/>
                <a:gd name="connsiteY20" fmla="*/ 1483781 h 1504913"/>
                <a:gd name="connsiteX21" fmla="*/ 1775400 w 2712691"/>
                <a:gd name="connsiteY21" fmla="*/ 1129828 h 1504913"/>
                <a:gd name="connsiteX22" fmla="*/ 1780492 w 2712691"/>
                <a:gd name="connsiteY22" fmla="*/ 962915 h 1504913"/>
                <a:gd name="connsiteX23" fmla="*/ 1867155 w 2712691"/>
                <a:gd name="connsiteY23" fmla="*/ 1133760 h 1504913"/>
                <a:gd name="connsiteX24" fmla="*/ 1965557 w 2712691"/>
                <a:gd name="connsiteY24" fmla="*/ 1276114 h 1504913"/>
                <a:gd name="connsiteX25" fmla="*/ 2107911 w 2712691"/>
                <a:gd name="connsiteY25" fmla="*/ 1256565 h 1504913"/>
                <a:gd name="connsiteX26" fmla="*/ 2341437 w 2712691"/>
                <a:gd name="connsiteY26" fmla="*/ 1048417 h 1504913"/>
                <a:gd name="connsiteX27" fmla="*/ 2692755 w 2712691"/>
                <a:gd name="connsiteY27" fmla="*/ 712373 h 1504913"/>
                <a:gd name="connsiteX28" fmla="*/ 2657648 w 2712691"/>
                <a:gd name="connsiteY28" fmla="*/ 634713 h 1504913"/>
                <a:gd name="connsiteX29" fmla="*/ 2541801 w 2712691"/>
                <a:gd name="connsiteY29" fmla="*/ 598435 h 1504913"/>
                <a:gd name="connsiteX30" fmla="*/ 2217815 w 2712691"/>
                <a:gd name="connsiteY30" fmla="*/ 824096 h 1504913"/>
                <a:gd name="connsiteX31" fmla="*/ 2076860 w 2712691"/>
                <a:gd name="connsiteY31" fmla="*/ 918226 h 1504913"/>
                <a:gd name="connsiteX32" fmla="*/ 1992095 w 2712691"/>
                <a:gd name="connsiteY32" fmla="*/ 765870 h 1504913"/>
                <a:gd name="connsiteX33" fmla="*/ 1861824 w 2712691"/>
                <a:gd name="connsiteY33" fmla="*/ 503111 h 1504913"/>
                <a:gd name="connsiteX34" fmla="*/ 1752475 w 2712691"/>
                <a:gd name="connsiteY34" fmla="*/ 237272 h 1504913"/>
                <a:gd name="connsiteX35" fmla="*/ 1634366 w 2712691"/>
                <a:gd name="connsiteY35" fmla="*/ 140189 h 1504913"/>
                <a:gd name="connsiteX36" fmla="*/ 1528577 w 2712691"/>
                <a:gd name="connsiteY36" fmla="*/ 91726 h 1504913"/>
                <a:gd name="connsiteX37" fmla="*/ 1419251 w 2712691"/>
                <a:gd name="connsiteY37" fmla="*/ 31342 h 1504913"/>
                <a:gd name="connsiteX38" fmla="*/ 1317156 w 2712691"/>
                <a:gd name="connsiteY38"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99121 w 2712691"/>
                <a:gd name="connsiteY5" fmla="*/ 600887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703998 w 2712691"/>
                <a:gd name="connsiteY4" fmla="*/ 364914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51 h 1504913"/>
                <a:gd name="connsiteX1" fmla="*/ 1206831 w 2712691"/>
                <a:gd name="connsiteY1" fmla="*/ 370 h 1504913"/>
                <a:gd name="connsiteX2" fmla="*/ 1087299 w 2712691"/>
                <a:gd name="connsiteY2" fmla="*/ 72575 h 1504913"/>
                <a:gd name="connsiteX3" fmla="*/ 823461 w 2712691"/>
                <a:gd name="connsiteY3" fmla="*/ 188231 h 1504913"/>
                <a:gd name="connsiteX4" fmla="*/ 684333 w 2712691"/>
                <a:gd name="connsiteY4" fmla="*/ 348527 h 1504913"/>
                <a:gd name="connsiteX5" fmla="*/ 586011 w 2712691"/>
                <a:gd name="connsiteY5" fmla="*/ 584500 h 1504913"/>
                <a:gd name="connsiteX6" fmla="*/ 511471 w 2712691"/>
                <a:gd name="connsiteY6" fmla="*/ 844856 h 1504913"/>
                <a:gd name="connsiteX7" fmla="*/ 470704 w 2712691"/>
                <a:gd name="connsiteY7" fmla="*/ 802922 h 1504913"/>
                <a:gd name="connsiteX8" fmla="*/ 223499 w 2712691"/>
                <a:gd name="connsiteY8" fmla="*/ 535197 h 1504913"/>
                <a:gd name="connsiteX9" fmla="*/ 150113 w 2712691"/>
                <a:gd name="connsiteY9" fmla="*/ 499288 h 1504913"/>
                <a:gd name="connsiteX10" fmla="*/ 6645 w 2712691"/>
                <a:gd name="connsiteY10" fmla="*/ 618324 h 1504913"/>
                <a:gd name="connsiteX11" fmla="*/ 386139 w 2712691"/>
                <a:gd name="connsiteY11" fmla="*/ 1041189 h 1504913"/>
                <a:gd name="connsiteX12" fmla="*/ 511818 w 2712691"/>
                <a:gd name="connsiteY12" fmla="*/ 1167926 h 1504913"/>
                <a:gd name="connsiteX13" fmla="*/ 649796 w 2712691"/>
                <a:gd name="connsiteY13" fmla="*/ 1140489 h 1504913"/>
                <a:gd name="connsiteX14" fmla="*/ 717149 w 2712691"/>
                <a:gd name="connsiteY14" fmla="*/ 940729 h 1504913"/>
                <a:gd name="connsiteX15" fmla="*/ 725513 w 2712691"/>
                <a:gd name="connsiteY15" fmla="*/ 1109029 h 1504913"/>
                <a:gd name="connsiteX16" fmla="*/ 715352 w 2712691"/>
                <a:gd name="connsiteY16" fmla="*/ 1390110 h 1504913"/>
                <a:gd name="connsiteX17" fmla="*/ 742584 w 2712691"/>
                <a:gd name="connsiteY17" fmla="*/ 1485853 h 1504913"/>
                <a:gd name="connsiteX18" fmla="*/ 911521 w 2712691"/>
                <a:gd name="connsiteY18" fmla="*/ 1492229 h 1504913"/>
                <a:gd name="connsiteX19" fmla="*/ 1237865 w 2712691"/>
                <a:gd name="connsiteY19" fmla="*/ 1504913 h 1504913"/>
                <a:gd name="connsiteX20" fmla="*/ 1549572 w 2712691"/>
                <a:gd name="connsiteY20" fmla="*/ 1498900 h 1504913"/>
                <a:gd name="connsiteX21" fmla="*/ 1772004 w 2712691"/>
                <a:gd name="connsiteY21" fmla="*/ 1483781 h 1504913"/>
                <a:gd name="connsiteX22" fmla="*/ 1775400 w 2712691"/>
                <a:gd name="connsiteY22" fmla="*/ 1129828 h 1504913"/>
                <a:gd name="connsiteX23" fmla="*/ 1780492 w 2712691"/>
                <a:gd name="connsiteY23" fmla="*/ 962915 h 1504913"/>
                <a:gd name="connsiteX24" fmla="*/ 1867155 w 2712691"/>
                <a:gd name="connsiteY24" fmla="*/ 1133760 h 1504913"/>
                <a:gd name="connsiteX25" fmla="*/ 1965557 w 2712691"/>
                <a:gd name="connsiteY25" fmla="*/ 1276114 h 1504913"/>
                <a:gd name="connsiteX26" fmla="*/ 2107911 w 2712691"/>
                <a:gd name="connsiteY26" fmla="*/ 1256565 h 1504913"/>
                <a:gd name="connsiteX27" fmla="*/ 2341437 w 2712691"/>
                <a:gd name="connsiteY27" fmla="*/ 1048417 h 1504913"/>
                <a:gd name="connsiteX28" fmla="*/ 2692755 w 2712691"/>
                <a:gd name="connsiteY28" fmla="*/ 712373 h 1504913"/>
                <a:gd name="connsiteX29" fmla="*/ 2657648 w 2712691"/>
                <a:gd name="connsiteY29" fmla="*/ 634713 h 1504913"/>
                <a:gd name="connsiteX30" fmla="*/ 2541801 w 2712691"/>
                <a:gd name="connsiteY30" fmla="*/ 598435 h 1504913"/>
                <a:gd name="connsiteX31" fmla="*/ 2217815 w 2712691"/>
                <a:gd name="connsiteY31" fmla="*/ 824096 h 1504913"/>
                <a:gd name="connsiteX32" fmla="*/ 2076860 w 2712691"/>
                <a:gd name="connsiteY32" fmla="*/ 918226 h 1504913"/>
                <a:gd name="connsiteX33" fmla="*/ 1992095 w 2712691"/>
                <a:gd name="connsiteY33" fmla="*/ 765870 h 1504913"/>
                <a:gd name="connsiteX34" fmla="*/ 1861824 w 2712691"/>
                <a:gd name="connsiteY34" fmla="*/ 503111 h 1504913"/>
                <a:gd name="connsiteX35" fmla="*/ 1752475 w 2712691"/>
                <a:gd name="connsiteY35" fmla="*/ 237272 h 1504913"/>
                <a:gd name="connsiteX36" fmla="*/ 1634366 w 2712691"/>
                <a:gd name="connsiteY36" fmla="*/ 140189 h 1504913"/>
                <a:gd name="connsiteX37" fmla="*/ 1528577 w 2712691"/>
                <a:gd name="connsiteY37" fmla="*/ 91726 h 1504913"/>
                <a:gd name="connsiteX38" fmla="*/ 1419251 w 2712691"/>
                <a:gd name="connsiteY38" fmla="*/ 31342 h 1504913"/>
                <a:gd name="connsiteX39" fmla="*/ 1317156 w 2712691"/>
                <a:gd name="connsiteY39" fmla="*/ 102251 h 1504913"/>
                <a:gd name="connsiteX0" fmla="*/ 1317156 w 2712691"/>
                <a:gd name="connsiteY0" fmla="*/ 102212 h 1504874"/>
                <a:gd name="connsiteX1" fmla="*/ 1206831 w 2712691"/>
                <a:gd name="connsiteY1" fmla="*/ 331 h 1504874"/>
                <a:gd name="connsiteX2" fmla="*/ 1087299 w 2712691"/>
                <a:gd name="connsiteY2" fmla="*/ 72536 h 1504874"/>
                <a:gd name="connsiteX3" fmla="*/ 803796 w 2712691"/>
                <a:gd name="connsiteY3" fmla="*/ 152140 h 1504874"/>
                <a:gd name="connsiteX4" fmla="*/ 684333 w 2712691"/>
                <a:gd name="connsiteY4" fmla="*/ 348488 h 1504874"/>
                <a:gd name="connsiteX5" fmla="*/ 586011 w 2712691"/>
                <a:gd name="connsiteY5" fmla="*/ 584461 h 1504874"/>
                <a:gd name="connsiteX6" fmla="*/ 511471 w 2712691"/>
                <a:gd name="connsiteY6" fmla="*/ 844817 h 1504874"/>
                <a:gd name="connsiteX7" fmla="*/ 470704 w 2712691"/>
                <a:gd name="connsiteY7" fmla="*/ 802883 h 1504874"/>
                <a:gd name="connsiteX8" fmla="*/ 223499 w 2712691"/>
                <a:gd name="connsiteY8" fmla="*/ 535158 h 1504874"/>
                <a:gd name="connsiteX9" fmla="*/ 150113 w 2712691"/>
                <a:gd name="connsiteY9" fmla="*/ 499249 h 1504874"/>
                <a:gd name="connsiteX10" fmla="*/ 6645 w 2712691"/>
                <a:gd name="connsiteY10" fmla="*/ 618285 h 1504874"/>
                <a:gd name="connsiteX11" fmla="*/ 386139 w 2712691"/>
                <a:gd name="connsiteY11" fmla="*/ 1041150 h 1504874"/>
                <a:gd name="connsiteX12" fmla="*/ 511818 w 2712691"/>
                <a:gd name="connsiteY12" fmla="*/ 1167887 h 1504874"/>
                <a:gd name="connsiteX13" fmla="*/ 649796 w 2712691"/>
                <a:gd name="connsiteY13" fmla="*/ 1140450 h 1504874"/>
                <a:gd name="connsiteX14" fmla="*/ 717149 w 2712691"/>
                <a:gd name="connsiteY14" fmla="*/ 940690 h 1504874"/>
                <a:gd name="connsiteX15" fmla="*/ 725513 w 2712691"/>
                <a:gd name="connsiteY15" fmla="*/ 1108990 h 1504874"/>
                <a:gd name="connsiteX16" fmla="*/ 715352 w 2712691"/>
                <a:gd name="connsiteY16" fmla="*/ 1390071 h 1504874"/>
                <a:gd name="connsiteX17" fmla="*/ 742584 w 2712691"/>
                <a:gd name="connsiteY17" fmla="*/ 1485814 h 1504874"/>
                <a:gd name="connsiteX18" fmla="*/ 911521 w 2712691"/>
                <a:gd name="connsiteY18" fmla="*/ 1492190 h 1504874"/>
                <a:gd name="connsiteX19" fmla="*/ 1237865 w 2712691"/>
                <a:gd name="connsiteY19" fmla="*/ 1504874 h 1504874"/>
                <a:gd name="connsiteX20" fmla="*/ 1549572 w 2712691"/>
                <a:gd name="connsiteY20" fmla="*/ 1498861 h 1504874"/>
                <a:gd name="connsiteX21" fmla="*/ 1772004 w 2712691"/>
                <a:gd name="connsiteY21" fmla="*/ 1483742 h 1504874"/>
                <a:gd name="connsiteX22" fmla="*/ 1775400 w 2712691"/>
                <a:gd name="connsiteY22" fmla="*/ 1129789 h 1504874"/>
                <a:gd name="connsiteX23" fmla="*/ 1780492 w 2712691"/>
                <a:gd name="connsiteY23" fmla="*/ 962876 h 1504874"/>
                <a:gd name="connsiteX24" fmla="*/ 1867155 w 2712691"/>
                <a:gd name="connsiteY24" fmla="*/ 1133721 h 1504874"/>
                <a:gd name="connsiteX25" fmla="*/ 1965557 w 2712691"/>
                <a:gd name="connsiteY25" fmla="*/ 1276075 h 1504874"/>
                <a:gd name="connsiteX26" fmla="*/ 2107911 w 2712691"/>
                <a:gd name="connsiteY26" fmla="*/ 1256526 h 1504874"/>
                <a:gd name="connsiteX27" fmla="*/ 2341437 w 2712691"/>
                <a:gd name="connsiteY27" fmla="*/ 1048378 h 1504874"/>
                <a:gd name="connsiteX28" fmla="*/ 2692755 w 2712691"/>
                <a:gd name="connsiteY28" fmla="*/ 712334 h 1504874"/>
                <a:gd name="connsiteX29" fmla="*/ 2657648 w 2712691"/>
                <a:gd name="connsiteY29" fmla="*/ 634674 h 1504874"/>
                <a:gd name="connsiteX30" fmla="*/ 2541801 w 2712691"/>
                <a:gd name="connsiteY30" fmla="*/ 598396 h 1504874"/>
                <a:gd name="connsiteX31" fmla="*/ 2217815 w 2712691"/>
                <a:gd name="connsiteY31" fmla="*/ 824057 h 1504874"/>
                <a:gd name="connsiteX32" fmla="*/ 2076860 w 2712691"/>
                <a:gd name="connsiteY32" fmla="*/ 918187 h 1504874"/>
                <a:gd name="connsiteX33" fmla="*/ 1992095 w 2712691"/>
                <a:gd name="connsiteY33" fmla="*/ 765831 h 1504874"/>
                <a:gd name="connsiteX34" fmla="*/ 1861824 w 2712691"/>
                <a:gd name="connsiteY34" fmla="*/ 503072 h 1504874"/>
                <a:gd name="connsiteX35" fmla="*/ 1752475 w 2712691"/>
                <a:gd name="connsiteY35" fmla="*/ 237233 h 1504874"/>
                <a:gd name="connsiteX36" fmla="*/ 1634366 w 2712691"/>
                <a:gd name="connsiteY36" fmla="*/ 140150 h 1504874"/>
                <a:gd name="connsiteX37" fmla="*/ 1528577 w 2712691"/>
                <a:gd name="connsiteY37" fmla="*/ 91687 h 1504874"/>
                <a:gd name="connsiteX38" fmla="*/ 1419251 w 2712691"/>
                <a:gd name="connsiteY38" fmla="*/ 31303 h 1504874"/>
                <a:gd name="connsiteX39" fmla="*/ 1317156 w 2712691"/>
                <a:gd name="connsiteY39" fmla="*/ 102212 h 1504874"/>
                <a:gd name="connsiteX0" fmla="*/ 1317156 w 2712266"/>
                <a:gd name="connsiteY0" fmla="*/ 102212 h 1504874"/>
                <a:gd name="connsiteX1" fmla="*/ 1206831 w 2712266"/>
                <a:gd name="connsiteY1" fmla="*/ 331 h 1504874"/>
                <a:gd name="connsiteX2" fmla="*/ 1087299 w 2712266"/>
                <a:gd name="connsiteY2" fmla="*/ 72536 h 1504874"/>
                <a:gd name="connsiteX3" fmla="*/ 803796 w 2712266"/>
                <a:gd name="connsiteY3" fmla="*/ 152140 h 1504874"/>
                <a:gd name="connsiteX4" fmla="*/ 684333 w 2712266"/>
                <a:gd name="connsiteY4" fmla="*/ 348488 h 1504874"/>
                <a:gd name="connsiteX5" fmla="*/ 586011 w 2712266"/>
                <a:gd name="connsiteY5" fmla="*/ 584461 h 1504874"/>
                <a:gd name="connsiteX6" fmla="*/ 511471 w 2712266"/>
                <a:gd name="connsiteY6" fmla="*/ 844817 h 1504874"/>
                <a:gd name="connsiteX7" fmla="*/ 470704 w 2712266"/>
                <a:gd name="connsiteY7" fmla="*/ 802883 h 1504874"/>
                <a:gd name="connsiteX8" fmla="*/ 223499 w 2712266"/>
                <a:gd name="connsiteY8" fmla="*/ 535158 h 1504874"/>
                <a:gd name="connsiteX9" fmla="*/ 150113 w 2712266"/>
                <a:gd name="connsiteY9" fmla="*/ 499249 h 1504874"/>
                <a:gd name="connsiteX10" fmla="*/ 6645 w 2712266"/>
                <a:gd name="connsiteY10" fmla="*/ 618285 h 1504874"/>
                <a:gd name="connsiteX11" fmla="*/ 386139 w 2712266"/>
                <a:gd name="connsiteY11" fmla="*/ 1041150 h 1504874"/>
                <a:gd name="connsiteX12" fmla="*/ 511818 w 2712266"/>
                <a:gd name="connsiteY12" fmla="*/ 1167887 h 1504874"/>
                <a:gd name="connsiteX13" fmla="*/ 649796 w 2712266"/>
                <a:gd name="connsiteY13" fmla="*/ 1140450 h 1504874"/>
                <a:gd name="connsiteX14" fmla="*/ 717149 w 2712266"/>
                <a:gd name="connsiteY14" fmla="*/ 940690 h 1504874"/>
                <a:gd name="connsiteX15" fmla="*/ 725513 w 2712266"/>
                <a:gd name="connsiteY15" fmla="*/ 1108990 h 1504874"/>
                <a:gd name="connsiteX16" fmla="*/ 715352 w 2712266"/>
                <a:gd name="connsiteY16" fmla="*/ 1390071 h 1504874"/>
                <a:gd name="connsiteX17" fmla="*/ 742584 w 2712266"/>
                <a:gd name="connsiteY17" fmla="*/ 1485814 h 1504874"/>
                <a:gd name="connsiteX18" fmla="*/ 911521 w 2712266"/>
                <a:gd name="connsiteY18" fmla="*/ 1492190 h 1504874"/>
                <a:gd name="connsiteX19" fmla="*/ 1237865 w 2712266"/>
                <a:gd name="connsiteY19" fmla="*/ 1504874 h 1504874"/>
                <a:gd name="connsiteX20" fmla="*/ 1549572 w 2712266"/>
                <a:gd name="connsiteY20" fmla="*/ 1498861 h 1504874"/>
                <a:gd name="connsiteX21" fmla="*/ 1772004 w 2712266"/>
                <a:gd name="connsiteY21" fmla="*/ 1483742 h 1504874"/>
                <a:gd name="connsiteX22" fmla="*/ 1775400 w 2712266"/>
                <a:gd name="connsiteY22" fmla="*/ 1129789 h 1504874"/>
                <a:gd name="connsiteX23" fmla="*/ 1780492 w 2712266"/>
                <a:gd name="connsiteY23" fmla="*/ 962876 h 1504874"/>
                <a:gd name="connsiteX24" fmla="*/ 1867155 w 2712266"/>
                <a:gd name="connsiteY24" fmla="*/ 1133721 h 1504874"/>
                <a:gd name="connsiteX25" fmla="*/ 1965557 w 2712266"/>
                <a:gd name="connsiteY25" fmla="*/ 1276075 h 1504874"/>
                <a:gd name="connsiteX26" fmla="*/ 2107911 w 2712266"/>
                <a:gd name="connsiteY26" fmla="*/ 1256526 h 1504874"/>
                <a:gd name="connsiteX27" fmla="*/ 2341437 w 2712266"/>
                <a:gd name="connsiteY27" fmla="*/ 1048378 h 1504874"/>
                <a:gd name="connsiteX28" fmla="*/ 2692755 w 2712266"/>
                <a:gd name="connsiteY28" fmla="*/ 712334 h 1504874"/>
                <a:gd name="connsiteX29" fmla="*/ 2657648 w 2712266"/>
                <a:gd name="connsiteY29" fmla="*/ 634674 h 1504874"/>
                <a:gd name="connsiteX30" fmla="*/ 2577853 w 2712266"/>
                <a:gd name="connsiteY30" fmla="*/ 572176 h 1504874"/>
                <a:gd name="connsiteX31" fmla="*/ 2217815 w 2712266"/>
                <a:gd name="connsiteY31" fmla="*/ 824057 h 1504874"/>
                <a:gd name="connsiteX32" fmla="*/ 2076860 w 2712266"/>
                <a:gd name="connsiteY32" fmla="*/ 918187 h 1504874"/>
                <a:gd name="connsiteX33" fmla="*/ 1992095 w 2712266"/>
                <a:gd name="connsiteY33" fmla="*/ 765831 h 1504874"/>
                <a:gd name="connsiteX34" fmla="*/ 1861824 w 2712266"/>
                <a:gd name="connsiteY34" fmla="*/ 503072 h 1504874"/>
                <a:gd name="connsiteX35" fmla="*/ 1752475 w 2712266"/>
                <a:gd name="connsiteY35" fmla="*/ 237233 h 1504874"/>
                <a:gd name="connsiteX36" fmla="*/ 1634366 w 2712266"/>
                <a:gd name="connsiteY36" fmla="*/ 140150 h 1504874"/>
                <a:gd name="connsiteX37" fmla="*/ 1528577 w 2712266"/>
                <a:gd name="connsiteY37" fmla="*/ 91687 h 1504874"/>
                <a:gd name="connsiteX38" fmla="*/ 1419251 w 2712266"/>
                <a:gd name="connsiteY38" fmla="*/ 31303 h 1504874"/>
                <a:gd name="connsiteX39" fmla="*/ 1317156 w 2712266"/>
                <a:gd name="connsiteY39" fmla="*/ 102212 h 1504874"/>
                <a:gd name="connsiteX0" fmla="*/ 1317156 w 2710710"/>
                <a:gd name="connsiteY0" fmla="*/ 102212 h 1504874"/>
                <a:gd name="connsiteX1" fmla="*/ 1206831 w 2710710"/>
                <a:gd name="connsiteY1" fmla="*/ 331 h 1504874"/>
                <a:gd name="connsiteX2" fmla="*/ 1087299 w 2710710"/>
                <a:gd name="connsiteY2" fmla="*/ 72536 h 1504874"/>
                <a:gd name="connsiteX3" fmla="*/ 803796 w 2710710"/>
                <a:gd name="connsiteY3" fmla="*/ 152140 h 1504874"/>
                <a:gd name="connsiteX4" fmla="*/ 684333 w 2710710"/>
                <a:gd name="connsiteY4" fmla="*/ 348488 h 1504874"/>
                <a:gd name="connsiteX5" fmla="*/ 586011 w 2710710"/>
                <a:gd name="connsiteY5" fmla="*/ 584461 h 1504874"/>
                <a:gd name="connsiteX6" fmla="*/ 511471 w 2710710"/>
                <a:gd name="connsiteY6" fmla="*/ 844817 h 1504874"/>
                <a:gd name="connsiteX7" fmla="*/ 470704 w 2710710"/>
                <a:gd name="connsiteY7" fmla="*/ 802883 h 1504874"/>
                <a:gd name="connsiteX8" fmla="*/ 223499 w 2710710"/>
                <a:gd name="connsiteY8" fmla="*/ 535158 h 1504874"/>
                <a:gd name="connsiteX9" fmla="*/ 150113 w 2710710"/>
                <a:gd name="connsiteY9" fmla="*/ 499249 h 1504874"/>
                <a:gd name="connsiteX10" fmla="*/ 6645 w 2710710"/>
                <a:gd name="connsiteY10" fmla="*/ 618285 h 1504874"/>
                <a:gd name="connsiteX11" fmla="*/ 386139 w 2710710"/>
                <a:gd name="connsiteY11" fmla="*/ 1041150 h 1504874"/>
                <a:gd name="connsiteX12" fmla="*/ 511818 w 2710710"/>
                <a:gd name="connsiteY12" fmla="*/ 1167887 h 1504874"/>
                <a:gd name="connsiteX13" fmla="*/ 649796 w 2710710"/>
                <a:gd name="connsiteY13" fmla="*/ 1140450 h 1504874"/>
                <a:gd name="connsiteX14" fmla="*/ 717149 w 2710710"/>
                <a:gd name="connsiteY14" fmla="*/ 940690 h 1504874"/>
                <a:gd name="connsiteX15" fmla="*/ 725513 w 2710710"/>
                <a:gd name="connsiteY15" fmla="*/ 1108990 h 1504874"/>
                <a:gd name="connsiteX16" fmla="*/ 715352 w 2710710"/>
                <a:gd name="connsiteY16" fmla="*/ 1390071 h 1504874"/>
                <a:gd name="connsiteX17" fmla="*/ 742584 w 2710710"/>
                <a:gd name="connsiteY17" fmla="*/ 1485814 h 1504874"/>
                <a:gd name="connsiteX18" fmla="*/ 911521 w 2710710"/>
                <a:gd name="connsiteY18" fmla="*/ 1492190 h 1504874"/>
                <a:gd name="connsiteX19" fmla="*/ 1237865 w 2710710"/>
                <a:gd name="connsiteY19" fmla="*/ 1504874 h 1504874"/>
                <a:gd name="connsiteX20" fmla="*/ 1549572 w 2710710"/>
                <a:gd name="connsiteY20" fmla="*/ 1498861 h 1504874"/>
                <a:gd name="connsiteX21" fmla="*/ 1772004 w 2710710"/>
                <a:gd name="connsiteY21" fmla="*/ 1483742 h 1504874"/>
                <a:gd name="connsiteX22" fmla="*/ 1775400 w 2710710"/>
                <a:gd name="connsiteY22" fmla="*/ 1129789 h 1504874"/>
                <a:gd name="connsiteX23" fmla="*/ 1780492 w 2710710"/>
                <a:gd name="connsiteY23" fmla="*/ 962876 h 1504874"/>
                <a:gd name="connsiteX24" fmla="*/ 1867155 w 2710710"/>
                <a:gd name="connsiteY24" fmla="*/ 1133721 h 1504874"/>
                <a:gd name="connsiteX25" fmla="*/ 1965557 w 2710710"/>
                <a:gd name="connsiteY25" fmla="*/ 1276075 h 1504874"/>
                <a:gd name="connsiteX26" fmla="*/ 2107911 w 2710710"/>
                <a:gd name="connsiteY26" fmla="*/ 1256526 h 1504874"/>
                <a:gd name="connsiteX27" fmla="*/ 2341437 w 2710710"/>
                <a:gd name="connsiteY27" fmla="*/ 1048378 h 1504874"/>
                <a:gd name="connsiteX28" fmla="*/ 2692755 w 2710710"/>
                <a:gd name="connsiteY28" fmla="*/ 712334 h 1504874"/>
                <a:gd name="connsiteX29" fmla="*/ 2651093 w 2710710"/>
                <a:gd name="connsiteY29" fmla="*/ 618287 h 1504874"/>
                <a:gd name="connsiteX30" fmla="*/ 2577853 w 2710710"/>
                <a:gd name="connsiteY30" fmla="*/ 572176 h 1504874"/>
                <a:gd name="connsiteX31" fmla="*/ 2217815 w 2710710"/>
                <a:gd name="connsiteY31" fmla="*/ 824057 h 1504874"/>
                <a:gd name="connsiteX32" fmla="*/ 2076860 w 2710710"/>
                <a:gd name="connsiteY32" fmla="*/ 918187 h 1504874"/>
                <a:gd name="connsiteX33" fmla="*/ 1992095 w 2710710"/>
                <a:gd name="connsiteY33" fmla="*/ 765831 h 1504874"/>
                <a:gd name="connsiteX34" fmla="*/ 1861824 w 2710710"/>
                <a:gd name="connsiteY34" fmla="*/ 503072 h 1504874"/>
                <a:gd name="connsiteX35" fmla="*/ 1752475 w 2710710"/>
                <a:gd name="connsiteY35" fmla="*/ 237233 h 1504874"/>
                <a:gd name="connsiteX36" fmla="*/ 1634366 w 2710710"/>
                <a:gd name="connsiteY36" fmla="*/ 140150 h 1504874"/>
                <a:gd name="connsiteX37" fmla="*/ 1528577 w 2710710"/>
                <a:gd name="connsiteY37" fmla="*/ 91687 h 1504874"/>
                <a:gd name="connsiteX38" fmla="*/ 1419251 w 2710710"/>
                <a:gd name="connsiteY38" fmla="*/ 31303 h 1504874"/>
                <a:gd name="connsiteX39" fmla="*/ 1317156 w 2710710"/>
                <a:gd name="connsiteY39" fmla="*/ 102212 h 1504874"/>
                <a:gd name="connsiteX0" fmla="*/ 1317156 w 2713969"/>
                <a:gd name="connsiteY0" fmla="*/ 102212 h 1504874"/>
                <a:gd name="connsiteX1" fmla="*/ 1206831 w 2713969"/>
                <a:gd name="connsiteY1" fmla="*/ 331 h 1504874"/>
                <a:gd name="connsiteX2" fmla="*/ 1087299 w 2713969"/>
                <a:gd name="connsiteY2" fmla="*/ 72536 h 1504874"/>
                <a:gd name="connsiteX3" fmla="*/ 803796 w 2713969"/>
                <a:gd name="connsiteY3" fmla="*/ 152140 h 1504874"/>
                <a:gd name="connsiteX4" fmla="*/ 684333 w 2713969"/>
                <a:gd name="connsiteY4" fmla="*/ 348488 h 1504874"/>
                <a:gd name="connsiteX5" fmla="*/ 586011 w 2713969"/>
                <a:gd name="connsiteY5" fmla="*/ 584461 h 1504874"/>
                <a:gd name="connsiteX6" fmla="*/ 511471 w 2713969"/>
                <a:gd name="connsiteY6" fmla="*/ 844817 h 1504874"/>
                <a:gd name="connsiteX7" fmla="*/ 470704 w 2713969"/>
                <a:gd name="connsiteY7" fmla="*/ 802883 h 1504874"/>
                <a:gd name="connsiteX8" fmla="*/ 223499 w 2713969"/>
                <a:gd name="connsiteY8" fmla="*/ 535158 h 1504874"/>
                <a:gd name="connsiteX9" fmla="*/ 150113 w 2713969"/>
                <a:gd name="connsiteY9" fmla="*/ 499249 h 1504874"/>
                <a:gd name="connsiteX10" fmla="*/ 6645 w 2713969"/>
                <a:gd name="connsiteY10" fmla="*/ 618285 h 1504874"/>
                <a:gd name="connsiteX11" fmla="*/ 386139 w 2713969"/>
                <a:gd name="connsiteY11" fmla="*/ 1041150 h 1504874"/>
                <a:gd name="connsiteX12" fmla="*/ 511818 w 2713969"/>
                <a:gd name="connsiteY12" fmla="*/ 1167887 h 1504874"/>
                <a:gd name="connsiteX13" fmla="*/ 649796 w 2713969"/>
                <a:gd name="connsiteY13" fmla="*/ 1140450 h 1504874"/>
                <a:gd name="connsiteX14" fmla="*/ 717149 w 2713969"/>
                <a:gd name="connsiteY14" fmla="*/ 940690 h 1504874"/>
                <a:gd name="connsiteX15" fmla="*/ 725513 w 2713969"/>
                <a:gd name="connsiteY15" fmla="*/ 1108990 h 1504874"/>
                <a:gd name="connsiteX16" fmla="*/ 715352 w 2713969"/>
                <a:gd name="connsiteY16" fmla="*/ 1390071 h 1504874"/>
                <a:gd name="connsiteX17" fmla="*/ 742584 w 2713969"/>
                <a:gd name="connsiteY17" fmla="*/ 1485814 h 1504874"/>
                <a:gd name="connsiteX18" fmla="*/ 911521 w 2713969"/>
                <a:gd name="connsiteY18" fmla="*/ 1492190 h 1504874"/>
                <a:gd name="connsiteX19" fmla="*/ 1237865 w 2713969"/>
                <a:gd name="connsiteY19" fmla="*/ 1504874 h 1504874"/>
                <a:gd name="connsiteX20" fmla="*/ 1549572 w 2713969"/>
                <a:gd name="connsiteY20" fmla="*/ 1498861 h 1504874"/>
                <a:gd name="connsiteX21" fmla="*/ 1772004 w 2713969"/>
                <a:gd name="connsiteY21" fmla="*/ 1483742 h 1504874"/>
                <a:gd name="connsiteX22" fmla="*/ 1775400 w 2713969"/>
                <a:gd name="connsiteY22" fmla="*/ 1129789 h 1504874"/>
                <a:gd name="connsiteX23" fmla="*/ 1780492 w 2713969"/>
                <a:gd name="connsiteY23" fmla="*/ 962876 h 1504874"/>
                <a:gd name="connsiteX24" fmla="*/ 1867155 w 2713969"/>
                <a:gd name="connsiteY24" fmla="*/ 1133721 h 1504874"/>
                <a:gd name="connsiteX25" fmla="*/ 1965557 w 2713969"/>
                <a:gd name="connsiteY25" fmla="*/ 1276075 h 1504874"/>
                <a:gd name="connsiteX26" fmla="*/ 2107911 w 2713969"/>
                <a:gd name="connsiteY26" fmla="*/ 1256526 h 1504874"/>
                <a:gd name="connsiteX27" fmla="*/ 2341437 w 2713969"/>
                <a:gd name="connsiteY27" fmla="*/ 1048378 h 1504874"/>
                <a:gd name="connsiteX28" fmla="*/ 2692755 w 2713969"/>
                <a:gd name="connsiteY28" fmla="*/ 712334 h 1504874"/>
                <a:gd name="connsiteX29" fmla="*/ 2664202 w 2713969"/>
                <a:gd name="connsiteY29" fmla="*/ 628119 h 1504874"/>
                <a:gd name="connsiteX30" fmla="*/ 2577853 w 2713969"/>
                <a:gd name="connsiteY30" fmla="*/ 572176 h 1504874"/>
                <a:gd name="connsiteX31" fmla="*/ 2217815 w 2713969"/>
                <a:gd name="connsiteY31" fmla="*/ 824057 h 1504874"/>
                <a:gd name="connsiteX32" fmla="*/ 2076860 w 2713969"/>
                <a:gd name="connsiteY32" fmla="*/ 918187 h 1504874"/>
                <a:gd name="connsiteX33" fmla="*/ 1992095 w 2713969"/>
                <a:gd name="connsiteY33" fmla="*/ 765831 h 1504874"/>
                <a:gd name="connsiteX34" fmla="*/ 1861824 w 2713969"/>
                <a:gd name="connsiteY34" fmla="*/ 503072 h 1504874"/>
                <a:gd name="connsiteX35" fmla="*/ 1752475 w 2713969"/>
                <a:gd name="connsiteY35" fmla="*/ 237233 h 1504874"/>
                <a:gd name="connsiteX36" fmla="*/ 1634366 w 2713969"/>
                <a:gd name="connsiteY36" fmla="*/ 140150 h 1504874"/>
                <a:gd name="connsiteX37" fmla="*/ 1528577 w 2713969"/>
                <a:gd name="connsiteY37" fmla="*/ 91687 h 1504874"/>
                <a:gd name="connsiteX38" fmla="*/ 1419251 w 2713969"/>
                <a:gd name="connsiteY38" fmla="*/ 31303 h 1504874"/>
                <a:gd name="connsiteX39" fmla="*/ 1317156 w 2713969"/>
                <a:gd name="connsiteY39" fmla="*/ 102212 h 1504874"/>
                <a:gd name="connsiteX0" fmla="*/ 1317156 w 2713969"/>
                <a:gd name="connsiteY0" fmla="*/ 70952 h 1473614"/>
                <a:gd name="connsiteX1" fmla="*/ 1194131 w 2713969"/>
                <a:gd name="connsiteY1" fmla="*/ 3996 h 1473614"/>
                <a:gd name="connsiteX2" fmla="*/ 1087299 w 2713969"/>
                <a:gd name="connsiteY2" fmla="*/ 41276 h 1473614"/>
                <a:gd name="connsiteX3" fmla="*/ 803796 w 2713969"/>
                <a:gd name="connsiteY3" fmla="*/ 120880 h 1473614"/>
                <a:gd name="connsiteX4" fmla="*/ 684333 w 2713969"/>
                <a:gd name="connsiteY4" fmla="*/ 317228 h 1473614"/>
                <a:gd name="connsiteX5" fmla="*/ 586011 w 2713969"/>
                <a:gd name="connsiteY5" fmla="*/ 553201 h 1473614"/>
                <a:gd name="connsiteX6" fmla="*/ 511471 w 2713969"/>
                <a:gd name="connsiteY6" fmla="*/ 813557 h 1473614"/>
                <a:gd name="connsiteX7" fmla="*/ 470704 w 2713969"/>
                <a:gd name="connsiteY7" fmla="*/ 771623 h 1473614"/>
                <a:gd name="connsiteX8" fmla="*/ 223499 w 2713969"/>
                <a:gd name="connsiteY8" fmla="*/ 503898 h 1473614"/>
                <a:gd name="connsiteX9" fmla="*/ 150113 w 2713969"/>
                <a:gd name="connsiteY9" fmla="*/ 467989 h 1473614"/>
                <a:gd name="connsiteX10" fmla="*/ 6645 w 2713969"/>
                <a:gd name="connsiteY10" fmla="*/ 587025 h 1473614"/>
                <a:gd name="connsiteX11" fmla="*/ 386139 w 2713969"/>
                <a:gd name="connsiteY11" fmla="*/ 1009890 h 1473614"/>
                <a:gd name="connsiteX12" fmla="*/ 511818 w 2713969"/>
                <a:gd name="connsiteY12" fmla="*/ 1136627 h 1473614"/>
                <a:gd name="connsiteX13" fmla="*/ 649796 w 2713969"/>
                <a:gd name="connsiteY13" fmla="*/ 1109190 h 1473614"/>
                <a:gd name="connsiteX14" fmla="*/ 717149 w 2713969"/>
                <a:gd name="connsiteY14" fmla="*/ 909430 h 1473614"/>
                <a:gd name="connsiteX15" fmla="*/ 725513 w 2713969"/>
                <a:gd name="connsiteY15" fmla="*/ 1077730 h 1473614"/>
                <a:gd name="connsiteX16" fmla="*/ 715352 w 2713969"/>
                <a:gd name="connsiteY16" fmla="*/ 1358811 h 1473614"/>
                <a:gd name="connsiteX17" fmla="*/ 742584 w 2713969"/>
                <a:gd name="connsiteY17" fmla="*/ 1454554 h 1473614"/>
                <a:gd name="connsiteX18" fmla="*/ 911521 w 2713969"/>
                <a:gd name="connsiteY18" fmla="*/ 1460930 h 1473614"/>
                <a:gd name="connsiteX19" fmla="*/ 1237865 w 2713969"/>
                <a:gd name="connsiteY19" fmla="*/ 1473614 h 1473614"/>
                <a:gd name="connsiteX20" fmla="*/ 1549572 w 2713969"/>
                <a:gd name="connsiteY20" fmla="*/ 1467601 h 1473614"/>
                <a:gd name="connsiteX21" fmla="*/ 1772004 w 2713969"/>
                <a:gd name="connsiteY21" fmla="*/ 1452482 h 1473614"/>
                <a:gd name="connsiteX22" fmla="*/ 1775400 w 2713969"/>
                <a:gd name="connsiteY22" fmla="*/ 1098529 h 1473614"/>
                <a:gd name="connsiteX23" fmla="*/ 1780492 w 2713969"/>
                <a:gd name="connsiteY23" fmla="*/ 931616 h 1473614"/>
                <a:gd name="connsiteX24" fmla="*/ 1867155 w 2713969"/>
                <a:gd name="connsiteY24" fmla="*/ 1102461 h 1473614"/>
                <a:gd name="connsiteX25" fmla="*/ 1965557 w 2713969"/>
                <a:gd name="connsiteY25" fmla="*/ 1244815 h 1473614"/>
                <a:gd name="connsiteX26" fmla="*/ 2107911 w 2713969"/>
                <a:gd name="connsiteY26" fmla="*/ 1225266 h 1473614"/>
                <a:gd name="connsiteX27" fmla="*/ 2341437 w 2713969"/>
                <a:gd name="connsiteY27" fmla="*/ 1017118 h 1473614"/>
                <a:gd name="connsiteX28" fmla="*/ 2692755 w 2713969"/>
                <a:gd name="connsiteY28" fmla="*/ 681074 h 1473614"/>
                <a:gd name="connsiteX29" fmla="*/ 2664202 w 2713969"/>
                <a:gd name="connsiteY29" fmla="*/ 596859 h 1473614"/>
                <a:gd name="connsiteX30" fmla="*/ 2577853 w 2713969"/>
                <a:gd name="connsiteY30" fmla="*/ 540916 h 1473614"/>
                <a:gd name="connsiteX31" fmla="*/ 2217815 w 2713969"/>
                <a:gd name="connsiteY31" fmla="*/ 792797 h 1473614"/>
                <a:gd name="connsiteX32" fmla="*/ 2076860 w 2713969"/>
                <a:gd name="connsiteY32" fmla="*/ 886927 h 1473614"/>
                <a:gd name="connsiteX33" fmla="*/ 1992095 w 2713969"/>
                <a:gd name="connsiteY33" fmla="*/ 734571 h 1473614"/>
                <a:gd name="connsiteX34" fmla="*/ 1861824 w 2713969"/>
                <a:gd name="connsiteY34" fmla="*/ 471812 h 1473614"/>
                <a:gd name="connsiteX35" fmla="*/ 1752475 w 2713969"/>
                <a:gd name="connsiteY35" fmla="*/ 205973 h 1473614"/>
                <a:gd name="connsiteX36" fmla="*/ 1634366 w 2713969"/>
                <a:gd name="connsiteY36" fmla="*/ 108890 h 1473614"/>
                <a:gd name="connsiteX37" fmla="*/ 1528577 w 2713969"/>
                <a:gd name="connsiteY37" fmla="*/ 60427 h 1473614"/>
                <a:gd name="connsiteX38" fmla="*/ 1419251 w 2713969"/>
                <a:gd name="connsiteY38" fmla="*/ 43 h 1473614"/>
                <a:gd name="connsiteX39" fmla="*/ 1317156 w 2713969"/>
                <a:gd name="connsiteY39" fmla="*/ 70952 h 14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13969" h="1473614">
                  <a:moveTo>
                    <a:pt x="1317156" y="70952"/>
                  </a:moveTo>
                  <a:cubicBezTo>
                    <a:pt x="1279636" y="71611"/>
                    <a:pt x="1232441" y="8942"/>
                    <a:pt x="1194131" y="3996"/>
                  </a:cubicBezTo>
                  <a:cubicBezTo>
                    <a:pt x="1155822" y="-950"/>
                    <a:pt x="1152355" y="21795"/>
                    <a:pt x="1087299" y="41276"/>
                  </a:cubicBezTo>
                  <a:cubicBezTo>
                    <a:pt x="1022243" y="60757"/>
                    <a:pt x="870957" y="74888"/>
                    <a:pt x="803796" y="120880"/>
                  </a:cubicBezTo>
                  <a:cubicBezTo>
                    <a:pt x="736635" y="166872"/>
                    <a:pt x="721723" y="248452"/>
                    <a:pt x="684333" y="317228"/>
                  </a:cubicBezTo>
                  <a:cubicBezTo>
                    <a:pt x="646943" y="386004"/>
                    <a:pt x="618099" y="473211"/>
                    <a:pt x="586011" y="553201"/>
                  </a:cubicBezTo>
                  <a:cubicBezTo>
                    <a:pt x="553923" y="633191"/>
                    <a:pt x="530689" y="777153"/>
                    <a:pt x="511471" y="813557"/>
                  </a:cubicBezTo>
                  <a:cubicBezTo>
                    <a:pt x="492253" y="849961"/>
                    <a:pt x="518699" y="823233"/>
                    <a:pt x="470704" y="771623"/>
                  </a:cubicBezTo>
                  <a:cubicBezTo>
                    <a:pt x="422709" y="720013"/>
                    <a:pt x="276931" y="554504"/>
                    <a:pt x="223499" y="503898"/>
                  </a:cubicBezTo>
                  <a:cubicBezTo>
                    <a:pt x="170067" y="453292"/>
                    <a:pt x="150203" y="463967"/>
                    <a:pt x="150113" y="467989"/>
                  </a:cubicBezTo>
                  <a:cubicBezTo>
                    <a:pt x="113971" y="481844"/>
                    <a:pt x="-32693" y="496708"/>
                    <a:pt x="6645" y="587025"/>
                  </a:cubicBezTo>
                  <a:cubicBezTo>
                    <a:pt x="45983" y="677342"/>
                    <a:pt x="301944" y="918290"/>
                    <a:pt x="386139" y="1009890"/>
                  </a:cubicBezTo>
                  <a:cubicBezTo>
                    <a:pt x="470335" y="1101490"/>
                    <a:pt x="467875" y="1120077"/>
                    <a:pt x="511818" y="1136627"/>
                  </a:cubicBezTo>
                  <a:cubicBezTo>
                    <a:pt x="555761" y="1153177"/>
                    <a:pt x="615574" y="1147056"/>
                    <a:pt x="649796" y="1109190"/>
                  </a:cubicBezTo>
                  <a:cubicBezTo>
                    <a:pt x="684018" y="1071324"/>
                    <a:pt x="704530" y="914673"/>
                    <a:pt x="717149" y="909430"/>
                  </a:cubicBezTo>
                  <a:cubicBezTo>
                    <a:pt x="729768" y="904187"/>
                    <a:pt x="725812" y="1002833"/>
                    <a:pt x="725513" y="1077730"/>
                  </a:cubicBezTo>
                  <a:cubicBezTo>
                    <a:pt x="725214" y="1152627"/>
                    <a:pt x="712507" y="1296007"/>
                    <a:pt x="715352" y="1358811"/>
                  </a:cubicBezTo>
                  <a:cubicBezTo>
                    <a:pt x="718197" y="1421615"/>
                    <a:pt x="709889" y="1437534"/>
                    <a:pt x="742584" y="1454554"/>
                  </a:cubicBezTo>
                  <a:cubicBezTo>
                    <a:pt x="775279" y="1471574"/>
                    <a:pt x="828974" y="1457753"/>
                    <a:pt x="911521" y="1460930"/>
                  </a:cubicBezTo>
                  <a:cubicBezTo>
                    <a:pt x="994068" y="1464107"/>
                    <a:pt x="1131523" y="1472502"/>
                    <a:pt x="1237865" y="1473614"/>
                  </a:cubicBezTo>
                  <a:lnTo>
                    <a:pt x="1549572" y="1467601"/>
                  </a:lnTo>
                  <a:cubicBezTo>
                    <a:pt x="1561576" y="1457525"/>
                    <a:pt x="1760585" y="1471388"/>
                    <a:pt x="1772004" y="1452482"/>
                  </a:cubicBezTo>
                  <a:cubicBezTo>
                    <a:pt x="1783423" y="1433576"/>
                    <a:pt x="1773985" y="1185340"/>
                    <a:pt x="1775400" y="1098529"/>
                  </a:cubicBezTo>
                  <a:cubicBezTo>
                    <a:pt x="1776815" y="1011718"/>
                    <a:pt x="1765200" y="930961"/>
                    <a:pt x="1780492" y="931616"/>
                  </a:cubicBezTo>
                  <a:cubicBezTo>
                    <a:pt x="1795784" y="932271"/>
                    <a:pt x="1836311" y="1050261"/>
                    <a:pt x="1867155" y="1102461"/>
                  </a:cubicBezTo>
                  <a:cubicBezTo>
                    <a:pt x="1897999" y="1154661"/>
                    <a:pt x="1925431" y="1224348"/>
                    <a:pt x="1965557" y="1244815"/>
                  </a:cubicBezTo>
                  <a:cubicBezTo>
                    <a:pt x="2005683" y="1265283"/>
                    <a:pt x="2045264" y="1263216"/>
                    <a:pt x="2107911" y="1225266"/>
                  </a:cubicBezTo>
                  <a:cubicBezTo>
                    <a:pt x="2170558" y="1187317"/>
                    <a:pt x="2243963" y="1107817"/>
                    <a:pt x="2341437" y="1017118"/>
                  </a:cubicBezTo>
                  <a:cubicBezTo>
                    <a:pt x="2438911" y="926419"/>
                    <a:pt x="2638961" y="751117"/>
                    <a:pt x="2692755" y="681074"/>
                  </a:cubicBezTo>
                  <a:cubicBezTo>
                    <a:pt x="2746549" y="611031"/>
                    <a:pt x="2683352" y="620219"/>
                    <a:pt x="2664202" y="596859"/>
                  </a:cubicBezTo>
                  <a:cubicBezTo>
                    <a:pt x="2645052" y="573499"/>
                    <a:pt x="2652251" y="508260"/>
                    <a:pt x="2577853" y="540916"/>
                  </a:cubicBezTo>
                  <a:cubicBezTo>
                    <a:pt x="2503455" y="573572"/>
                    <a:pt x="2301314" y="735129"/>
                    <a:pt x="2217815" y="792797"/>
                  </a:cubicBezTo>
                  <a:cubicBezTo>
                    <a:pt x="2134316" y="850466"/>
                    <a:pt x="2114480" y="896631"/>
                    <a:pt x="2076860" y="886927"/>
                  </a:cubicBezTo>
                  <a:cubicBezTo>
                    <a:pt x="2039240" y="877223"/>
                    <a:pt x="2027934" y="803757"/>
                    <a:pt x="1992095" y="734571"/>
                  </a:cubicBezTo>
                  <a:cubicBezTo>
                    <a:pt x="1956256" y="665385"/>
                    <a:pt x="1901761" y="559912"/>
                    <a:pt x="1861824" y="471812"/>
                  </a:cubicBezTo>
                  <a:cubicBezTo>
                    <a:pt x="1821887" y="383712"/>
                    <a:pt x="1790385" y="266460"/>
                    <a:pt x="1752475" y="205973"/>
                  </a:cubicBezTo>
                  <a:cubicBezTo>
                    <a:pt x="1714565" y="145486"/>
                    <a:pt x="1671682" y="133148"/>
                    <a:pt x="1634366" y="108890"/>
                  </a:cubicBezTo>
                  <a:cubicBezTo>
                    <a:pt x="1597050" y="84632"/>
                    <a:pt x="1577369" y="69463"/>
                    <a:pt x="1528577" y="60427"/>
                  </a:cubicBezTo>
                  <a:cubicBezTo>
                    <a:pt x="1479785" y="51392"/>
                    <a:pt x="1454488" y="-1711"/>
                    <a:pt x="1419251" y="43"/>
                  </a:cubicBezTo>
                  <a:cubicBezTo>
                    <a:pt x="1384014" y="1797"/>
                    <a:pt x="1354676" y="70293"/>
                    <a:pt x="1317156" y="70952"/>
                  </a:cubicBezTo>
                  <a:close/>
                </a:path>
              </a:pathLst>
            </a:custGeom>
            <a:solidFill>
              <a:srgbClr val="005F87"/>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dirty="0">
                <a:latin typeface="Arial" charset="0"/>
                <a:ea typeface="Arial Unicode MS" pitchFamily="34" charset="-128"/>
                <a:cs typeface="Arial Unicode MS" pitchFamily="34" charset="-128"/>
              </a:endParaRPr>
            </a:p>
          </p:txBody>
        </p:sp>
        <p:grpSp>
          <p:nvGrpSpPr>
            <p:cNvPr id="25" name="Group 521"/>
            <p:cNvGrpSpPr/>
            <p:nvPr/>
          </p:nvGrpSpPr>
          <p:grpSpPr>
            <a:xfrm>
              <a:off x="7959273" y="1994835"/>
              <a:ext cx="400935" cy="150210"/>
              <a:chOff x="6510943" y="2827088"/>
              <a:chExt cx="400935" cy="150210"/>
            </a:xfrm>
            <a:solidFill>
              <a:srgbClr val="004669"/>
            </a:solidFill>
          </p:grpSpPr>
          <p:sp>
            <p:nvSpPr>
              <p:cNvPr id="37" name="Freeform 522"/>
              <p:cNvSpPr/>
              <p:nvPr/>
            </p:nvSpPr>
            <p:spPr bwMode="auto">
              <a:xfrm>
                <a:off x="6510943" y="2828353"/>
                <a:ext cx="400935" cy="148945"/>
              </a:xfrm>
              <a:custGeom>
                <a:avLst/>
                <a:gdLst>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66497 w 383896"/>
                  <a:gd name="connsiteY8" fmla="*/ 9492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5243"/>
                  <a:gd name="connsiteX1" fmla="*/ 89972 w 383896"/>
                  <a:gd name="connsiteY1" fmla="*/ 10188 h 155243"/>
                  <a:gd name="connsiteX2" fmla="*/ 167643 w 383896"/>
                  <a:gd name="connsiteY2" fmla="*/ 27840 h 155243"/>
                  <a:gd name="connsiteX3" fmla="*/ 238253 w 383896"/>
                  <a:gd name="connsiteY3" fmla="*/ 17249 h 155243"/>
                  <a:gd name="connsiteX4" fmla="*/ 344168 w 383896"/>
                  <a:gd name="connsiteY4" fmla="*/ 3127 h 155243"/>
                  <a:gd name="connsiteX5" fmla="*/ 372412 w 383896"/>
                  <a:gd name="connsiteY5" fmla="*/ 6657 h 155243"/>
                  <a:gd name="connsiteX6" fmla="*/ 383004 w 383896"/>
                  <a:gd name="connsiteY6" fmla="*/ 70206 h 155243"/>
                  <a:gd name="connsiteX7" fmla="*/ 351229 w 383896"/>
                  <a:gd name="connsiteY7" fmla="*/ 137286 h 155243"/>
                  <a:gd name="connsiteX8" fmla="*/ 285547 w 383896"/>
                  <a:gd name="connsiteY8" fmla="*/ 113970 h 155243"/>
                  <a:gd name="connsiteX9" fmla="*/ 231192 w 383896"/>
                  <a:gd name="connsiteY9" fmla="*/ 80798 h 155243"/>
                  <a:gd name="connsiteX10" fmla="*/ 153521 w 383896"/>
                  <a:gd name="connsiteY10" fmla="*/ 84328 h 155243"/>
                  <a:gd name="connsiteX11" fmla="*/ 107625 w 383896"/>
                  <a:gd name="connsiteY11" fmla="*/ 137286 h 155243"/>
                  <a:gd name="connsiteX12" fmla="*/ 40545 w 383896"/>
                  <a:gd name="connsiteY12" fmla="*/ 151408 h 155243"/>
                  <a:gd name="connsiteX13" fmla="*/ 1710 w 383896"/>
                  <a:gd name="connsiteY13" fmla="*/ 73737 h 155243"/>
                  <a:gd name="connsiteX14" fmla="*/ 22893 w 383896"/>
                  <a:gd name="connsiteY14" fmla="*/ 6657 h 155243"/>
                  <a:gd name="connsiteX0" fmla="*/ 22893 w 383896"/>
                  <a:gd name="connsiteY0" fmla="*/ 6657 h 154953"/>
                  <a:gd name="connsiteX1" fmla="*/ 89972 w 383896"/>
                  <a:gd name="connsiteY1" fmla="*/ 10188 h 154953"/>
                  <a:gd name="connsiteX2" fmla="*/ 167643 w 383896"/>
                  <a:gd name="connsiteY2" fmla="*/ 27840 h 154953"/>
                  <a:gd name="connsiteX3" fmla="*/ 238253 w 383896"/>
                  <a:gd name="connsiteY3" fmla="*/ 17249 h 154953"/>
                  <a:gd name="connsiteX4" fmla="*/ 344168 w 383896"/>
                  <a:gd name="connsiteY4" fmla="*/ 3127 h 154953"/>
                  <a:gd name="connsiteX5" fmla="*/ 372412 w 383896"/>
                  <a:gd name="connsiteY5" fmla="*/ 6657 h 154953"/>
                  <a:gd name="connsiteX6" fmla="*/ 383004 w 383896"/>
                  <a:gd name="connsiteY6" fmla="*/ 70206 h 154953"/>
                  <a:gd name="connsiteX7" fmla="*/ 351229 w 383896"/>
                  <a:gd name="connsiteY7" fmla="*/ 137286 h 154953"/>
                  <a:gd name="connsiteX8" fmla="*/ 285547 w 383896"/>
                  <a:gd name="connsiteY8" fmla="*/ 113970 h 154953"/>
                  <a:gd name="connsiteX9" fmla="*/ 231192 w 383896"/>
                  <a:gd name="connsiteY9" fmla="*/ 80798 h 154953"/>
                  <a:gd name="connsiteX10" fmla="*/ 150346 w 383896"/>
                  <a:gd name="connsiteY10" fmla="*/ 97028 h 154953"/>
                  <a:gd name="connsiteX11" fmla="*/ 107625 w 383896"/>
                  <a:gd name="connsiteY11" fmla="*/ 137286 h 154953"/>
                  <a:gd name="connsiteX12" fmla="*/ 40545 w 383896"/>
                  <a:gd name="connsiteY12" fmla="*/ 151408 h 154953"/>
                  <a:gd name="connsiteX13" fmla="*/ 1710 w 383896"/>
                  <a:gd name="connsiteY13" fmla="*/ 73737 h 154953"/>
                  <a:gd name="connsiteX14" fmla="*/ 22893 w 383896"/>
                  <a:gd name="connsiteY14" fmla="*/ 6657 h 154953"/>
                  <a:gd name="connsiteX0" fmla="*/ 22893 w 388079"/>
                  <a:gd name="connsiteY0" fmla="*/ 4586 h 152882"/>
                  <a:gd name="connsiteX1" fmla="*/ 89972 w 388079"/>
                  <a:gd name="connsiteY1" fmla="*/ 8117 h 152882"/>
                  <a:gd name="connsiteX2" fmla="*/ 167643 w 388079"/>
                  <a:gd name="connsiteY2" fmla="*/ 25769 h 152882"/>
                  <a:gd name="connsiteX3" fmla="*/ 238253 w 388079"/>
                  <a:gd name="connsiteY3" fmla="*/ 15178 h 152882"/>
                  <a:gd name="connsiteX4" fmla="*/ 372412 w 388079"/>
                  <a:gd name="connsiteY4" fmla="*/ 4586 h 152882"/>
                  <a:gd name="connsiteX5" fmla="*/ 383004 w 388079"/>
                  <a:gd name="connsiteY5" fmla="*/ 68135 h 152882"/>
                  <a:gd name="connsiteX6" fmla="*/ 351229 w 388079"/>
                  <a:gd name="connsiteY6" fmla="*/ 135215 h 152882"/>
                  <a:gd name="connsiteX7" fmla="*/ 285547 w 388079"/>
                  <a:gd name="connsiteY7" fmla="*/ 111899 h 152882"/>
                  <a:gd name="connsiteX8" fmla="*/ 231192 w 388079"/>
                  <a:gd name="connsiteY8" fmla="*/ 78727 h 152882"/>
                  <a:gd name="connsiteX9" fmla="*/ 150346 w 388079"/>
                  <a:gd name="connsiteY9" fmla="*/ 94957 h 152882"/>
                  <a:gd name="connsiteX10" fmla="*/ 107625 w 388079"/>
                  <a:gd name="connsiteY10" fmla="*/ 135215 h 152882"/>
                  <a:gd name="connsiteX11" fmla="*/ 40545 w 388079"/>
                  <a:gd name="connsiteY11" fmla="*/ 149337 h 152882"/>
                  <a:gd name="connsiteX12" fmla="*/ 1710 w 388079"/>
                  <a:gd name="connsiteY12" fmla="*/ 71666 h 152882"/>
                  <a:gd name="connsiteX13" fmla="*/ 22893 w 388079"/>
                  <a:gd name="connsiteY13" fmla="*/ 4586 h 152882"/>
                  <a:gd name="connsiteX0" fmla="*/ 22893 w 390960"/>
                  <a:gd name="connsiteY0" fmla="*/ 4586 h 152882"/>
                  <a:gd name="connsiteX1" fmla="*/ 89972 w 390960"/>
                  <a:gd name="connsiteY1" fmla="*/ 8117 h 152882"/>
                  <a:gd name="connsiteX2" fmla="*/ 167643 w 390960"/>
                  <a:gd name="connsiteY2" fmla="*/ 25769 h 152882"/>
                  <a:gd name="connsiteX3" fmla="*/ 238253 w 390960"/>
                  <a:gd name="connsiteY3" fmla="*/ 15178 h 152882"/>
                  <a:gd name="connsiteX4" fmla="*/ 377174 w 390960"/>
                  <a:gd name="connsiteY4" fmla="*/ 6174 h 152882"/>
                  <a:gd name="connsiteX5" fmla="*/ 383004 w 390960"/>
                  <a:gd name="connsiteY5" fmla="*/ 68135 h 152882"/>
                  <a:gd name="connsiteX6" fmla="*/ 351229 w 390960"/>
                  <a:gd name="connsiteY6" fmla="*/ 135215 h 152882"/>
                  <a:gd name="connsiteX7" fmla="*/ 285547 w 390960"/>
                  <a:gd name="connsiteY7" fmla="*/ 111899 h 152882"/>
                  <a:gd name="connsiteX8" fmla="*/ 231192 w 390960"/>
                  <a:gd name="connsiteY8" fmla="*/ 78727 h 152882"/>
                  <a:gd name="connsiteX9" fmla="*/ 150346 w 390960"/>
                  <a:gd name="connsiteY9" fmla="*/ 94957 h 152882"/>
                  <a:gd name="connsiteX10" fmla="*/ 107625 w 390960"/>
                  <a:gd name="connsiteY10" fmla="*/ 135215 h 152882"/>
                  <a:gd name="connsiteX11" fmla="*/ 40545 w 390960"/>
                  <a:gd name="connsiteY11" fmla="*/ 149337 h 152882"/>
                  <a:gd name="connsiteX12" fmla="*/ 1710 w 390960"/>
                  <a:gd name="connsiteY12" fmla="*/ 71666 h 152882"/>
                  <a:gd name="connsiteX13" fmla="*/ 22893 w 390960"/>
                  <a:gd name="connsiteY13" fmla="*/ 4586 h 152882"/>
                  <a:gd name="connsiteX0" fmla="*/ 6686 w 401740"/>
                  <a:gd name="connsiteY0" fmla="*/ 9150 h 149509"/>
                  <a:gd name="connsiteX1" fmla="*/ 100752 w 401740"/>
                  <a:gd name="connsiteY1" fmla="*/ 4744 h 149509"/>
                  <a:gd name="connsiteX2" fmla="*/ 178423 w 401740"/>
                  <a:gd name="connsiteY2" fmla="*/ 22396 h 149509"/>
                  <a:gd name="connsiteX3" fmla="*/ 249033 w 401740"/>
                  <a:gd name="connsiteY3" fmla="*/ 11805 h 149509"/>
                  <a:gd name="connsiteX4" fmla="*/ 387954 w 401740"/>
                  <a:gd name="connsiteY4" fmla="*/ 2801 h 149509"/>
                  <a:gd name="connsiteX5" fmla="*/ 393784 w 401740"/>
                  <a:gd name="connsiteY5" fmla="*/ 64762 h 149509"/>
                  <a:gd name="connsiteX6" fmla="*/ 362009 w 401740"/>
                  <a:gd name="connsiteY6" fmla="*/ 131842 h 149509"/>
                  <a:gd name="connsiteX7" fmla="*/ 296327 w 401740"/>
                  <a:gd name="connsiteY7" fmla="*/ 108526 h 149509"/>
                  <a:gd name="connsiteX8" fmla="*/ 241972 w 401740"/>
                  <a:gd name="connsiteY8" fmla="*/ 75354 h 149509"/>
                  <a:gd name="connsiteX9" fmla="*/ 161126 w 401740"/>
                  <a:gd name="connsiteY9" fmla="*/ 91584 h 149509"/>
                  <a:gd name="connsiteX10" fmla="*/ 118405 w 401740"/>
                  <a:gd name="connsiteY10" fmla="*/ 131842 h 149509"/>
                  <a:gd name="connsiteX11" fmla="*/ 51325 w 401740"/>
                  <a:gd name="connsiteY11" fmla="*/ 145964 h 149509"/>
                  <a:gd name="connsiteX12" fmla="*/ 12490 w 401740"/>
                  <a:gd name="connsiteY12" fmla="*/ 68293 h 149509"/>
                  <a:gd name="connsiteX13" fmla="*/ 6686 w 401740"/>
                  <a:gd name="connsiteY13" fmla="*/ 9150 h 149509"/>
                  <a:gd name="connsiteX0" fmla="*/ 6686 w 401192"/>
                  <a:gd name="connsiteY0" fmla="*/ 7947 h 148306"/>
                  <a:gd name="connsiteX1" fmla="*/ 100752 w 401192"/>
                  <a:gd name="connsiteY1" fmla="*/ 3541 h 148306"/>
                  <a:gd name="connsiteX2" fmla="*/ 178423 w 401192"/>
                  <a:gd name="connsiteY2" fmla="*/ 21193 h 148306"/>
                  <a:gd name="connsiteX3" fmla="*/ 256970 w 401192"/>
                  <a:gd name="connsiteY3" fmla="*/ 18539 h 148306"/>
                  <a:gd name="connsiteX4" fmla="*/ 387954 w 401192"/>
                  <a:gd name="connsiteY4" fmla="*/ 1598 h 148306"/>
                  <a:gd name="connsiteX5" fmla="*/ 393784 w 401192"/>
                  <a:gd name="connsiteY5" fmla="*/ 63559 h 148306"/>
                  <a:gd name="connsiteX6" fmla="*/ 362009 w 401192"/>
                  <a:gd name="connsiteY6" fmla="*/ 130639 h 148306"/>
                  <a:gd name="connsiteX7" fmla="*/ 296327 w 401192"/>
                  <a:gd name="connsiteY7" fmla="*/ 107323 h 148306"/>
                  <a:gd name="connsiteX8" fmla="*/ 241972 w 401192"/>
                  <a:gd name="connsiteY8" fmla="*/ 74151 h 148306"/>
                  <a:gd name="connsiteX9" fmla="*/ 161126 w 401192"/>
                  <a:gd name="connsiteY9" fmla="*/ 90381 h 148306"/>
                  <a:gd name="connsiteX10" fmla="*/ 118405 w 401192"/>
                  <a:gd name="connsiteY10" fmla="*/ 130639 h 148306"/>
                  <a:gd name="connsiteX11" fmla="*/ 51325 w 401192"/>
                  <a:gd name="connsiteY11" fmla="*/ 144761 h 148306"/>
                  <a:gd name="connsiteX12" fmla="*/ 12490 w 401192"/>
                  <a:gd name="connsiteY12" fmla="*/ 67090 h 148306"/>
                  <a:gd name="connsiteX13" fmla="*/ 6686 w 401192"/>
                  <a:gd name="connsiteY13" fmla="*/ 7947 h 148306"/>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96327 w 401192"/>
                  <a:gd name="connsiteY7" fmla="*/ 107962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1192"/>
                  <a:gd name="connsiteY0" fmla="*/ 8586 h 148945"/>
                  <a:gd name="connsiteX1" fmla="*/ 100752 w 401192"/>
                  <a:gd name="connsiteY1" fmla="*/ 4180 h 148945"/>
                  <a:gd name="connsiteX2" fmla="*/ 178423 w 401192"/>
                  <a:gd name="connsiteY2" fmla="*/ 21832 h 148945"/>
                  <a:gd name="connsiteX3" fmla="*/ 256970 w 401192"/>
                  <a:gd name="connsiteY3" fmla="*/ 14415 h 148945"/>
                  <a:gd name="connsiteX4" fmla="*/ 387954 w 401192"/>
                  <a:gd name="connsiteY4" fmla="*/ 2237 h 148945"/>
                  <a:gd name="connsiteX5" fmla="*/ 393784 w 401192"/>
                  <a:gd name="connsiteY5" fmla="*/ 64198 h 148945"/>
                  <a:gd name="connsiteX6" fmla="*/ 362009 w 401192"/>
                  <a:gd name="connsiteY6" fmla="*/ 131278 h 148945"/>
                  <a:gd name="connsiteX7" fmla="*/ 285215 w 401192"/>
                  <a:gd name="connsiteY7" fmla="*/ 109550 h 148945"/>
                  <a:gd name="connsiteX8" fmla="*/ 241972 w 401192"/>
                  <a:gd name="connsiteY8" fmla="*/ 74790 h 148945"/>
                  <a:gd name="connsiteX9" fmla="*/ 161126 w 401192"/>
                  <a:gd name="connsiteY9" fmla="*/ 91020 h 148945"/>
                  <a:gd name="connsiteX10" fmla="*/ 118405 w 401192"/>
                  <a:gd name="connsiteY10" fmla="*/ 131278 h 148945"/>
                  <a:gd name="connsiteX11" fmla="*/ 51325 w 401192"/>
                  <a:gd name="connsiteY11" fmla="*/ 145400 h 148945"/>
                  <a:gd name="connsiteX12" fmla="*/ 12490 w 401192"/>
                  <a:gd name="connsiteY12" fmla="*/ 67729 h 148945"/>
                  <a:gd name="connsiteX13" fmla="*/ 6686 w 401192"/>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74790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285215 w 400935"/>
                  <a:gd name="connsiteY7" fmla="*/ 109550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7440 w 400935"/>
                  <a:gd name="connsiteY7" fmla="*/ 127012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 name="connsiteX0" fmla="*/ 6686 w 400935"/>
                  <a:gd name="connsiteY0" fmla="*/ 8586 h 148945"/>
                  <a:gd name="connsiteX1" fmla="*/ 100752 w 400935"/>
                  <a:gd name="connsiteY1" fmla="*/ 4180 h 148945"/>
                  <a:gd name="connsiteX2" fmla="*/ 178423 w 400935"/>
                  <a:gd name="connsiteY2" fmla="*/ 21832 h 148945"/>
                  <a:gd name="connsiteX3" fmla="*/ 256970 w 400935"/>
                  <a:gd name="connsiteY3" fmla="*/ 14415 h 148945"/>
                  <a:gd name="connsiteX4" fmla="*/ 387954 w 400935"/>
                  <a:gd name="connsiteY4" fmla="*/ 2237 h 148945"/>
                  <a:gd name="connsiteX5" fmla="*/ 393784 w 400935"/>
                  <a:gd name="connsiteY5" fmla="*/ 64198 h 148945"/>
                  <a:gd name="connsiteX6" fmla="*/ 366771 w 400935"/>
                  <a:gd name="connsiteY6" fmla="*/ 129690 h 148945"/>
                  <a:gd name="connsiteX7" fmla="*/ 301090 w 400935"/>
                  <a:gd name="connsiteY7" fmla="*/ 130187 h 148945"/>
                  <a:gd name="connsiteX8" fmla="*/ 241972 w 400935"/>
                  <a:gd name="connsiteY8" fmla="*/ 84315 h 148945"/>
                  <a:gd name="connsiteX9" fmla="*/ 161126 w 400935"/>
                  <a:gd name="connsiteY9" fmla="*/ 91020 h 148945"/>
                  <a:gd name="connsiteX10" fmla="*/ 118405 w 400935"/>
                  <a:gd name="connsiteY10" fmla="*/ 131278 h 148945"/>
                  <a:gd name="connsiteX11" fmla="*/ 51325 w 400935"/>
                  <a:gd name="connsiteY11" fmla="*/ 145400 h 148945"/>
                  <a:gd name="connsiteX12" fmla="*/ 12490 w 400935"/>
                  <a:gd name="connsiteY12" fmla="*/ 67729 h 148945"/>
                  <a:gd name="connsiteX13" fmla="*/ 6686 w 400935"/>
                  <a:gd name="connsiteY13" fmla="*/ 8586 h 14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935" h="148945">
                    <a:moveTo>
                      <a:pt x="6686" y="8586"/>
                    </a:moveTo>
                    <a:cubicBezTo>
                      <a:pt x="21396" y="-2005"/>
                      <a:pt x="72129" y="1972"/>
                      <a:pt x="100752" y="4180"/>
                    </a:cubicBezTo>
                    <a:cubicBezTo>
                      <a:pt x="129375" y="6388"/>
                      <a:pt x="152387" y="20126"/>
                      <a:pt x="178423" y="21832"/>
                    </a:cubicBezTo>
                    <a:cubicBezTo>
                      <a:pt x="204459" y="23538"/>
                      <a:pt x="222048" y="17681"/>
                      <a:pt x="256970" y="14415"/>
                    </a:cubicBezTo>
                    <a:cubicBezTo>
                      <a:pt x="291892" y="11149"/>
                      <a:pt x="365152" y="-6060"/>
                      <a:pt x="387954" y="2237"/>
                    </a:cubicBezTo>
                    <a:cubicBezTo>
                      <a:pt x="410756" y="10534"/>
                      <a:pt x="397315" y="42956"/>
                      <a:pt x="393784" y="64198"/>
                    </a:cubicBezTo>
                    <a:cubicBezTo>
                      <a:pt x="390254" y="85440"/>
                      <a:pt x="382220" y="118692"/>
                      <a:pt x="366771" y="129690"/>
                    </a:cubicBezTo>
                    <a:cubicBezTo>
                      <a:pt x="351322" y="140688"/>
                      <a:pt x="321890" y="137749"/>
                      <a:pt x="301090" y="130187"/>
                    </a:cubicBezTo>
                    <a:cubicBezTo>
                      <a:pt x="280290" y="122625"/>
                      <a:pt x="265299" y="90843"/>
                      <a:pt x="241972" y="84315"/>
                    </a:cubicBezTo>
                    <a:cubicBezTo>
                      <a:pt x="218645" y="77787"/>
                      <a:pt x="181721" y="83193"/>
                      <a:pt x="161126" y="91020"/>
                    </a:cubicBezTo>
                    <a:cubicBezTo>
                      <a:pt x="140532" y="98847"/>
                      <a:pt x="136705" y="122215"/>
                      <a:pt x="118405" y="131278"/>
                    </a:cubicBezTo>
                    <a:cubicBezTo>
                      <a:pt x="100105" y="140341"/>
                      <a:pt x="68978" y="155992"/>
                      <a:pt x="51325" y="145400"/>
                    </a:cubicBezTo>
                    <a:cubicBezTo>
                      <a:pt x="33672" y="134809"/>
                      <a:pt x="19930" y="90531"/>
                      <a:pt x="12490" y="67729"/>
                    </a:cubicBezTo>
                    <a:cubicBezTo>
                      <a:pt x="5050" y="44927"/>
                      <a:pt x="-8024" y="19177"/>
                      <a:pt x="6686" y="8586"/>
                    </a:cubicBezTo>
                    <a:close/>
                  </a:path>
                </a:pathLst>
              </a:cu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8" name="Oval 523"/>
              <p:cNvSpPr/>
              <p:nvPr/>
            </p:nvSpPr>
            <p:spPr bwMode="auto">
              <a:xfrm>
                <a:off x="6663848" y="2827088"/>
                <a:ext cx="108000" cy="108000"/>
              </a:xfrm>
              <a:prstGeom prst="ellipse">
                <a:avLst/>
              </a:prstGeom>
              <a:grp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sp>
          <p:nvSpPr>
            <p:cNvPr id="26" name="Oval 524"/>
            <p:cNvSpPr/>
            <p:nvPr/>
          </p:nvSpPr>
          <p:spPr bwMode="auto">
            <a:xfrm>
              <a:off x="8129960" y="2397999"/>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7" name="Oval 525"/>
            <p:cNvSpPr/>
            <p:nvPr/>
          </p:nvSpPr>
          <p:spPr bwMode="auto">
            <a:xfrm>
              <a:off x="8135199" y="2664782"/>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8" name="Oval 526"/>
            <p:cNvSpPr/>
            <p:nvPr/>
          </p:nvSpPr>
          <p:spPr bwMode="auto">
            <a:xfrm>
              <a:off x="8127341" y="2931565"/>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29" name="Oval 527"/>
            <p:cNvSpPr/>
            <p:nvPr/>
          </p:nvSpPr>
          <p:spPr bwMode="auto">
            <a:xfrm>
              <a:off x="8132579" y="3198347"/>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0" name="Oval 528"/>
            <p:cNvSpPr/>
            <p:nvPr/>
          </p:nvSpPr>
          <p:spPr bwMode="auto">
            <a:xfrm>
              <a:off x="8374555" y="1280735"/>
              <a:ext cx="82718" cy="80361"/>
            </a:xfrm>
            <a:prstGeom prst="ellipse">
              <a:avLst/>
            </a:prstGeom>
            <a:solidFill>
              <a:srgbClr val="005F87">
                <a:alpha val="52000"/>
              </a:srgb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1" name="Oval 529"/>
            <p:cNvSpPr/>
            <p:nvPr/>
          </p:nvSpPr>
          <p:spPr bwMode="auto">
            <a:xfrm>
              <a:off x="8392348" y="1298055"/>
              <a:ext cx="46800" cy="45720"/>
            </a:xfrm>
            <a:prstGeom prst="ellipse">
              <a:avLst/>
            </a:prstGeom>
            <a:solidFill>
              <a:srgbClr val="2387AA"/>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2" name="Oval 530"/>
            <p:cNvSpPr/>
            <p:nvPr/>
          </p:nvSpPr>
          <p:spPr bwMode="auto">
            <a:xfrm>
              <a:off x="8392240" y="1292483"/>
              <a:ext cx="32400" cy="3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3" name="Oval 531"/>
            <p:cNvSpPr/>
            <p:nvPr/>
          </p:nvSpPr>
          <p:spPr bwMode="auto">
            <a:xfrm>
              <a:off x="8414132" y="1319496"/>
              <a:ext cx="10800" cy="10800"/>
            </a:xfrm>
            <a:prstGeom prst="ellipse">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4" name="Rectangle 36"/>
            <p:cNvSpPr/>
            <p:nvPr/>
          </p:nvSpPr>
          <p:spPr bwMode="auto">
            <a:xfrm>
              <a:off x="7554386" y="2717287"/>
              <a:ext cx="154412" cy="752547"/>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18522 w 318705"/>
                <a:gd name="connsiteY0" fmla="*/ 88760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18522 w 318705"/>
                <a:gd name="connsiteY8" fmla="*/ 88760 h 578608"/>
                <a:gd name="connsiteX0" fmla="*/ 18522 w 318705"/>
                <a:gd name="connsiteY0" fmla="*/ 243504 h 733352"/>
                <a:gd name="connsiteX1" fmla="*/ 63193 w 318705"/>
                <a:gd name="connsiteY1" fmla="*/ 0 h 733352"/>
                <a:gd name="connsiteX2" fmla="*/ 318705 w 318705"/>
                <a:gd name="connsiteY2" fmla="*/ 154744 h 733352"/>
                <a:gd name="connsiteX3" fmla="*/ 194816 w 318705"/>
                <a:gd name="connsiteY3" fmla="*/ 260249 h 733352"/>
                <a:gd name="connsiteX4" fmla="*/ 139316 w 318705"/>
                <a:gd name="connsiteY4" fmla="*/ 400212 h 733352"/>
                <a:gd name="connsiteX5" fmla="*/ 23837 w 318705"/>
                <a:gd name="connsiteY5" fmla="*/ 733352 h 733352"/>
                <a:gd name="connsiteX6" fmla="*/ 4454 w 318705"/>
                <a:gd name="connsiteY6" fmla="*/ 617700 h 733352"/>
                <a:gd name="connsiteX7" fmla="*/ 0 w 318705"/>
                <a:gd name="connsiteY7" fmla="*/ 460760 h 733352"/>
                <a:gd name="connsiteX8" fmla="*/ 18522 w 318705"/>
                <a:gd name="connsiteY8" fmla="*/ 243504 h 733352"/>
                <a:gd name="connsiteX0" fmla="*/ 18522 w 194816"/>
                <a:gd name="connsiteY0" fmla="*/ 243504 h 733352"/>
                <a:gd name="connsiteX1" fmla="*/ 63193 w 194816"/>
                <a:gd name="connsiteY1" fmla="*/ 0 h 733352"/>
                <a:gd name="connsiteX2" fmla="*/ 151991 w 194816"/>
                <a:gd name="connsiteY2" fmla="*/ 124432 h 733352"/>
                <a:gd name="connsiteX3" fmla="*/ 194816 w 194816"/>
                <a:gd name="connsiteY3" fmla="*/ 260249 h 733352"/>
                <a:gd name="connsiteX4" fmla="*/ 139316 w 194816"/>
                <a:gd name="connsiteY4" fmla="*/ 400212 h 733352"/>
                <a:gd name="connsiteX5" fmla="*/ 23837 w 194816"/>
                <a:gd name="connsiteY5" fmla="*/ 733352 h 733352"/>
                <a:gd name="connsiteX6" fmla="*/ 4454 w 194816"/>
                <a:gd name="connsiteY6" fmla="*/ 617700 h 733352"/>
                <a:gd name="connsiteX7" fmla="*/ 0 w 194816"/>
                <a:gd name="connsiteY7" fmla="*/ 460760 h 733352"/>
                <a:gd name="connsiteX8" fmla="*/ 18522 w 194816"/>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139316 w 151991"/>
                <a:gd name="connsiteY4" fmla="*/ 400212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352"/>
                <a:gd name="connsiteX1" fmla="*/ 63193 w 151991"/>
                <a:gd name="connsiteY1" fmla="*/ 0 h 733352"/>
                <a:gd name="connsiteX2" fmla="*/ 151991 w 151991"/>
                <a:gd name="connsiteY2" fmla="*/ 124432 h 733352"/>
                <a:gd name="connsiteX3" fmla="*/ 101356 w 151991"/>
                <a:gd name="connsiteY3" fmla="*/ 288035 h 733352"/>
                <a:gd name="connsiteX4" fmla="*/ 98901 w 151991"/>
                <a:gd name="connsiteY4" fmla="*/ 561874 h 733352"/>
                <a:gd name="connsiteX5" fmla="*/ 23837 w 151991"/>
                <a:gd name="connsiteY5" fmla="*/ 733352 h 733352"/>
                <a:gd name="connsiteX6" fmla="*/ 4454 w 151991"/>
                <a:gd name="connsiteY6" fmla="*/ 617700 h 733352"/>
                <a:gd name="connsiteX7" fmla="*/ 0 w 151991"/>
                <a:gd name="connsiteY7" fmla="*/ 460760 h 733352"/>
                <a:gd name="connsiteX8" fmla="*/ 18522 w 151991"/>
                <a:gd name="connsiteY8" fmla="*/ 243504 h 733352"/>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4454 w 151991"/>
                <a:gd name="connsiteY6" fmla="*/ 617700 h 733640"/>
                <a:gd name="connsiteX7" fmla="*/ 0 w 151991"/>
                <a:gd name="connsiteY7" fmla="*/ 460760 h 733640"/>
                <a:gd name="connsiteX8" fmla="*/ 18522 w 151991"/>
                <a:gd name="connsiteY8"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693212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18522 w 151991"/>
                <a:gd name="connsiteY0" fmla="*/ 243504 h 733640"/>
                <a:gd name="connsiteX1" fmla="*/ 63193 w 151991"/>
                <a:gd name="connsiteY1" fmla="*/ 0 h 733640"/>
                <a:gd name="connsiteX2" fmla="*/ 151991 w 151991"/>
                <a:gd name="connsiteY2" fmla="*/ 124432 h 733640"/>
                <a:gd name="connsiteX3" fmla="*/ 101356 w 151991"/>
                <a:gd name="connsiteY3" fmla="*/ 288035 h 733640"/>
                <a:gd name="connsiteX4" fmla="*/ 98901 w 151991"/>
                <a:gd name="connsiteY4" fmla="*/ 733640 h 733640"/>
                <a:gd name="connsiteX5" fmla="*/ 23837 w 151991"/>
                <a:gd name="connsiteY5" fmla="*/ 733352 h 733640"/>
                <a:gd name="connsiteX6" fmla="*/ 6042 w 151991"/>
                <a:gd name="connsiteY6" fmla="*/ 711409 h 733640"/>
                <a:gd name="connsiteX7" fmla="*/ 4454 w 151991"/>
                <a:gd name="connsiteY7" fmla="*/ 617700 h 733640"/>
                <a:gd name="connsiteX8" fmla="*/ 0 w 151991"/>
                <a:gd name="connsiteY8" fmla="*/ 460760 h 733640"/>
                <a:gd name="connsiteX9" fmla="*/ 18522 w 151991"/>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8463 w 154412"/>
                <a:gd name="connsiteY6" fmla="*/ 711409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33640"/>
                <a:gd name="connsiteX1" fmla="*/ 65614 w 154412"/>
                <a:gd name="connsiteY1" fmla="*/ 0 h 733640"/>
                <a:gd name="connsiteX2" fmla="*/ 154412 w 154412"/>
                <a:gd name="connsiteY2" fmla="*/ 124432 h 733640"/>
                <a:gd name="connsiteX3" fmla="*/ 103777 w 154412"/>
                <a:gd name="connsiteY3" fmla="*/ 288035 h 733640"/>
                <a:gd name="connsiteX4" fmla="*/ 101322 w 154412"/>
                <a:gd name="connsiteY4" fmla="*/ 733640 h 733640"/>
                <a:gd name="connsiteX5" fmla="*/ 26258 w 154412"/>
                <a:gd name="connsiteY5" fmla="*/ 733352 h 733640"/>
                <a:gd name="connsiteX6" fmla="*/ 5026 w 154412"/>
                <a:gd name="connsiteY6" fmla="*/ 726878 h 733640"/>
                <a:gd name="connsiteX7" fmla="*/ 0 w 154412"/>
                <a:gd name="connsiteY7" fmla="*/ 629732 h 733640"/>
                <a:gd name="connsiteX8" fmla="*/ 2421 w 154412"/>
                <a:gd name="connsiteY8" fmla="*/ 460760 h 733640"/>
                <a:gd name="connsiteX9" fmla="*/ 20943 w 154412"/>
                <a:gd name="connsiteY9" fmla="*/ 243504 h 733640"/>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1322 w 154412"/>
                <a:gd name="connsiteY4" fmla="*/ 733640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60852"/>
                <a:gd name="connsiteX1" fmla="*/ 65614 w 154412"/>
                <a:gd name="connsiteY1" fmla="*/ 0 h 760852"/>
                <a:gd name="connsiteX2" fmla="*/ 154412 w 154412"/>
                <a:gd name="connsiteY2" fmla="*/ 124432 h 760852"/>
                <a:gd name="connsiteX3" fmla="*/ 103777 w 154412"/>
                <a:gd name="connsiteY3" fmla="*/ 288035 h 760852"/>
                <a:gd name="connsiteX4" fmla="*/ 104760 w 154412"/>
                <a:gd name="connsiteY4" fmla="*/ 752547 h 760852"/>
                <a:gd name="connsiteX5" fmla="*/ 33133 w 154412"/>
                <a:gd name="connsiteY5" fmla="*/ 760852 h 760852"/>
                <a:gd name="connsiteX6" fmla="*/ 5026 w 154412"/>
                <a:gd name="connsiteY6" fmla="*/ 726878 h 760852"/>
                <a:gd name="connsiteX7" fmla="*/ 0 w 154412"/>
                <a:gd name="connsiteY7" fmla="*/ 629732 h 760852"/>
                <a:gd name="connsiteX8" fmla="*/ 2421 w 154412"/>
                <a:gd name="connsiteY8" fmla="*/ 460760 h 760852"/>
                <a:gd name="connsiteX9" fmla="*/ 20943 w 154412"/>
                <a:gd name="connsiteY9" fmla="*/ 243504 h 760852"/>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5026 w 154412"/>
                <a:gd name="connsiteY6" fmla="*/ 726878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0 w 154412"/>
                <a:gd name="connsiteY7" fmla="*/ 629732 h 752547"/>
                <a:gd name="connsiteX8" fmla="*/ 2421 w 154412"/>
                <a:gd name="connsiteY8" fmla="*/ 460760 h 752547"/>
                <a:gd name="connsiteX9" fmla="*/ 20943 w 154412"/>
                <a:gd name="connsiteY9"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2421 w 154412"/>
                <a:gd name="connsiteY9" fmla="*/ 460760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25159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10413 w 154412"/>
                <a:gd name="connsiteY7" fmla="*/ 639075 h 752547"/>
                <a:gd name="connsiteX8" fmla="*/ 0 w 154412"/>
                <a:gd name="connsiteY8" fmla="*/ 629732 h 752547"/>
                <a:gd name="connsiteX9" fmla="*/ 9296 w 154412"/>
                <a:gd name="connsiteY9" fmla="*/ 467635 h 752547"/>
                <a:gd name="connsiteX10" fmla="*/ 20943 w 154412"/>
                <a:gd name="connsiteY10" fmla="*/ 243504 h 752547"/>
                <a:gd name="connsiteX0" fmla="*/ 20943 w 154412"/>
                <a:gd name="connsiteY0" fmla="*/ 243504 h 752547"/>
                <a:gd name="connsiteX1" fmla="*/ 65614 w 154412"/>
                <a:gd name="connsiteY1" fmla="*/ 0 h 752547"/>
                <a:gd name="connsiteX2" fmla="*/ 154412 w 154412"/>
                <a:gd name="connsiteY2" fmla="*/ 124432 h 752547"/>
                <a:gd name="connsiteX3" fmla="*/ 103777 w 154412"/>
                <a:gd name="connsiteY3" fmla="*/ 288035 h 752547"/>
                <a:gd name="connsiteX4" fmla="*/ 104760 w 154412"/>
                <a:gd name="connsiteY4" fmla="*/ 752547 h 752547"/>
                <a:gd name="connsiteX5" fmla="*/ 43445 w 154412"/>
                <a:gd name="connsiteY5" fmla="*/ 748821 h 752547"/>
                <a:gd name="connsiteX6" fmla="*/ 13620 w 154412"/>
                <a:gd name="connsiteY6" fmla="*/ 732034 h 752547"/>
                <a:gd name="connsiteX7" fmla="*/ 8694 w 154412"/>
                <a:gd name="connsiteY7" fmla="*/ 666576 h 752547"/>
                <a:gd name="connsiteX8" fmla="*/ 0 w 154412"/>
                <a:gd name="connsiteY8" fmla="*/ 629732 h 752547"/>
                <a:gd name="connsiteX9" fmla="*/ 9296 w 154412"/>
                <a:gd name="connsiteY9" fmla="*/ 467635 h 752547"/>
                <a:gd name="connsiteX10" fmla="*/ 20943 w 154412"/>
                <a:gd name="connsiteY10" fmla="*/ 243504 h 7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12" h="752547">
                  <a:moveTo>
                    <a:pt x="20943" y="243504"/>
                  </a:moveTo>
                  <a:lnTo>
                    <a:pt x="65614" y="0"/>
                  </a:lnTo>
                  <a:lnTo>
                    <a:pt x="154412" y="124432"/>
                  </a:lnTo>
                  <a:lnTo>
                    <a:pt x="103777" y="288035"/>
                  </a:lnTo>
                  <a:cubicBezTo>
                    <a:pt x="102959" y="379315"/>
                    <a:pt x="105578" y="661267"/>
                    <a:pt x="104760" y="752547"/>
                  </a:cubicBezTo>
                  <a:lnTo>
                    <a:pt x="43445" y="748821"/>
                  </a:lnTo>
                  <a:lnTo>
                    <a:pt x="13620" y="732034"/>
                  </a:lnTo>
                  <a:cubicBezTo>
                    <a:pt x="6969" y="714602"/>
                    <a:pt x="10964" y="682481"/>
                    <a:pt x="8694" y="666576"/>
                  </a:cubicBezTo>
                  <a:cubicBezTo>
                    <a:pt x="6424" y="650672"/>
                    <a:pt x="186" y="660310"/>
                    <a:pt x="0" y="629732"/>
                  </a:cubicBezTo>
                  <a:lnTo>
                    <a:pt x="9296" y="467635"/>
                  </a:lnTo>
                  <a:lnTo>
                    <a:pt x="20943" y="243504"/>
                  </a:lnTo>
                  <a:close/>
                </a:path>
              </a:pathLst>
            </a:custGeom>
            <a:solidFill>
              <a:srgbClr val="004669"/>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5" name="Rectangle 36"/>
            <p:cNvSpPr/>
            <p:nvPr/>
          </p:nvSpPr>
          <p:spPr bwMode="auto">
            <a:xfrm>
              <a:off x="7775593" y="968818"/>
              <a:ext cx="318705" cy="486465"/>
            </a:xfrm>
            <a:custGeom>
              <a:avLst/>
              <a:gdLst>
                <a:gd name="connsiteX0" fmla="*/ 0 w 399976"/>
                <a:gd name="connsiteY0" fmla="*/ 0 h 442317"/>
                <a:gd name="connsiteX1" fmla="*/ 399976 w 399976"/>
                <a:gd name="connsiteY1" fmla="*/ 0 h 442317"/>
                <a:gd name="connsiteX2" fmla="*/ 399976 w 399976"/>
                <a:gd name="connsiteY2" fmla="*/ 442317 h 442317"/>
                <a:gd name="connsiteX3" fmla="*/ 0 w 399976"/>
                <a:gd name="connsiteY3" fmla="*/ 442317 h 442317"/>
                <a:gd name="connsiteX4" fmla="*/ 0 w 399976"/>
                <a:gd name="connsiteY4" fmla="*/ 0 h 442317"/>
                <a:gd name="connsiteX0" fmla="*/ 0 w 399976"/>
                <a:gd name="connsiteY0" fmla="*/ 0 h 442317"/>
                <a:gd name="connsiteX1" fmla="*/ 399976 w 399976"/>
                <a:gd name="connsiteY1" fmla="*/ 0 h 442317"/>
                <a:gd name="connsiteX2" fmla="*/ 395149 w 399976"/>
                <a:gd name="connsiteY2" fmla="*/ 172180 h 442317"/>
                <a:gd name="connsiteX3" fmla="*/ 399976 w 399976"/>
                <a:gd name="connsiteY3" fmla="*/ 442317 h 442317"/>
                <a:gd name="connsiteX4" fmla="*/ 0 w 399976"/>
                <a:gd name="connsiteY4" fmla="*/ 442317 h 442317"/>
                <a:gd name="connsiteX5" fmla="*/ 0 w 399976"/>
                <a:gd name="connsiteY5" fmla="*/ 0 h 44231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0 w 399976"/>
                <a:gd name="connsiteY6"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399976 w 399976"/>
                <a:gd name="connsiteY4" fmla="*/ 44427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395149 w 399976"/>
                <a:gd name="connsiteY3" fmla="*/ 174140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0 w 399976"/>
                <a:gd name="connsiteY0" fmla="*/ 1960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0 w 399976"/>
                <a:gd name="connsiteY7" fmla="*/ 1960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309 w 399976"/>
                <a:gd name="connsiteY6" fmla="*/ 180975 h 444277"/>
                <a:gd name="connsiteX7" fmla="*/ 87312 w 399976"/>
                <a:gd name="connsiteY7" fmla="*/ 121023 h 444277"/>
                <a:gd name="connsiteX0" fmla="*/ 87312 w 399976"/>
                <a:gd name="connsiteY0" fmla="*/ 121023 h 444277"/>
                <a:gd name="connsiteX1" fmla="*/ 136834 w 399976"/>
                <a:gd name="connsiteY1" fmla="*/ 0 h 444277"/>
                <a:gd name="connsiteX2" fmla="*/ 399976 w 399976"/>
                <a:gd name="connsiteY2" fmla="*/ 1960 h 444277"/>
                <a:gd name="connsiteX3" fmla="*/ 274499 w 399976"/>
                <a:gd name="connsiteY3" fmla="*/ 145565 h 444277"/>
                <a:gd name="connsiteX4" fmla="*/ 84063 w 399976"/>
                <a:gd name="connsiteY4" fmla="*/ 399827 h 444277"/>
                <a:gd name="connsiteX5" fmla="*/ 0 w 399976"/>
                <a:gd name="connsiteY5" fmla="*/ 444277 h 444277"/>
                <a:gd name="connsiteX6" fmla="*/ 27296 w 399976"/>
                <a:gd name="connsiteY6" fmla="*/ 369888 h 444277"/>
                <a:gd name="connsiteX7" fmla="*/ 87312 w 399976"/>
                <a:gd name="connsiteY7" fmla="*/ 121023 h 444277"/>
                <a:gd name="connsiteX0" fmla="*/ 87312 w 399976"/>
                <a:gd name="connsiteY0" fmla="*/ 11906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87312 w 399976"/>
                <a:gd name="connsiteY7" fmla="*/ 119063 h 442317"/>
                <a:gd name="connsiteX0" fmla="*/ 63499 w 399976"/>
                <a:gd name="connsiteY0" fmla="*/ 125413 h 442317"/>
                <a:gd name="connsiteX1" fmla="*/ 206684 w 399976"/>
                <a:gd name="connsiteY1" fmla="*/ 66303 h 442317"/>
                <a:gd name="connsiteX2" fmla="*/ 399976 w 399976"/>
                <a:gd name="connsiteY2" fmla="*/ 0 h 442317"/>
                <a:gd name="connsiteX3" fmla="*/ 274499 w 399976"/>
                <a:gd name="connsiteY3" fmla="*/ 143605 h 442317"/>
                <a:gd name="connsiteX4" fmla="*/ 84063 w 399976"/>
                <a:gd name="connsiteY4" fmla="*/ 397867 h 442317"/>
                <a:gd name="connsiteX5" fmla="*/ 0 w 399976"/>
                <a:gd name="connsiteY5" fmla="*/ 442317 h 442317"/>
                <a:gd name="connsiteX6" fmla="*/ 27296 w 399976"/>
                <a:gd name="connsiteY6" fmla="*/ 367928 h 442317"/>
                <a:gd name="connsiteX7" fmla="*/ 63499 w 399976"/>
                <a:gd name="connsiteY7" fmla="*/ 125413 h 442317"/>
                <a:gd name="connsiteX0" fmla="*/ 63499 w 399976"/>
                <a:gd name="connsiteY0" fmla="*/ 125413 h 532805"/>
                <a:gd name="connsiteX1" fmla="*/ 206684 w 399976"/>
                <a:gd name="connsiteY1" fmla="*/ 66303 h 532805"/>
                <a:gd name="connsiteX2" fmla="*/ 399976 w 399976"/>
                <a:gd name="connsiteY2" fmla="*/ 0 h 532805"/>
                <a:gd name="connsiteX3" fmla="*/ 274499 w 399976"/>
                <a:gd name="connsiteY3" fmla="*/ 143605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99976"/>
                <a:gd name="connsiteY0" fmla="*/ 125413 h 532805"/>
                <a:gd name="connsiteX1" fmla="*/ 206684 w 399976"/>
                <a:gd name="connsiteY1" fmla="*/ 66303 h 532805"/>
                <a:gd name="connsiteX2" fmla="*/ 399976 w 399976"/>
                <a:gd name="connsiteY2" fmla="*/ 0 h 532805"/>
                <a:gd name="connsiteX3" fmla="*/ 222112 w 399976"/>
                <a:gd name="connsiteY3" fmla="*/ 167417 h 532805"/>
                <a:gd name="connsiteX4" fmla="*/ 3100 w 399976"/>
                <a:gd name="connsiteY4" fmla="*/ 532805 h 532805"/>
                <a:gd name="connsiteX5" fmla="*/ 0 w 399976"/>
                <a:gd name="connsiteY5" fmla="*/ 442317 h 532805"/>
                <a:gd name="connsiteX6" fmla="*/ 27296 w 399976"/>
                <a:gd name="connsiteY6" fmla="*/ 367928 h 532805"/>
                <a:gd name="connsiteX7" fmla="*/ 63499 w 399976"/>
                <a:gd name="connsiteY7" fmla="*/ 125413 h 532805"/>
                <a:gd name="connsiteX0" fmla="*/ 63499 w 346001"/>
                <a:gd name="connsiteY0" fmla="*/ 63501 h 470893"/>
                <a:gd name="connsiteX1" fmla="*/ 206684 w 346001"/>
                <a:gd name="connsiteY1" fmla="*/ 4391 h 470893"/>
                <a:gd name="connsiteX2" fmla="*/ 346001 w 346001"/>
                <a:gd name="connsiteY2" fmla="*/ 0 h 470893"/>
                <a:gd name="connsiteX3" fmla="*/ 222112 w 346001"/>
                <a:gd name="connsiteY3" fmla="*/ 105505 h 470893"/>
                <a:gd name="connsiteX4" fmla="*/ 3100 w 346001"/>
                <a:gd name="connsiteY4" fmla="*/ 470893 h 470893"/>
                <a:gd name="connsiteX5" fmla="*/ 0 w 346001"/>
                <a:gd name="connsiteY5" fmla="*/ 380405 h 470893"/>
                <a:gd name="connsiteX6" fmla="*/ 27296 w 346001"/>
                <a:gd name="connsiteY6" fmla="*/ 306016 h 470893"/>
                <a:gd name="connsiteX7" fmla="*/ 63499 w 346001"/>
                <a:gd name="connsiteY7" fmla="*/ 63501 h 470893"/>
                <a:gd name="connsiteX0" fmla="*/ 63499 w 346001"/>
                <a:gd name="connsiteY0" fmla="*/ 63501 h 380405"/>
                <a:gd name="connsiteX1" fmla="*/ 206684 w 346001"/>
                <a:gd name="connsiteY1" fmla="*/ 4391 h 380405"/>
                <a:gd name="connsiteX2" fmla="*/ 346001 w 346001"/>
                <a:gd name="connsiteY2" fmla="*/ 0 h 380405"/>
                <a:gd name="connsiteX3" fmla="*/ 222112 w 346001"/>
                <a:gd name="connsiteY3" fmla="*/ 105505 h 380405"/>
                <a:gd name="connsiteX4" fmla="*/ 166612 w 346001"/>
                <a:gd name="connsiteY4" fmla="*/ 245468 h 380405"/>
                <a:gd name="connsiteX5" fmla="*/ 0 w 346001"/>
                <a:gd name="connsiteY5" fmla="*/ 380405 h 380405"/>
                <a:gd name="connsiteX6" fmla="*/ 27296 w 346001"/>
                <a:gd name="connsiteY6" fmla="*/ 306016 h 380405"/>
                <a:gd name="connsiteX7" fmla="*/ 63499 w 346001"/>
                <a:gd name="connsiteY7" fmla="*/ 63501 h 380405"/>
                <a:gd name="connsiteX0" fmla="*/ 41274 w 323776"/>
                <a:gd name="connsiteY0" fmla="*/ 63501 h 464543"/>
                <a:gd name="connsiteX1" fmla="*/ 184459 w 323776"/>
                <a:gd name="connsiteY1" fmla="*/ 4391 h 464543"/>
                <a:gd name="connsiteX2" fmla="*/ 323776 w 323776"/>
                <a:gd name="connsiteY2" fmla="*/ 0 h 464543"/>
                <a:gd name="connsiteX3" fmla="*/ 199887 w 323776"/>
                <a:gd name="connsiteY3" fmla="*/ 105505 h 464543"/>
                <a:gd name="connsiteX4" fmla="*/ 144387 w 323776"/>
                <a:gd name="connsiteY4" fmla="*/ 245468 h 464543"/>
                <a:gd name="connsiteX5" fmla="*/ 0 w 323776"/>
                <a:gd name="connsiteY5" fmla="*/ 464543 h 464543"/>
                <a:gd name="connsiteX6" fmla="*/ 5071 w 323776"/>
                <a:gd name="connsiteY6" fmla="*/ 306016 h 464543"/>
                <a:gd name="connsiteX7" fmla="*/ 41274 w 323776"/>
                <a:gd name="connsiteY7" fmla="*/ 63501 h 464543"/>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4454 w 318705"/>
                <a:gd name="connsiteY5" fmla="*/ 462956 h 462956"/>
                <a:gd name="connsiteX6" fmla="*/ 0 w 318705"/>
                <a:gd name="connsiteY6" fmla="*/ 306016 h 462956"/>
                <a:gd name="connsiteX7" fmla="*/ 36203 w 318705"/>
                <a:gd name="connsiteY7" fmla="*/ 63501 h 462956"/>
                <a:gd name="connsiteX0" fmla="*/ 36203 w 318705"/>
                <a:gd name="connsiteY0" fmla="*/ 63501 h 462956"/>
                <a:gd name="connsiteX1" fmla="*/ 179388 w 318705"/>
                <a:gd name="connsiteY1" fmla="*/ 4391 h 462956"/>
                <a:gd name="connsiteX2" fmla="*/ 318705 w 318705"/>
                <a:gd name="connsiteY2" fmla="*/ 0 h 462956"/>
                <a:gd name="connsiteX3" fmla="*/ 194816 w 318705"/>
                <a:gd name="connsiteY3" fmla="*/ 105505 h 462956"/>
                <a:gd name="connsiteX4" fmla="*/ 139316 w 318705"/>
                <a:gd name="connsiteY4" fmla="*/ 245468 h 462956"/>
                <a:gd name="connsiteX5" fmla="*/ 65112 w 318705"/>
                <a:gd name="connsiteY5" fmla="*/ 359533 h 462956"/>
                <a:gd name="connsiteX6" fmla="*/ 4454 w 318705"/>
                <a:gd name="connsiteY6" fmla="*/ 462956 h 462956"/>
                <a:gd name="connsiteX7" fmla="*/ 0 w 318705"/>
                <a:gd name="connsiteY7" fmla="*/ 306016 h 462956"/>
                <a:gd name="connsiteX8" fmla="*/ 36203 w 318705"/>
                <a:gd name="connsiteY8" fmla="*/ 63501 h 462956"/>
                <a:gd name="connsiteX0" fmla="*/ 36203 w 318705"/>
                <a:gd name="connsiteY0" fmla="*/ 63501 h 607183"/>
                <a:gd name="connsiteX1" fmla="*/ 179388 w 318705"/>
                <a:gd name="connsiteY1" fmla="*/ 4391 h 607183"/>
                <a:gd name="connsiteX2" fmla="*/ 318705 w 318705"/>
                <a:gd name="connsiteY2" fmla="*/ 0 h 607183"/>
                <a:gd name="connsiteX3" fmla="*/ 194816 w 318705"/>
                <a:gd name="connsiteY3" fmla="*/ 105505 h 607183"/>
                <a:gd name="connsiteX4" fmla="*/ 139316 w 318705"/>
                <a:gd name="connsiteY4" fmla="*/ 245468 h 607183"/>
                <a:gd name="connsiteX5" fmla="*/ 20662 w 318705"/>
                <a:gd name="connsiteY5" fmla="*/ 607183 h 607183"/>
                <a:gd name="connsiteX6" fmla="*/ 4454 w 318705"/>
                <a:gd name="connsiteY6" fmla="*/ 462956 h 607183"/>
                <a:gd name="connsiteX7" fmla="*/ 0 w 318705"/>
                <a:gd name="connsiteY7" fmla="*/ 306016 h 607183"/>
                <a:gd name="connsiteX8" fmla="*/ 36203 w 318705"/>
                <a:gd name="connsiteY8" fmla="*/ 63501 h 607183"/>
                <a:gd name="connsiteX0" fmla="*/ 36203 w 318705"/>
                <a:gd name="connsiteY0" fmla="*/ 63501 h 591308"/>
                <a:gd name="connsiteX1" fmla="*/ 179388 w 318705"/>
                <a:gd name="connsiteY1" fmla="*/ 4391 h 591308"/>
                <a:gd name="connsiteX2" fmla="*/ 318705 w 318705"/>
                <a:gd name="connsiteY2" fmla="*/ 0 h 591308"/>
                <a:gd name="connsiteX3" fmla="*/ 194816 w 318705"/>
                <a:gd name="connsiteY3" fmla="*/ 105505 h 591308"/>
                <a:gd name="connsiteX4" fmla="*/ 139316 w 318705"/>
                <a:gd name="connsiteY4" fmla="*/ 245468 h 591308"/>
                <a:gd name="connsiteX5" fmla="*/ 17487 w 318705"/>
                <a:gd name="connsiteY5" fmla="*/ 591308 h 591308"/>
                <a:gd name="connsiteX6" fmla="*/ 4454 w 318705"/>
                <a:gd name="connsiteY6" fmla="*/ 462956 h 591308"/>
                <a:gd name="connsiteX7" fmla="*/ 0 w 318705"/>
                <a:gd name="connsiteY7" fmla="*/ 306016 h 591308"/>
                <a:gd name="connsiteX8" fmla="*/ 36203 w 318705"/>
                <a:gd name="connsiteY8" fmla="*/ 63501 h 591308"/>
                <a:gd name="connsiteX0" fmla="*/ 36203 w 318705"/>
                <a:gd name="connsiteY0" fmla="*/ 63501 h 578608"/>
                <a:gd name="connsiteX1" fmla="*/ 179388 w 318705"/>
                <a:gd name="connsiteY1" fmla="*/ 4391 h 578608"/>
                <a:gd name="connsiteX2" fmla="*/ 318705 w 318705"/>
                <a:gd name="connsiteY2" fmla="*/ 0 h 578608"/>
                <a:gd name="connsiteX3" fmla="*/ 194816 w 318705"/>
                <a:gd name="connsiteY3" fmla="*/ 105505 h 578608"/>
                <a:gd name="connsiteX4" fmla="*/ 139316 w 318705"/>
                <a:gd name="connsiteY4" fmla="*/ 245468 h 578608"/>
                <a:gd name="connsiteX5" fmla="*/ 23837 w 318705"/>
                <a:gd name="connsiteY5" fmla="*/ 578608 h 578608"/>
                <a:gd name="connsiteX6" fmla="*/ 4454 w 318705"/>
                <a:gd name="connsiteY6" fmla="*/ 462956 h 578608"/>
                <a:gd name="connsiteX7" fmla="*/ 0 w 318705"/>
                <a:gd name="connsiteY7" fmla="*/ 306016 h 578608"/>
                <a:gd name="connsiteX8" fmla="*/ 36203 w 318705"/>
                <a:gd name="connsiteY8" fmla="*/ 63501 h 578608"/>
                <a:gd name="connsiteX0" fmla="*/ 36203 w 554385"/>
                <a:gd name="connsiteY0" fmla="*/ 63501 h 578608"/>
                <a:gd name="connsiteX1" fmla="*/ 179388 w 554385"/>
                <a:gd name="connsiteY1" fmla="*/ 4391 h 578608"/>
                <a:gd name="connsiteX2" fmla="*/ 318705 w 554385"/>
                <a:gd name="connsiteY2" fmla="*/ 0 h 578608"/>
                <a:gd name="connsiteX3" fmla="*/ 194816 w 554385"/>
                <a:gd name="connsiteY3" fmla="*/ 105505 h 578608"/>
                <a:gd name="connsiteX4" fmla="*/ 139316 w 554385"/>
                <a:gd name="connsiteY4" fmla="*/ 245468 h 578608"/>
                <a:gd name="connsiteX5" fmla="*/ 554385 w 554385"/>
                <a:gd name="connsiteY5" fmla="*/ 578608 h 578608"/>
                <a:gd name="connsiteX6" fmla="*/ 4454 w 554385"/>
                <a:gd name="connsiteY6" fmla="*/ 462956 h 578608"/>
                <a:gd name="connsiteX7" fmla="*/ 0 w 554385"/>
                <a:gd name="connsiteY7" fmla="*/ 306016 h 578608"/>
                <a:gd name="connsiteX8" fmla="*/ 36203 w 554385"/>
                <a:gd name="connsiteY8" fmla="*/ 63501 h 578608"/>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159"/>
                <a:gd name="connsiteX1" fmla="*/ 179388 w 318705"/>
                <a:gd name="connsiteY1" fmla="*/ 4391 h 554159"/>
                <a:gd name="connsiteX2" fmla="*/ 318705 w 318705"/>
                <a:gd name="connsiteY2" fmla="*/ 0 h 554159"/>
                <a:gd name="connsiteX3" fmla="*/ 194816 w 318705"/>
                <a:gd name="connsiteY3" fmla="*/ 105505 h 554159"/>
                <a:gd name="connsiteX4" fmla="*/ 139316 w 318705"/>
                <a:gd name="connsiteY4" fmla="*/ 245468 h 554159"/>
                <a:gd name="connsiteX5" fmla="*/ 16503 w 318705"/>
                <a:gd name="connsiteY5" fmla="*/ 554159 h 554159"/>
                <a:gd name="connsiteX6" fmla="*/ 4454 w 318705"/>
                <a:gd name="connsiteY6" fmla="*/ 462956 h 554159"/>
                <a:gd name="connsiteX7" fmla="*/ 0 w 318705"/>
                <a:gd name="connsiteY7" fmla="*/ 306016 h 554159"/>
                <a:gd name="connsiteX8" fmla="*/ 36203 w 318705"/>
                <a:gd name="connsiteY8" fmla="*/ 63501 h 554159"/>
                <a:gd name="connsiteX0" fmla="*/ 36203 w 318705"/>
                <a:gd name="connsiteY0" fmla="*/ 63501 h 554866"/>
                <a:gd name="connsiteX1" fmla="*/ 179388 w 318705"/>
                <a:gd name="connsiteY1" fmla="*/ 4391 h 554866"/>
                <a:gd name="connsiteX2" fmla="*/ 318705 w 318705"/>
                <a:gd name="connsiteY2" fmla="*/ 0 h 554866"/>
                <a:gd name="connsiteX3" fmla="*/ 194816 w 318705"/>
                <a:gd name="connsiteY3" fmla="*/ 105505 h 554866"/>
                <a:gd name="connsiteX4" fmla="*/ 139316 w 318705"/>
                <a:gd name="connsiteY4" fmla="*/ 245468 h 554866"/>
                <a:gd name="connsiteX5" fmla="*/ 51410 w 318705"/>
                <a:gd name="connsiteY5" fmla="*/ 490283 h 554866"/>
                <a:gd name="connsiteX6" fmla="*/ 16503 w 318705"/>
                <a:gd name="connsiteY6" fmla="*/ 554159 h 554866"/>
                <a:gd name="connsiteX7" fmla="*/ 4454 w 318705"/>
                <a:gd name="connsiteY7" fmla="*/ 462956 h 554866"/>
                <a:gd name="connsiteX8" fmla="*/ 0 w 318705"/>
                <a:gd name="connsiteY8" fmla="*/ 306016 h 554866"/>
                <a:gd name="connsiteX9" fmla="*/ 36203 w 318705"/>
                <a:gd name="connsiteY9" fmla="*/ 63501 h 554866"/>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39316 w 318705"/>
                <a:gd name="connsiteY4" fmla="*/ 245468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61073"/>
                <a:gd name="connsiteX1" fmla="*/ 179388 w 318705"/>
                <a:gd name="connsiteY1" fmla="*/ 4391 h 561073"/>
                <a:gd name="connsiteX2" fmla="*/ 318705 w 318705"/>
                <a:gd name="connsiteY2" fmla="*/ 0 h 561073"/>
                <a:gd name="connsiteX3" fmla="*/ 194816 w 318705"/>
                <a:gd name="connsiteY3" fmla="*/ 105505 h 561073"/>
                <a:gd name="connsiteX4" fmla="*/ 121646 w 318705"/>
                <a:gd name="connsiteY4" fmla="*/ 254303 h 561073"/>
                <a:gd name="connsiteX5" fmla="*/ 44784 w 318705"/>
                <a:gd name="connsiteY5" fmla="*/ 525622 h 561073"/>
                <a:gd name="connsiteX6" fmla="*/ 16503 w 318705"/>
                <a:gd name="connsiteY6" fmla="*/ 554159 h 561073"/>
                <a:gd name="connsiteX7" fmla="*/ 4454 w 318705"/>
                <a:gd name="connsiteY7" fmla="*/ 462956 h 561073"/>
                <a:gd name="connsiteX8" fmla="*/ 0 w 318705"/>
                <a:gd name="connsiteY8" fmla="*/ 306016 h 561073"/>
                <a:gd name="connsiteX9" fmla="*/ 36203 w 318705"/>
                <a:gd name="connsiteY9" fmla="*/ 63501 h 561073"/>
                <a:gd name="connsiteX0" fmla="*/ 36203 w 318705"/>
                <a:gd name="connsiteY0" fmla="*/ 63501 h 554382"/>
                <a:gd name="connsiteX1" fmla="*/ 179388 w 318705"/>
                <a:gd name="connsiteY1" fmla="*/ 4391 h 554382"/>
                <a:gd name="connsiteX2" fmla="*/ 318705 w 318705"/>
                <a:gd name="connsiteY2" fmla="*/ 0 h 554382"/>
                <a:gd name="connsiteX3" fmla="*/ 194816 w 318705"/>
                <a:gd name="connsiteY3" fmla="*/ 105505 h 554382"/>
                <a:gd name="connsiteX4" fmla="*/ 121646 w 318705"/>
                <a:gd name="connsiteY4" fmla="*/ 254303 h 554382"/>
                <a:gd name="connsiteX5" fmla="*/ 47505 w 318705"/>
                <a:gd name="connsiteY5" fmla="*/ 441257 h 554382"/>
                <a:gd name="connsiteX6" fmla="*/ 16503 w 318705"/>
                <a:gd name="connsiteY6" fmla="*/ 554159 h 554382"/>
                <a:gd name="connsiteX7" fmla="*/ 4454 w 318705"/>
                <a:gd name="connsiteY7" fmla="*/ 462956 h 554382"/>
                <a:gd name="connsiteX8" fmla="*/ 0 w 318705"/>
                <a:gd name="connsiteY8" fmla="*/ 306016 h 554382"/>
                <a:gd name="connsiteX9" fmla="*/ 36203 w 318705"/>
                <a:gd name="connsiteY9" fmla="*/ 63501 h 554382"/>
                <a:gd name="connsiteX0" fmla="*/ 36203 w 318705"/>
                <a:gd name="connsiteY0" fmla="*/ 63501 h 554296"/>
                <a:gd name="connsiteX1" fmla="*/ 179388 w 318705"/>
                <a:gd name="connsiteY1" fmla="*/ 4391 h 554296"/>
                <a:gd name="connsiteX2" fmla="*/ 318705 w 318705"/>
                <a:gd name="connsiteY2" fmla="*/ 0 h 554296"/>
                <a:gd name="connsiteX3" fmla="*/ 194816 w 318705"/>
                <a:gd name="connsiteY3" fmla="*/ 105505 h 554296"/>
                <a:gd name="connsiteX4" fmla="*/ 121646 w 318705"/>
                <a:gd name="connsiteY4" fmla="*/ 254303 h 554296"/>
                <a:gd name="connsiteX5" fmla="*/ 58391 w 318705"/>
                <a:gd name="connsiteY5" fmla="*/ 397714 h 554296"/>
                <a:gd name="connsiteX6" fmla="*/ 16503 w 318705"/>
                <a:gd name="connsiteY6" fmla="*/ 554159 h 554296"/>
                <a:gd name="connsiteX7" fmla="*/ 4454 w 318705"/>
                <a:gd name="connsiteY7" fmla="*/ 462956 h 554296"/>
                <a:gd name="connsiteX8" fmla="*/ 0 w 318705"/>
                <a:gd name="connsiteY8" fmla="*/ 306016 h 554296"/>
                <a:gd name="connsiteX9" fmla="*/ 36203 w 318705"/>
                <a:gd name="connsiteY9" fmla="*/ 63501 h 554296"/>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62956 h 486465"/>
                <a:gd name="connsiteX8" fmla="*/ 0 w 318705"/>
                <a:gd name="connsiteY8" fmla="*/ 306016 h 486465"/>
                <a:gd name="connsiteX9" fmla="*/ 36203 w 318705"/>
                <a:gd name="connsiteY9" fmla="*/ 63501 h 486465"/>
                <a:gd name="connsiteX0" fmla="*/ 36203 w 318705"/>
                <a:gd name="connsiteY0" fmla="*/ 63501 h 486465"/>
                <a:gd name="connsiteX1" fmla="*/ 179388 w 318705"/>
                <a:gd name="connsiteY1" fmla="*/ 4391 h 486465"/>
                <a:gd name="connsiteX2" fmla="*/ 318705 w 318705"/>
                <a:gd name="connsiteY2" fmla="*/ 0 h 486465"/>
                <a:gd name="connsiteX3" fmla="*/ 194816 w 318705"/>
                <a:gd name="connsiteY3" fmla="*/ 105505 h 486465"/>
                <a:gd name="connsiteX4" fmla="*/ 121646 w 318705"/>
                <a:gd name="connsiteY4" fmla="*/ 254303 h 486465"/>
                <a:gd name="connsiteX5" fmla="*/ 58391 w 318705"/>
                <a:gd name="connsiteY5" fmla="*/ 397714 h 486465"/>
                <a:gd name="connsiteX6" fmla="*/ 21946 w 318705"/>
                <a:gd name="connsiteY6" fmla="*/ 486123 h 486465"/>
                <a:gd name="connsiteX7" fmla="*/ 4454 w 318705"/>
                <a:gd name="connsiteY7" fmla="*/ 441185 h 486465"/>
                <a:gd name="connsiteX8" fmla="*/ 0 w 318705"/>
                <a:gd name="connsiteY8" fmla="*/ 306016 h 486465"/>
                <a:gd name="connsiteX9" fmla="*/ 36203 w 318705"/>
                <a:gd name="connsiteY9" fmla="*/ 63501 h 48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05" h="486465">
                  <a:moveTo>
                    <a:pt x="36203" y="63501"/>
                  </a:moveTo>
                  <a:lnTo>
                    <a:pt x="179388" y="4391"/>
                  </a:lnTo>
                  <a:lnTo>
                    <a:pt x="318705" y="0"/>
                  </a:lnTo>
                  <a:lnTo>
                    <a:pt x="194816" y="105505"/>
                  </a:lnTo>
                  <a:lnTo>
                    <a:pt x="121646" y="254303"/>
                  </a:lnTo>
                  <a:cubicBezTo>
                    <a:pt x="97745" y="318433"/>
                    <a:pt x="78860" y="346266"/>
                    <a:pt x="58391" y="397714"/>
                  </a:cubicBezTo>
                  <a:cubicBezTo>
                    <a:pt x="37922" y="449162"/>
                    <a:pt x="29772" y="490678"/>
                    <a:pt x="21946" y="486123"/>
                  </a:cubicBezTo>
                  <a:cubicBezTo>
                    <a:pt x="11304" y="455722"/>
                    <a:pt x="8470" y="471586"/>
                    <a:pt x="4454" y="441185"/>
                  </a:cubicBezTo>
                  <a:lnTo>
                    <a:pt x="0" y="306016"/>
                  </a:lnTo>
                  <a:lnTo>
                    <a:pt x="36203" y="63501"/>
                  </a:lnTo>
                  <a:close/>
                </a:path>
              </a:pathLst>
            </a:custGeom>
            <a:solidFill>
              <a:srgbClr val="DB9468"/>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sp>
          <p:nvSpPr>
            <p:cNvPr id="36" name="Freeform 534"/>
            <p:cNvSpPr/>
            <p:nvPr/>
          </p:nvSpPr>
          <p:spPr bwMode="auto">
            <a:xfrm flipH="1">
              <a:off x="7674689" y="575869"/>
              <a:ext cx="933009" cy="819127"/>
            </a:xfrm>
            <a:custGeom>
              <a:avLst/>
              <a:gdLst>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7417 w 933009"/>
                <a:gd name="connsiteY4" fmla="*/ 133888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72234 w 933009"/>
                <a:gd name="connsiteY5" fmla="*/ 7038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112450 w 933009"/>
                <a:gd name="connsiteY6" fmla="*/ 38638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8984 w 933009"/>
                <a:gd name="connsiteY22" fmla="*/ 582622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6867 w 933009"/>
                <a:gd name="connsiteY21" fmla="*/ 63977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8984 w 933009"/>
                <a:gd name="connsiteY21" fmla="*/ 620722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8250 w 933009"/>
                <a:gd name="connsiteY19" fmla="*/ 739255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 name="connsiteX0" fmla="*/ 34134 w 933009"/>
                <a:gd name="connsiteY0" fmla="*/ 749838 h 819127"/>
                <a:gd name="connsiteX1" fmla="*/ 4500 w 933009"/>
                <a:gd name="connsiteY1" fmla="*/ 576272 h 819127"/>
                <a:gd name="connsiteX2" fmla="*/ 8734 w 933009"/>
                <a:gd name="connsiteY2" fmla="*/ 417522 h 819127"/>
                <a:gd name="connsiteX3" fmla="*/ 84934 w 933009"/>
                <a:gd name="connsiteY3" fmla="*/ 231255 h 819127"/>
                <a:gd name="connsiteX4" fmla="*/ 51067 w 933009"/>
                <a:gd name="connsiteY4" fmla="*/ 150821 h 819127"/>
                <a:gd name="connsiteX5" fmla="*/ 46834 w 933009"/>
                <a:gd name="connsiteY5" fmla="*/ 89438 h 819127"/>
                <a:gd name="connsiteX6" fmla="*/ 95516 w 933009"/>
                <a:gd name="connsiteY6" fmla="*/ 42872 h 819127"/>
                <a:gd name="connsiteX7" fmla="*/ 167484 w 933009"/>
                <a:gd name="connsiteY7" fmla="*/ 38638 h 819127"/>
                <a:gd name="connsiteX8" fmla="*/ 381267 w 933009"/>
                <a:gd name="connsiteY8" fmla="*/ 15355 h 819127"/>
                <a:gd name="connsiteX9" fmla="*/ 550600 w 933009"/>
                <a:gd name="connsiteY9" fmla="*/ 538 h 819127"/>
                <a:gd name="connsiteX10" fmla="*/ 671250 w 933009"/>
                <a:gd name="connsiteY10" fmla="*/ 34405 h 819127"/>
                <a:gd name="connsiteX11" fmla="*/ 821534 w 933009"/>
                <a:gd name="connsiteY11" fmla="*/ 119072 h 819127"/>
                <a:gd name="connsiteX12" fmla="*/ 929484 w 933009"/>
                <a:gd name="connsiteY12" fmla="*/ 356138 h 819127"/>
                <a:gd name="connsiteX13" fmla="*/ 904084 w 933009"/>
                <a:gd name="connsiteY13" fmla="*/ 743488 h 819127"/>
                <a:gd name="connsiteX14" fmla="*/ 876567 w 933009"/>
                <a:gd name="connsiteY14" fmla="*/ 732905 h 819127"/>
                <a:gd name="connsiteX15" fmla="*/ 853284 w 933009"/>
                <a:gd name="connsiteY15" fmla="*/ 747722 h 819127"/>
                <a:gd name="connsiteX16" fmla="*/ 836350 w 933009"/>
                <a:gd name="connsiteY16" fmla="*/ 783705 h 819127"/>
                <a:gd name="connsiteX17" fmla="*/ 832117 w 933009"/>
                <a:gd name="connsiteY17" fmla="*/ 817572 h 819127"/>
                <a:gd name="connsiteX18" fmla="*/ 800367 w 933009"/>
                <a:gd name="connsiteY18" fmla="*/ 730788 h 819127"/>
                <a:gd name="connsiteX19" fmla="*/ 791900 w 933009"/>
                <a:gd name="connsiteY19" fmla="*/ 747722 h 819127"/>
                <a:gd name="connsiteX20" fmla="*/ 751684 w 933009"/>
                <a:gd name="connsiteY20" fmla="*/ 663055 h 819127"/>
                <a:gd name="connsiteX21" fmla="*/ 734751 w 933009"/>
                <a:gd name="connsiteY21" fmla="*/ 624956 h 819127"/>
                <a:gd name="connsiteX22" fmla="*/ 734750 w 933009"/>
                <a:gd name="connsiteY22" fmla="*/ 572039 h 819127"/>
                <a:gd name="connsiteX23" fmla="*/ 686067 w 933009"/>
                <a:gd name="connsiteY23" fmla="*/ 476788 h 819127"/>
                <a:gd name="connsiteX24" fmla="*/ 639500 w 933009"/>
                <a:gd name="connsiteY24" fmla="*/ 413288 h 819127"/>
                <a:gd name="connsiteX25" fmla="*/ 406667 w 933009"/>
                <a:gd name="connsiteY25" fmla="*/ 413288 h 819127"/>
                <a:gd name="connsiteX26" fmla="*/ 298717 w 933009"/>
                <a:gd name="connsiteY26" fmla="*/ 387888 h 819127"/>
                <a:gd name="connsiteX27" fmla="*/ 182300 w 933009"/>
                <a:gd name="connsiteY27" fmla="*/ 366722 h 819127"/>
                <a:gd name="connsiteX28" fmla="*/ 154784 w 933009"/>
                <a:gd name="connsiteY28" fmla="*/ 364605 h 819127"/>
                <a:gd name="connsiteX29" fmla="*/ 99750 w 933009"/>
                <a:gd name="connsiteY29" fmla="*/ 491605 h 819127"/>
                <a:gd name="connsiteX30" fmla="*/ 91284 w 933009"/>
                <a:gd name="connsiteY30" fmla="*/ 591088 h 819127"/>
                <a:gd name="connsiteX31" fmla="*/ 74350 w 933009"/>
                <a:gd name="connsiteY31" fmla="*/ 614372 h 819127"/>
                <a:gd name="connsiteX32" fmla="*/ 34134 w 933009"/>
                <a:gd name="connsiteY32" fmla="*/ 749838 h 8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3009" h="819127">
                  <a:moveTo>
                    <a:pt x="34134" y="749838"/>
                  </a:moveTo>
                  <a:cubicBezTo>
                    <a:pt x="22492" y="743488"/>
                    <a:pt x="8733" y="631658"/>
                    <a:pt x="4500" y="576272"/>
                  </a:cubicBezTo>
                  <a:cubicBezTo>
                    <a:pt x="267" y="520886"/>
                    <a:pt x="-4672" y="475025"/>
                    <a:pt x="8734" y="417522"/>
                  </a:cubicBezTo>
                  <a:cubicBezTo>
                    <a:pt x="22140" y="360019"/>
                    <a:pt x="77879" y="275705"/>
                    <a:pt x="84934" y="231255"/>
                  </a:cubicBezTo>
                  <a:cubicBezTo>
                    <a:pt x="91989" y="186805"/>
                    <a:pt x="57417" y="174457"/>
                    <a:pt x="51067" y="150821"/>
                  </a:cubicBezTo>
                  <a:cubicBezTo>
                    <a:pt x="44717" y="127185"/>
                    <a:pt x="39426" y="107429"/>
                    <a:pt x="46834" y="89438"/>
                  </a:cubicBezTo>
                  <a:cubicBezTo>
                    <a:pt x="54242" y="71447"/>
                    <a:pt x="75408" y="51339"/>
                    <a:pt x="95516" y="42872"/>
                  </a:cubicBezTo>
                  <a:cubicBezTo>
                    <a:pt x="115624" y="34405"/>
                    <a:pt x="119859" y="43224"/>
                    <a:pt x="167484" y="38638"/>
                  </a:cubicBezTo>
                  <a:cubicBezTo>
                    <a:pt x="215109" y="34052"/>
                    <a:pt x="317414" y="21705"/>
                    <a:pt x="381267" y="15355"/>
                  </a:cubicBezTo>
                  <a:cubicBezTo>
                    <a:pt x="445120" y="9005"/>
                    <a:pt x="502270" y="-2637"/>
                    <a:pt x="550600" y="538"/>
                  </a:cubicBezTo>
                  <a:cubicBezTo>
                    <a:pt x="598930" y="3713"/>
                    <a:pt x="626094" y="14649"/>
                    <a:pt x="671250" y="34405"/>
                  </a:cubicBezTo>
                  <a:cubicBezTo>
                    <a:pt x="716406" y="54161"/>
                    <a:pt x="778495" y="65450"/>
                    <a:pt x="821534" y="119072"/>
                  </a:cubicBezTo>
                  <a:cubicBezTo>
                    <a:pt x="864573" y="172694"/>
                    <a:pt x="915726" y="252069"/>
                    <a:pt x="929484" y="356138"/>
                  </a:cubicBezTo>
                  <a:cubicBezTo>
                    <a:pt x="943242" y="460207"/>
                    <a:pt x="912904" y="680693"/>
                    <a:pt x="904084" y="743488"/>
                  </a:cubicBezTo>
                  <a:cubicBezTo>
                    <a:pt x="895264" y="806283"/>
                    <a:pt x="885034" y="732199"/>
                    <a:pt x="876567" y="732905"/>
                  </a:cubicBezTo>
                  <a:cubicBezTo>
                    <a:pt x="868100" y="733611"/>
                    <a:pt x="859987" y="739255"/>
                    <a:pt x="853284" y="747722"/>
                  </a:cubicBezTo>
                  <a:cubicBezTo>
                    <a:pt x="846581" y="756189"/>
                    <a:pt x="839878" y="772063"/>
                    <a:pt x="836350" y="783705"/>
                  </a:cubicBezTo>
                  <a:cubicBezTo>
                    <a:pt x="832822" y="795347"/>
                    <a:pt x="838114" y="826392"/>
                    <a:pt x="832117" y="817572"/>
                  </a:cubicBezTo>
                  <a:cubicBezTo>
                    <a:pt x="826120" y="808753"/>
                    <a:pt x="807070" y="742430"/>
                    <a:pt x="800367" y="730788"/>
                  </a:cubicBezTo>
                  <a:cubicBezTo>
                    <a:pt x="793664" y="719146"/>
                    <a:pt x="800014" y="759011"/>
                    <a:pt x="791900" y="747722"/>
                  </a:cubicBezTo>
                  <a:cubicBezTo>
                    <a:pt x="783786" y="736433"/>
                    <a:pt x="761209" y="683516"/>
                    <a:pt x="751684" y="663055"/>
                  </a:cubicBezTo>
                  <a:cubicBezTo>
                    <a:pt x="742159" y="642594"/>
                    <a:pt x="737573" y="640125"/>
                    <a:pt x="734751" y="624956"/>
                  </a:cubicBezTo>
                  <a:cubicBezTo>
                    <a:pt x="731929" y="609787"/>
                    <a:pt x="742864" y="596734"/>
                    <a:pt x="734750" y="572039"/>
                  </a:cubicBezTo>
                  <a:cubicBezTo>
                    <a:pt x="726636" y="547344"/>
                    <a:pt x="701942" y="503247"/>
                    <a:pt x="686067" y="476788"/>
                  </a:cubicBezTo>
                  <a:cubicBezTo>
                    <a:pt x="670192" y="450330"/>
                    <a:pt x="686067" y="423871"/>
                    <a:pt x="639500" y="413288"/>
                  </a:cubicBezTo>
                  <a:cubicBezTo>
                    <a:pt x="592933" y="402705"/>
                    <a:pt x="463464" y="417521"/>
                    <a:pt x="406667" y="413288"/>
                  </a:cubicBezTo>
                  <a:cubicBezTo>
                    <a:pt x="349870" y="409055"/>
                    <a:pt x="336112" y="395649"/>
                    <a:pt x="298717" y="387888"/>
                  </a:cubicBezTo>
                  <a:cubicBezTo>
                    <a:pt x="261323" y="380127"/>
                    <a:pt x="206289" y="370602"/>
                    <a:pt x="182300" y="366722"/>
                  </a:cubicBezTo>
                  <a:cubicBezTo>
                    <a:pt x="158311" y="362842"/>
                    <a:pt x="168542" y="343791"/>
                    <a:pt x="154784" y="364605"/>
                  </a:cubicBezTo>
                  <a:cubicBezTo>
                    <a:pt x="141026" y="385419"/>
                    <a:pt x="110333" y="453858"/>
                    <a:pt x="99750" y="491605"/>
                  </a:cubicBezTo>
                  <a:cubicBezTo>
                    <a:pt x="89167" y="529352"/>
                    <a:pt x="95517" y="570627"/>
                    <a:pt x="91284" y="591088"/>
                  </a:cubicBezTo>
                  <a:cubicBezTo>
                    <a:pt x="87051" y="611549"/>
                    <a:pt x="81053" y="586855"/>
                    <a:pt x="74350" y="614372"/>
                  </a:cubicBezTo>
                  <a:cubicBezTo>
                    <a:pt x="67647" y="641889"/>
                    <a:pt x="45776" y="756188"/>
                    <a:pt x="34134" y="749838"/>
                  </a:cubicBezTo>
                  <a:close/>
                </a:path>
              </a:pathLst>
            </a:custGeom>
            <a:solidFill>
              <a:srgbClr val="E9D8A9"/>
            </a:solidFill>
            <a:ln w="9525" cap="flat" cmpd="sng" algn="ctr">
              <a:solidFill>
                <a:srgbClr val="EFE3C2"/>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20000"/>
                </a:spcBef>
                <a:spcAft>
                  <a:spcPct val="0"/>
                </a:spcAft>
              </a:pPr>
              <a:endParaRPr lang="de-DE" sz="1000">
                <a:latin typeface="Arial" charset="0"/>
                <a:ea typeface="Arial Unicode MS" pitchFamily="34" charset="-128"/>
                <a:cs typeface="Arial Unicode MS" pitchFamily="34" charset="-128"/>
              </a:endParaRPr>
            </a:p>
          </p:txBody>
        </p:sp>
      </p:grpSp>
      <p:pic>
        <p:nvPicPr>
          <p:cNvPr id="3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5239" y="2093653"/>
            <a:ext cx="3801288" cy="4503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588956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281"/>
          <p:cNvSpPr>
            <a:spLocks/>
          </p:cNvSpPr>
          <p:nvPr/>
        </p:nvSpPr>
        <p:spPr bwMode="gray">
          <a:xfrm>
            <a:off x="295475" y="3000981"/>
            <a:ext cx="10423925"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smtClean="0">
                <a:solidFill>
                  <a:schemeClr val="bg1"/>
                </a:solidFill>
              </a:rPr>
              <a:t>Onboard MindConnect FB from TIA Portal</a:t>
            </a:r>
            <a:endParaRPr lang="en-US" sz="1399" b="1" dirty="0">
              <a:solidFill>
                <a:schemeClr val="bg1"/>
              </a:solidFill>
            </a:endParaRPr>
          </a:p>
        </p:txBody>
      </p:sp>
      <p:sp>
        <p:nvSpPr>
          <p:cNvPr id="2" name="Titel 1"/>
          <p:cNvSpPr>
            <a:spLocks noGrp="1"/>
          </p:cNvSpPr>
          <p:nvPr>
            <p:ph type="title"/>
          </p:nvPr>
        </p:nvSpPr>
        <p:spPr/>
        <p:txBody>
          <a:bodyPr/>
          <a:lstStyle/>
          <a:p>
            <a:r>
              <a:rPr lang="de-DE" dirty="0" smtClean="0"/>
              <a:t>MindConnect FB </a:t>
            </a:r>
            <a:r>
              <a:rPr lang="de-DE" dirty="0" err="1" smtClean="0"/>
              <a:t>Configuration</a:t>
            </a:r>
            <a:r>
              <a:rPr lang="de-DE" dirty="0" smtClean="0"/>
              <a:t/>
            </a:r>
            <a:br>
              <a:rPr lang="de-DE" dirty="0" smtClean="0"/>
            </a:br>
            <a:r>
              <a:rPr lang="de-DE" b="0" i="1" u="sng" dirty="0" smtClean="0"/>
              <a:t>Hands-On </a:t>
            </a:r>
            <a:r>
              <a:rPr lang="de-DE" b="0" i="1" u="sng" dirty="0" err="1" smtClean="0"/>
              <a:t>Exercise</a:t>
            </a:r>
            <a:r>
              <a:rPr lang="de-DE" b="0" i="1" u="sng" dirty="0" smtClean="0"/>
              <a:t> </a:t>
            </a:r>
            <a:r>
              <a:rPr lang="de-DE" b="0" i="1" u="sng" dirty="0"/>
              <a:t>6</a:t>
            </a:r>
            <a:endParaRPr lang="en-US" b="0" i="1" u="sng" dirty="0"/>
          </a:p>
        </p:txBody>
      </p:sp>
      <p:grpSp>
        <p:nvGrpSpPr>
          <p:cNvPr id="42" name="Gruppieren 41"/>
          <p:cNvGrpSpPr/>
          <p:nvPr/>
        </p:nvGrpSpPr>
        <p:grpSpPr>
          <a:xfrm>
            <a:off x="2520000" y="3960000"/>
            <a:ext cx="5976664" cy="2232248"/>
            <a:chOff x="2354759" y="2508565"/>
            <a:chExt cx="5976664" cy="2232248"/>
          </a:xfrm>
          <a:solidFill>
            <a:srgbClr val="2387AA"/>
          </a:solidFill>
        </p:grpSpPr>
        <p:sp>
          <p:nvSpPr>
            <p:cNvPr id="43" name="Abgerundetes Rechteck 2"/>
            <p:cNvSpPr/>
            <p:nvPr/>
          </p:nvSpPr>
          <p:spPr bwMode="auto">
            <a:xfrm>
              <a:off x="2354759"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smtClean="0">
                  <a:solidFill>
                    <a:schemeClr val="bg1"/>
                  </a:solidFill>
                </a:rPr>
                <a:t>Hands-on</a:t>
              </a:r>
              <a:endParaRPr lang="en-US" sz="7200" b="1" dirty="0">
                <a:solidFill>
                  <a:schemeClr val="bg1"/>
                </a:solidFill>
              </a:endParaRPr>
            </a:p>
          </p:txBody>
        </p:sp>
        <p:pic>
          <p:nvPicPr>
            <p:cNvPr id="44"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9" name="Rechteck 8"/>
          <p:cNvSpPr>
            <a:spLocks/>
          </p:cNvSpPr>
          <p:nvPr/>
        </p:nvSpPr>
        <p:spPr bwMode="gray">
          <a:xfrm>
            <a:off x="295476" y="1552244"/>
            <a:ext cx="10423925"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Pc with internet </a:t>
            </a:r>
            <a:r>
              <a:rPr lang="en-US" sz="1399" b="1" dirty="0" smtClean="0">
                <a:solidFill>
                  <a:schemeClr val="bg1"/>
                </a:solidFill>
              </a:rPr>
              <a:t>access and </a:t>
            </a:r>
            <a:r>
              <a:rPr lang="en-US" sz="1399" b="1" dirty="0">
                <a:solidFill>
                  <a:schemeClr val="bg1"/>
                </a:solidFill>
              </a:rPr>
              <a:t>valid credentials for </a:t>
            </a:r>
            <a:r>
              <a:rPr lang="en-US" sz="1399" b="1" dirty="0" smtClean="0">
                <a:solidFill>
                  <a:schemeClr val="bg1"/>
                </a:solidFill>
              </a:rPr>
              <a:t>MindSphere is available</a:t>
            </a:r>
            <a:endParaRPr lang="en-US" sz="1399" b="1" dirty="0">
              <a:solidFill>
                <a:schemeClr val="bg1"/>
              </a:solidFill>
            </a:endParaRPr>
          </a:p>
        </p:txBody>
      </p:sp>
      <p:sp>
        <p:nvSpPr>
          <p:cNvPr id="10" name="Rechteck 9"/>
          <p:cNvSpPr>
            <a:spLocks/>
          </p:cNvSpPr>
          <p:nvPr/>
        </p:nvSpPr>
        <p:spPr bwMode="gray">
          <a:xfrm>
            <a:off x="295477" y="2265715"/>
            <a:ext cx="10423925"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t">
            <a:noAutofit/>
          </a:bodyPr>
          <a:lstStyle/>
          <a:p>
            <a:pPr>
              <a:spcBef>
                <a:spcPct val="0"/>
              </a:spcBef>
              <a:buFont typeface="Wingdings" charset="0"/>
              <a:buNone/>
            </a:pPr>
            <a:r>
              <a:rPr lang="en-US" sz="1399" b="1" dirty="0">
                <a:solidFill>
                  <a:schemeClr val="bg1"/>
                </a:solidFill>
              </a:rPr>
              <a:t>Create MindConnect FB as </a:t>
            </a:r>
            <a:r>
              <a:rPr lang="en-US" sz="1399" b="1" dirty="0" smtClean="0">
                <a:solidFill>
                  <a:schemeClr val="bg1"/>
                </a:solidFill>
              </a:rPr>
              <a:t>asset </a:t>
            </a:r>
            <a:r>
              <a:rPr lang="en-US" sz="1399" b="1" dirty="0">
                <a:solidFill>
                  <a:schemeClr val="bg1"/>
                </a:solidFill>
              </a:rPr>
              <a:t>in MindSphere and </a:t>
            </a:r>
            <a:r>
              <a:rPr lang="en-US" sz="1399" b="1" dirty="0" smtClean="0">
                <a:solidFill>
                  <a:schemeClr val="bg1"/>
                </a:solidFill>
              </a:rPr>
              <a:t>prepare onboarding </a:t>
            </a:r>
          </a:p>
          <a:p>
            <a:pPr>
              <a:spcBef>
                <a:spcPct val="0"/>
              </a:spcBef>
              <a:buFont typeface="Wingdings" charset="0"/>
              <a:buNone/>
            </a:pPr>
            <a:r>
              <a:rPr lang="en-US" sz="1399" b="1" dirty="0" smtClean="0">
                <a:solidFill>
                  <a:schemeClr val="bg1"/>
                </a:solidFill>
              </a:rPr>
              <a:t>information </a:t>
            </a:r>
            <a:r>
              <a:rPr lang="en-US" sz="1399" b="1" dirty="0">
                <a:solidFill>
                  <a:schemeClr val="bg1"/>
                </a:solidFill>
              </a:rPr>
              <a:t>to </a:t>
            </a:r>
            <a:r>
              <a:rPr lang="en-US" sz="1399" b="1" dirty="0" smtClean="0">
                <a:solidFill>
                  <a:schemeClr val="bg1"/>
                </a:solidFill>
              </a:rPr>
              <a:t>configure </a:t>
            </a:r>
            <a:r>
              <a:rPr lang="en-US" sz="1399" b="1" dirty="0">
                <a:solidFill>
                  <a:schemeClr val="bg1"/>
                </a:solidFill>
              </a:rPr>
              <a:t>MindConnect FB in S7-1500 </a:t>
            </a:r>
          </a:p>
          <a:p>
            <a:pPr>
              <a:spcBef>
                <a:spcPct val="0"/>
              </a:spcBef>
              <a:buFont typeface="Wingdings" charset="0"/>
              <a:buNone/>
            </a:pPr>
            <a:endParaRPr lang="en-US" sz="1399" b="1" dirty="0">
              <a:solidFill>
                <a:schemeClr val="bg1"/>
              </a:solidFill>
            </a:endParaRP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86330" y="1387317"/>
            <a:ext cx="5605670" cy="5608590"/>
          </a:xfrm>
          <a:prstGeom prst="rect">
            <a:avLst/>
          </a:prstGeom>
        </p:spPr>
      </p:pic>
    </p:spTree>
    <p:extLst>
      <p:ext uri="{BB962C8B-B14F-4D97-AF65-F5344CB8AC3E}">
        <p14:creationId xmlns:p14="http://schemas.microsoft.com/office/powerpoint/2010/main" val="55641714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Callout 2 4"/>
          <p:cNvSpPr/>
          <p:nvPr/>
        </p:nvSpPr>
        <p:spPr bwMode="auto">
          <a:xfrm flipH="1">
            <a:off x="142874" y="1747307"/>
            <a:ext cx="4638673" cy="3634318"/>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pPr>
            <a:r>
              <a:rPr lang="de-DE" dirty="0" err="1">
                <a:solidFill>
                  <a:srgbClr val="FFFFFF"/>
                </a:solidFill>
                <a:ea typeface="Arial Unicode MS" panose="020B0604020202020204" pitchFamily="34" charset="-128"/>
                <a:cs typeface="Arial Unicode MS" panose="020B0604020202020204" pitchFamily="34" charset="-128"/>
              </a:rPr>
              <a:t>Wha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r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h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ifference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betwee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MindConnect</a:t>
            </a:r>
            <a:r>
              <a:rPr lang="de-DE" dirty="0">
                <a:solidFill>
                  <a:srgbClr val="FFFFFF"/>
                </a:solidFill>
                <a:ea typeface="Arial Unicode MS" panose="020B0604020202020204" pitchFamily="34" charset="-128"/>
                <a:cs typeface="Arial Unicode MS" panose="020B0604020202020204" pitchFamily="34" charset="-128"/>
              </a:rPr>
              <a:t> Nano/Iot2040 </a:t>
            </a:r>
            <a:r>
              <a:rPr lang="de-DE" dirty="0" err="1">
                <a:solidFill>
                  <a:srgbClr val="FFFFFF"/>
                </a:solidFill>
                <a:ea typeface="Arial Unicode MS" panose="020B0604020202020204" pitchFamily="34" charset="-128"/>
                <a:cs typeface="Arial Unicode MS" panose="020B0604020202020204" pitchFamily="34" charset="-128"/>
              </a:rPr>
              <a:t>and</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MindConnect</a:t>
            </a:r>
            <a:r>
              <a:rPr lang="de-DE" dirty="0">
                <a:solidFill>
                  <a:srgbClr val="FFFFFF"/>
                </a:solidFill>
                <a:ea typeface="Arial Unicode MS" panose="020B0604020202020204" pitchFamily="34" charset="-128"/>
                <a:cs typeface="Arial Unicode MS" panose="020B0604020202020204" pitchFamily="34" charset="-128"/>
              </a:rPr>
              <a:t> FB?</a:t>
            </a:r>
          </a:p>
          <a:p>
            <a:pPr algn="ctr">
              <a:lnSpc>
                <a:spcPct val="110000"/>
              </a:lnSpc>
              <a:spcBef>
                <a:spcPct val="0"/>
              </a:spcBef>
            </a:pPr>
            <a:r>
              <a:rPr lang="de-DE" dirty="0">
                <a:solidFill>
                  <a:srgbClr val="FFFFFF"/>
                </a:solidFill>
                <a:ea typeface="Arial Unicode MS" panose="020B0604020202020204" pitchFamily="34" charset="-128"/>
                <a:cs typeface="Arial Unicode MS" panose="020B0604020202020204" pitchFamily="34" charset="-128"/>
              </a:rPr>
              <a:t> </a:t>
            </a:r>
            <a:endParaRPr lang="en-US"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err="1">
                <a:solidFill>
                  <a:schemeClr val="bg1"/>
                </a:solidFill>
                <a:ea typeface="Arial Unicode MS" panose="020B0604020202020204" pitchFamily="34" charset="-128"/>
                <a:cs typeface="Arial Unicode MS" panose="020B0604020202020204" pitchFamily="34" charset="-128"/>
              </a:rPr>
              <a:t>MindConnect</a:t>
            </a:r>
            <a:r>
              <a:rPr lang="de-DE" b="1" dirty="0">
                <a:solidFill>
                  <a:schemeClr val="bg1"/>
                </a:solidFill>
                <a:ea typeface="Arial Unicode MS" panose="020B0604020202020204" pitchFamily="34" charset="-128"/>
                <a:cs typeface="Arial Unicode MS" panose="020B0604020202020204" pitchFamily="34" charset="-128"/>
              </a:rPr>
              <a:t> FB </a:t>
            </a:r>
            <a:r>
              <a:rPr lang="de-DE" b="1" dirty="0" err="1">
                <a:solidFill>
                  <a:schemeClr val="bg1"/>
                </a:solidFill>
                <a:ea typeface="Arial Unicode MS" panose="020B0604020202020204" pitchFamily="34" charset="-128"/>
                <a:cs typeface="Arial Unicode MS" panose="020B0604020202020204" pitchFamily="34" charset="-128"/>
              </a:rPr>
              <a:t>i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n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physical</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onnec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lemen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s</a:t>
            </a:r>
            <a:r>
              <a:rPr lang="de-DE" b="1" dirty="0">
                <a:solidFill>
                  <a:schemeClr val="bg1"/>
                </a:solidFill>
                <a:ea typeface="Arial Unicode MS" panose="020B0604020202020204" pitchFamily="34" charset="-128"/>
                <a:cs typeface="Arial Unicode MS" panose="020B0604020202020204" pitchFamily="34" charset="-128"/>
              </a:rPr>
              <a:t> a </a:t>
            </a:r>
            <a:r>
              <a:rPr lang="de-DE" b="1" dirty="0" err="1">
                <a:solidFill>
                  <a:schemeClr val="bg1"/>
                </a:solidFill>
                <a:ea typeface="Arial Unicode MS" panose="020B0604020202020204" pitchFamily="34" charset="-128"/>
                <a:cs typeface="Arial Unicode MS" panose="020B0604020202020204" pitchFamily="34" charset="-128"/>
              </a:rPr>
              <a:t>function</a:t>
            </a:r>
            <a:r>
              <a:rPr lang="de-DE" b="1" dirty="0">
                <a:solidFill>
                  <a:schemeClr val="bg1"/>
                </a:solidFill>
                <a:ea typeface="Arial Unicode MS" panose="020B0604020202020204" pitchFamily="34" charset="-128"/>
                <a:cs typeface="Arial Unicode MS" panose="020B0604020202020204" pitchFamily="34" charset="-128"/>
              </a:rPr>
              <a:t> block </a:t>
            </a:r>
            <a:r>
              <a:rPr lang="de-DE" b="1" dirty="0" err="1">
                <a:solidFill>
                  <a:schemeClr val="bg1"/>
                </a:solidFill>
                <a:ea typeface="Arial Unicode MS" panose="020B0604020202020204" pitchFamily="34" charset="-128"/>
                <a:cs typeface="Arial Unicode MS" panose="020B0604020202020204" pitchFamily="34" charset="-128"/>
              </a:rPr>
              <a:t>for</a:t>
            </a:r>
            <a:r>
              <a:rPr lang="de-DE" b="1" dirty="0">
                <a:solidFill>
                  <a:schemeClr val="bg1"/>
                </a:solidFill>
                <a:ea typeface="Arial Unicode MS" panose="020B0604020202020204" pitchFamily="34" charset="-128"/>
                <a:cs typeface="Arial Unicode MS" panose="020B0604020202020204" pitchFamily="34" charset="-128"/>
              </a:rPr>
              <a:t> TIA-Portal </a:t>
            </a:r>
            <a:r>
              <a:rPr lang="de-DE" b="1" dirty="0" err="1">
                <a:solidFill>
                  <a:schemeClr val="bg1"/>
                </a:solidFill>
                <a:ea typeface="Arial Unicode MS" panose="020B0604020202020204" pitchFamily="34" charset="-128"/>
                <a:cs typeface="Arial Unicode MS" panose="020B0604020202020204" pitchFamily="34" charset="-128"/>
              </a:rPr>
              <a:t>which</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you</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directly</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ntegrate</a:t>
            </a:r>
            <a:r>
              <a:rPr lang="de-DE" b="1" dirty="0">
                <a:solidFill>
                  <a:schemeClr val="bg1"/>
                </a:solidFill>
                <a:ea typeface="Arial Unicode MS" panose="020B0604020202020204" pitchFamily="34" charset="-128"/>
                <a:cs typeface="Arial Unicode MS" panose="020B0604020202020204" pitchFamily="34" charset="-128"/>
              </a:rPr>
              <a:t> in </a:t>
            </a:r>
            <a:r>
              <a:rPr lang="de-DE" b="1" dirty="0" err="1">
                <a:solidFill>
                  <a:schemeClr val="bg1"/>
                </a:solidFill>
                <a:ea typeface="Arial Unicode MS" panose="020B0604020202020204" pitchFamily="34" charset="-128"/>
                <a:cs typeface="Arial Unicode MS" panose="020B0604020202020204" pitchFamily="34" charset="-128"/>
              </a:rPr>
              <a:t>your</a:t>
            </a:r>
            <a:r>
              <a:rPr lang="de-DE" b="1" dirty="0">
                <a:solidFill>
                  <a:schemeClr val="bg1"/>
                </a:solidFill>
                <a:ea typeface="Arial Unicode MS" panose="020B0604020202020204" pitchFamily="34" charset="-128"/>
                <a:cs typeface="Arial Unicode MS" panose="020B0604020202020204" pitchFamily="34" charset="-128"/>
              </a:rPr>
              <a:t> S7-1500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onnec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MindSphere </a:t>
            </a:r>
            <a:r>
              <a:rPr lang="de-DE" b="1" dirty="0" err="1">
                <a:solidFill>
                  <a:schemeClr val="bg1"/>
                </a:solidFill>
                <a:ea typeface="Arial Unicode MS" panose="020B0604020202020204" pitchFamily="34" charset="-128"/>
                <a:cs typeface="Arial Unicode MS" panose="020B0604020202020204" pitchFamily="34" charset="-128"/>
              </a:rPr>
              <a:t>without</a:t>
            </a:r>
            <a:r>
              <a:rPr lang="de-DE" b="1" dirty="0">
                <a:solidFill>
                  <a:schemeClr val="bg1"/>
                </a:solidFill>
                <a:ea typeface="Arial Unicode MS" panose="020B0604020202020204" pitchFamily="34" charset="-128"/>
                <a:cs typeface="Arial Unicode MS" panose="020B0604020202020204" pitchFamily="34" charset="-128"/>
              </a:rPr>
              <a:t> a </a:t>
            </a:r>
            <a:r>
              <a:rPr lang="de-DE" b="1" dirty="0" err="1">
                <a:solidFill>
                  <a:schemeClr val="bg1"/>
                </a:solidFill>
                <a:ea typeface="Arial Unicode MS" panose="020B0604020202020204" pitchFamily="34" charset="-128"/>
                <a:cs typeface="Arial Unicode MS" panose="020B0604020202020204" pitchFamily="34" charset="-128"/>
              </a:rPr>
              <a:t>MindConnect</a:t>
            </a:r>
            <a:r>
              <a:rPr lang="de-DE" b="1" dirty="0">
                <a:solidFill>
                  <a:schemeClr val="bg1"/>
                </a:solidFill>
                <a:ea typeface="Arial Unicode MS" panose="020B0604020202020204" pitchFamily="34" charset="-128"/>
                <a:cs typeface="Arial Unicode MS" panose="020B0604020202020204" pitchFamily="34" charset="-128"/>
              </a:rPr>
              <a:t> Nano </a:t>
            </a:r>
            <a:r>
              <a:rPr lang="de-DE" b="1" dirty="0" err="1">
                <a:solidFill>
                  <a:schemeClr val="bg1"/>
                </a:solidFill>
                <a:ea typeface="Arial Unicode MS" panose="020B0604020202020204" pitchFamily="34" charset="-128"/>
                <a:cs typeface="Arial Unicode MS" panose="020B0604020202020204" pitchFamily="34" charset="-128"/>
              </a:rPr>
              <a:t>or</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indConnect</a:t>
            </a:r>
            <a:r>
              <a:rPr lang="de-DE" b="1" dirty="0">
                <a:solidFill>
                  <a:schemeClr val="bg1"/>
                </a:solidFill>
                <a:ea typeface="Arial Unicode MS" panose="020B0604020202020204" pitchFamily="34" charset="-128"/>
                <a:cs typeface="Arial Unicode MS" panose="020B0604020202020204" pitchFamily="34" charset="-128"/>
              </a:rPr>
              <a:t> IoT2040. </a:t>
            </a:r>
          </a:p>
          <a:p>
            <a:pPr algn="ctr">
              <a:lnSpc>
                <a:spcPct val="110000"/>
              </a:lnSpc>
              <a:spcBef>
                <a:spcPct val="0"/>
              </a:spcBef>
              <a:buFont typeface="Wingdings" charset="0"/>
              <a:buNone/>
            </a:pPr>
            <a:r>
              <a:rPr lang="en-US" dirty="0" smtClean="0">
                <a:solidFill>
                  <a:srgbClr val="FFFFFF"/>
                </a:solidFill>
                <a:ea typeface="Arial Unicode MS" panose="020B0604020202020204" pitchFamily="34" charset="-128"/>
                <a:cs typeface="Arial Unicode MS" panose="020B0604020202020204" pitchFamily="34" charset="-128"/>
              </a:rPr>
              <a:t>.</a:t>
            </a:r>
            <a:endParaRPr lang="en-US" dirty="0">
              <a:solidFill>
                <a:srgbClr val="FFFFFF"/>
              </a:solidFill>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en-US" dirty="0">
                <a:solidFill>
                  <a:srgbClr val="00646E"/>
                </a:solidFill>
              </a:rPr>
              <a:t>Configuration of </a:t>
            </a:r>
            <a:r>
              <a:rPr lang="en-US" dirty="0" err="1">
                <a:solidFill>
                  <a:srgbClr val="00646E"/>
                </a:solidFill>
              </a:rPr>
              <a:t>MindConnect</a:t>
            </a:r>
            <a:r>
              <a:rPr lang="en-US" dirty="0">
                <a:solidFill>
                  <a:srgbClr val="00646E"/>
                </a:solidFill>
              </a:rPr>
              <a:t> FB</a:t>
            </a:r>
            <a:br>
              <a:rPr lang="en-US" dirty="0">
                <a:solidFill>
                  <a:srgbClr val="00646E"/>
                </a:solidFill>
              </a:rPr>
            </a:br>
            <a:r>
              <a:rPr lang="en-US" b="0" dirty="0">
                <a:solidFill>
                  <a:srgbClr val="00646E"/>
                </a:solidFill>
              </a:rPr>
              <a:t>Summary</a:t>
            </a:r>
          </a:p>
        </p:txBody>
      </p:sp>
    </p:spTree>
    <p:extLst>
      <p:ext uri="{BB962C8B-B14F-4D97-AF65-F5344CB8AC3E}">
        <p14:creationId xmlns:p14="http://schemas.microsoft.com/office/powerpoint/2010/main" val="344425416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296513"/>
            <a:ext cx="9297988" cy="1539308"/>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err="1" smtClean="0"/>
              <a:t>MindConnect</a:t>
            </a:r>
            <a:r>
              <a:rPr lang="en-US" sz="3998" kern="0" dirty="0" smtClean="0"/>
              <a:t> </a:t>
            </a:r>
            <a:r>
              <a:rPr lang="en-US" sz="3998" kern="0" dirty="0" err="1" smtClean="0"/>
              <a:t>IoT</a:t>
            </a:r>
            <a:r>
              <a:rPr lang="en-US" sz="3998" kern="0" dirty="0" smtClean="0"/>
              <a:t> Extension &amp; </a:t>
            </a:r>
            <a:r>
              <a:rPr lang="en-US" sz="3998" kern="0" dirty="0" err="1" smtClean="0"/>
              <a:t>MindConnect</a:t>
            </a:r>
            <a:r>
              <a:rPr lang="en-US" sz="3998" kern="0" dirty="0" smtClean="0"/>
              <a:t> Integration</a:t>
            </a:r>
          </a:p>
        </p:txBody>
      </p:sp>
    </p:spTree>
    <p:extLst>
      <p:ext uri="{BB962C8B-B14F-4D97-AF65-F5344CB8AC3E}">
        <p14:creationId xmlns:p14="http://schemas.microsoft.com/office/powerpoint/2010/main" val="4079492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00646E"/>
                </a:solidFill>
              </a:rPr>
              <a:t>MindConnect</a:t>
            </a:r>
            <a:r>
              <a:rPr lang="en-US" dirty="0">
                <a:solidFill>
                  <a:srgbClr val="00646E"/>
                </a:solidFill>
              </a:rPr>
              <a:t> </a:t>
            </a:r>
            <a:r>
              <a:rPr lang="en-US" dirty="0" err="1">
                <a:solidFill>
                  <a:srgbClr val="00646E"/>
                </a:solidFill>
              </a:rPr>
              <a:t>IoT</a:t>
            </a:r>
            <a:r>
              <a:rPr lang="en-US" dirty="0">
                <a:solidFill>
                  <a:srgbClr val="00646E"/>
                </a:solidFill>
              </a:rPr>
              <a:t> Extension &amp; </a:t>
            </a:r>
            <a:r>
              <a:rPr lang="en-US" dirty="0" err="1">
                <a:solidFill>
                  <a:srgbClr val="00646E"/>
                </a:solidFill>
              </a:rPr>
              <a:t>MindConnect</a:t>
            </a:r>
            <a:r>
              <a:rPr lang="en-US" dirty="0">
                <a:solidFill>
                  <a:srgbClr val="00646E"/>
                </a:solidFill>
              </a:rPr>
              <a:t> </a:t>
            </a:r>
            <a:r>
              <a:rPr lang="en-US" dirty="0" smtClean="0">
                <a:solidFill>
                  <a:srgbClr val="00646E"/>
                </a:solidFill>
              </a:rPr>
              <a:t>Integration</a:t>
            </a:r>
            <a:r>
              <a:rPr lang="de-DE" dirty="0" smtClean="0">
                <a:solidFill>
                  <a:srgbClr val="00646E"/>
                </a:solidFill>
              </a:rPr>
              <a:t/>
            </a:r>
            <a:br>
              <a:rPr lang="de-DE" dirty="0" smtClean="0">
                <a:solidFill>
                  <a:srgbClr val="00646E"/>
                </a:solidFill>
              </a:rPr>
            </a:br>
            <a:r>
              <a:rPr lang="en-US" b="0" dirty="0" smtClean="0">
                <a:solidFill>
                  <a:srgbClr val="00646E"/>
                </a:solidFill>
              </a:rPr>
              <a:t>Learning Goals</a:t>
            </a:r>
            <a:endParaRPr lang="en-US" dirty="0">
              <a:solidFill>
                <a:srgbClr val="00646E"/>
              </a:solidFill>
            </a:endParaRPr>
          </a:p>
        </p:txBody>
      </p:sp>
      <p:sp>
        <p:nvSpPr>
          <p:cNvPr id="8" name="Titel 1"/>
          <p:cNvSpPr txBox="1">
            <a:spLocks/>
          </p:cNvSpPr>
          <p:nvPr/>
        </p:nvSpPr>
        <p:spPr bwMode="auto">
          <a:xfrm>
            <a:off x="560062" y="3257456"/>
            <a:ext cx="4732072"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err="1" smtClean="0"/>
              <a:t>Get</a:t>
            </a:r>
            <a:r>
              <a:rPr lang="de-DE" sz="2000" b="0" dirty="0" smtClean="0"/>
              <a:t> </a:t>
            </a:r>
            <a:r>
              <a:rPr lang="de-DE" sz="2000" b="0" dirty="0" err="1" smtClean="0"/>
              <a:t>familiar</a:t>
            </a:r>
            <a:r>
              <a:rPr lang="de-DE" sz="2000" b="0" dirty="0" smtClean="0"/>
              <a:t> </a:t>
            </a:r>
            <a:r>
              <a:rPr lang="de-DE" sz="2000" b="0" dirty="0" err="1" smtClean="0"/>
              <a:t>with</a:t>
            </a:r>
            <a:r>
              <a:rPr lang="de-DE" sz="2000" b="0" dirty="0" smtClean="0"/>
              <a:t> </a:t>
            </a:r>
            <a:r>
              <a:rPr lang="de-DE" sz="2000" b="0" dirty="0" err="1" smtClean="0"/>
              <a:t>the</a:t>
            </a:r>
            <a:r>
              <a:rPr lang="de-DE" sz="2000" b="0" dirty="0"/>
              <a:t> </a:t>
            </a:r>
            <a:r>
              <a:rPr lang="de-DE" sz="2000" b="0" dirty="0" err="1" smtClean="0"/>
              <a:t>two</a:t>
            </a:r>
            <a:r>
              <a:rPr lang="de-DE" sz="2000" b="0" dirty="0" smtClean="0"/>
              <a:t> </a:t>
            </a:r>
            <a:r>
              <a:rPr lang="de-DE" sz="2000" b="0" dirty="0" err="1" smtClean="0"/>
              <a:t>new</a:t>
            </a:r>
            <a:r>
              <a:rPr lang="de-DE" sz="2000" b="0" dirty="0" smtClean="0"/>
              <a:t> </a:t>
            </a:r>
            <a:r>
              <a:rPr lang="de-DE" sz="2000" b="0" dirty="0" err="1" smtClean="0"/>
              <a:t>MindConnect</a:t>
            </a:r>
            <a:r>
              <a:rPr lang="de-DE" sz="2000" b="0" dirty="0" smtClean="0"/>
              <a:t> Elements </a:t>
            </a:r>
          </a:p>
          <a:p>
            <a:pPr marL="324000" indent="-285750">
              <a:buFont typeface="Arial" panose="020B0604020202020204" pitchFamily="34" charset="0"/>
              <a:buChar char="•"/>
            </a:pPr>
            <a:r>
              <a:rPr lang="de-DE" sz="2000" b="0" dirty="0" err="1" smtClean="0"/>
              <a:t>Get</a:t>
            </a:r>
            <a:r>
              <a:rPr lang="de-DE" sz="2000" b="0" dirty="0" smtClean="0"/>
              <a:t> </a:t>
            </a:r>
            <a:r>
              <a:rPr lang="de-DE" sz="2000" b="0" dirty="0" err="1" smtClean="0"/>
              <a:t>familiar</a:t>
            </a:r>
            <a:r>
              <a:rPr lang="de-DE" sz="2000" b="0" dirty="0" smtClean="0"/>
              <a:t> </a:t>
            </a:r>
            <a:r>
              <a:rPr lang="de-DE" sz="2000" b="0" dirty="0" err="1" smtClean="0"/>
              <a:t>with</a:t>
            </a:r>
            <a:r>
              <a:rPr lang="de-DE" sz="2000" b="0" dirty="0" smtClean="0"/>
              <a:t> </a:t>
            </a:r>
            <a:r>
              <a:rPr lang="de-DE" sz="2000" b="0" dirty="0" err="1" smtClean="0"/>
              <a:t>the</a:t>
            </a:r>
            <a:r>
              <a:rPr lang="de-DE" sz="2000" b="0" dirty="0" smtClean="0"/>
              <a:t> </a:t>
            </a:r>
            <a:r>
              <a:rPr lang="de-DE" sz="2000" b="0" dirty="0" err="1" smtClean="0"/>
              <a:t>user</a:t>
            </a:r>
            <a:r>
              <a:rPr lang="de-DE" sz="2000" b="0" dirty="0" smtClean="0"/>
              <a:t> </a:t>
            </a:r>
            <a:r>
              <a:rPr lang="de-DE" sz="2000" b="0" dirty="0" err="1" smtClean="0"/>
              <a:t>interface</a:t>
            </a:r>
            <a:endParaRPr lang="de-DE" sz="2000" b="0" dirty="0" smtClean="0"/>
          </a:p>
        </p:txBody>
      </p:sp>
      <p:sp>
        <p:nvSpPr>
          <p:cNvPr id="5" name="Line Callout 2 4"/>
          <p:cNvSpPr/>
          <p:nvPr/>
        </p:nvSpPr>
        <p:spPr bwMode="auto">
          <a:xfrm flipH="1">
            <a:off x="626737" y="1680633"/>
            <a:ext cx="3391810" cy="1806845"/>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smtClean="0">
                <a:solidFill>
                  <a:srgbClr val="FFFFFF"/>
                </a:solidFill>
                <a:ea typeface="Arial Unicode MS" panose="020B0604020202020204" pitchFamily="34" charset="-128"/>
                <a:cs typeface="Arial Unicode MS" panose="020B0604020202020204" pitchFamily="34" charset="-128"/>
              </a:rPr>
              <a:t>What</a:t>
            </a:r>
            <a:r>
              <a:rPr lang="de-DE" b="1" dirty="0" smtClean="0">
                <a:solidFill>
                  <a:srgbClr val="FFFFFF"/>
                </a:solidFill>
                <a:ea typeface="Arial Unicode MS" panose="020B0604020202020204" pitchFamily="34" charset="-128"/>
                <a:cs typeface="Arial Unicode MS" panose="020B0604020202020204" pitchFamily="34" charset="-128"/>
              </a:rPr>
              <a:t> ist </a:t>
            </a:r>
            <a:r>
              <a:rPr lang="de-DE" b="1" dirty="0" err="1" smtClean="0">
                <a:solidFill>
                  <a:srgbClr val="FFFFFF"/>
                </a:solidFill>
                <a:ea typeface="Arial Unicode MS" panose="020B0604020202020204" pitchFamily="34" charset="-128"/>
                <a:cs typeface="Arial Unicode MS" panose="020B0604020202020204" pitchFamily="34" charset="-128"/>
              </a:rPr>
              <a:t>MindConnect</a:t>
            </a:r>
            <a:r>
              <a:rPr lang="de-DE" b="1" dirty="0" smtClean="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oT</a:t>
            </a:r>
            <a:r>
              <a:rPr lang="de-DE" b="1" dirty="0">
                <a:solidFill>
                  <a:srgbClr val="FFFFFF"/>
                </a:solidFill>
                <a:ea typeface="Arial Unicode MS" panose="020B0604020202020204" pitchFamily="34" charset="-128"/>
                <a:cs typeface="Arial Unicode MS" panose="020B0604020202020204" pitchFamily="34" charset="-128"/>
              </a:rPr>
              <a:t> </a:t>
            </a:r>
            <a:r>
              <a:rPr lang="de-DE" b="1" dirty="0" smtClean="0">
                <a:solidFill>
                  <a:srgbClr val="FFFFFF"/>
                </a:solidFill>
                <a:ea typeface="Arial Unicode MS" panose="020B0604020202020204" pitchFamily="34" charset="-128"/>
                <a:cs typeface="Arial Unicode MS" panose="020B0604020202020204" pitchFamily="34" charset="-128"/>
              </a:rPr>
              <a:t>Extension &amp;</a:t>
            </a: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MindConnect</a:t>
            </a:r>
            <a:r>
              <a:rPr lang="de-DE" b="1" dirty="0">
                <a:solidFill>
                  <a:srgbClr val="FFFFFF"/>
                </a:solidFill>
                <a:ea typeface="Arial Unicode MS" panose="020B0604020202020204" pitchFamily="34" charset="-128"/>
                <a:cs typeface="Arial Unicode MS" panose="020B0604020202020204" pitchFamily="34" charset="-128"/>
              </a:rPr>
              <a:t> </a:t>
            </a:r>
            <a:r>
              <a:rPr lang="de-DE" b="1" dirty="0" smtClean="0">
                <a:solidFill>
                  <a:srgbClr val="FFFFFF"/>
                </a:solidFill>
                <a:ea typeface="Arial Unicode MS" panose="020B0604020202020204" pitchFamily="34" charset="-128"/>
                <a:cs typeface="Arial Unicode MS" panose="020B0604020202020204" pitchFamily="34" charset="-128"/>
              </a:rPr>
              <a:t>Integration?</a:t>
            </a: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81287601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bwMode="auto">
          <a:xfrm>
            <a:off x="2515296" y="1676906"/>
            <a:ext cx="9340330" cy="72828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nSpc>
                <a:spcPct val="110000"/>
              </a:lnSpc>
              <a:spcBef>
                <a:spcPct val="0"/>
              </a:spcBef>
              <a:buFont typeface="Wingdings" charset="0"/>
              <a:buNone/>
            </a:pPr>
            <a:r>
              <a:rPr lang="en-US" sz="1399" dirty="0">
                <a:ea typeface="Arial Unicode MS" panose="020B0604020202020204" pitchFamily="34" charset="-128"/>
                <a:cs typeface="Arial Unicode MS" panose="020B0604020202020204" pitchFamily="34" charset="-128"/>
              </a:rPr>
              <a:t>Integrate </a:t>
            </a:r>
            <a:r>
              <a:rPr lang="en-US" sz="1399" b="1" dirty="0">
                <a:ea typeface="Arial Unicode MS" panose="020B0604020202020204" pitchFamily="34" charset="-128"/>
                <a:cs typeface="Arial Unicode MS" panose="020B0604020202020204" pitchFamily="34" charset="-128"/>
              </a:rPr>
              <a:t>cloud-based and </a:t>
            </a:r>
            <a:r>
              <a:rPr lang="en-US" sz="1399" b="1" dirty="0" err="1">
                <a:ea typeface="Arial Unicode MS" panose="020B0604020202020204" pitchFamily="34" charset="-128"/>
                <a:cs typeface="Arial Unicode MS" panose="020B0604020202020204" pitchFamily="34" charset="-128"/>
              </a:rPr>
              <a:t>on-premise</a:t>
            </a:r>
            <a:r>
              <a:rPr lang="en-US" sz="1399" b="1" dirty="0">
                <a:ea typeface="Arial Unicode MS" panose="020B0604020202020204" pitchFamily="34" charset="-128"/>
                <a:cs typeface="Arial Unicode MS" panose="020B0604020202020204" pitchFamily="34" charset="-128"/>
              </a:rPr>
              <a:t> based Enterprise &amp; Data Systems </a:t>
            </a:r>
            <a:r>
              <a:rPr lang="en-US" sz="1399" dirty="0">
                <a:ea typeface="Arial Unicode MS" panose="020B0604020202020204" pitchFamily="34" charset="-128"/>
                <a:cs typeface="Arial Unicode MS" panose="020B0604020202020204" pitchFamily="34" charset="-128"/>
              </a:rPr>
              <a:t>to </a:t>
            </a:r>
            <a:r>
              <a:rPr lang="en-US" sz="1399" dirty="0" err="1">
                <a:ea typeface="Arial Unicode MS" panose="020B0604020202020204" pitchFamily="34" charset="-128"/>
                <a:cs typeface="Arial Unicode MS" panose="020B0604020202020204" pitchFamily="34" charset="-128"/>
              </a:rPr>
              <a:t>MindSphere</a:t>
            </a:r>
            <a:r>
              <a:rPr lang="en-US" sz="1399" dirty="0">
                <a:ea typeface="Arial Unicode MS" panose="020B0604020202020204" pitchFamily="34" charset="-128"/>
                <a:cs typeface="Arial Unicode MS" panose="020B0604020202020204" pitchFamily="34" charset="-128"/>
              </a:rPr>
              <a:t> and enrich your </a:t>
            </a:r>
            <a:br>
              <a:rPr lang="en-US" sz="1399" dirty="0">
                <a:ea typeface="Arial Unicode MS" panose="020B0604020202020204" pitchFamily="34" charset="-128"/>
                <a:cs typeface="Arial Unicode MS" panose="020B0604020202020204" pitchFamily="34" charset="-128"/>
              </a:rPr>
            </a:br>
            <a:r>
              <a:rPr lang="en-US" sz="1399" dirty="0">
                <a:ea typeface="Arial Unicode MS" panose="020B0604020202020204" pitchFamily="34" charset="-128"/>
                <a:cs typeface="Arial Unicode MS" panose="020B0604020202020204" pitchFamily="34" charset="-128"/>
              </a:rPr>
              <a:t>data model with an extensive range of additional context data</a:t>
            </a:r>
            <a:endParaRPr lang="en-US" sz="1399" b="1" dirty="0">
              <a:ea typeface="Arial Unicode MS" panose="020B0604020202020204" pitchFamily="34" charset="-128"/>
              <a:cs typeface="Arial Unicode MS" panose="020B0604020202020204" pitchFamily="34" charset="-128"/>
            </a:endParaRPr>
          </a:p>
        </p:txBody>
      </p:sp>
      <p:graphicFrame>
        <p:nvGraphicFramePr>
          <p:cNvPr id="41" name="Objekt 40" hidden="1"/>
          <p:cNvGraphicFramePr>
            <a:graphicFrameLocks/>
          </p:cNvGraphicFramePr>
          <p:nvPr>
            <p:custDataLst>
              <p:tags r:id="rId2"/>
            </p:custDataLst>
            <p:extLst/>
          </p:nvPr>
        </p:nvGraphicFramePr>
        <p:xfrm>
          <a:off x="1589" y="2582"/>
          <a:ext cx="1586" cy="1586"/>
        </p:xfrm>
        <a:graphic>
          <a:graphicData uri="http://schemas.openxmlformats.org/presentationml/2006/ole">
            <mc:AlternateContent xmlns:mc="http://schemas.openxmlformats.org/markup-compatibility/2006">
              <mc:Choice xmlns:v="urn:schemas-microsoft-com:vml" Requires="v">
                <p:oleObj spid="_x0000_s7219" name="think-cell Folie" r:id="rId15" imgW="360" imgH="360" progId="TCLayout.ActiveDocument.1">
                  <p:embed/>
                </p:oleObj>
              </mc:Choice>
              <mc:Fallback>
                <p:oleObj name="think-cell Folie" r:id="rId15" imgW="360" imgH="360" progId="TCLayout.ActiveDocument.1">
                  <p:embed/>
                  <p:pic>
                    <p:nvPicPr>
                      <p:cNvPr id="0" name=""/>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9" y="2582"/>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Rectangle 3"/>
          <p:cNvSpPr>
            <a:spLocks noChangeArrowheads="1"/>
          </p:cNvSpPr>
          <p:nvPr>
            <p:custDataLst>
              <p:tags r:id="rId3"/>
            </p:custDataLst>
          </p:nvPr>
        </p:nvSpPr>
        <p:spPr bwMode="auto">
          <a:xfrm>
            <a:off x="338361" y="1575183"/>
            <a:ext cx="11373609" cy="863846"/>
          </a:xfrm>
          <a:prstGeom prst="rect">
            <a:avLst/>
          </a:prstGeom>
          <a:noFill/>
          <a:ln w="12700">
            <a:noFill/>
            <a:miter lim="800000"/>
            <a:headEnd/>
            <a:tailEnd/>
          </a:ln>
        </p:spPr>
        <p:txBody>
          <a:bodyPr wrap="square" lIns="107944" tIns="71963" rIns="71963" bIns="71963" anchor="ctr"/>
          <a:lstStyle/>
          <a:p>
            <a:endParaRPr lang="en-US" sz="1399" b="1" dirty="0">
              <a:solidFill>
                <a:srgbClr val="000000"/>
              </a:solidFill>
              <a:cs typeface="Arial" pitchFamily="34" charset="0"/>
            </a:endParaRPr>
          </a:p>
        </p:txBody>
      </p:sp>
      <p:sp>
        <p:nvSpPr>
          <p:cNvPr id="2" name="Textfeld 1"/>
          <p:cNvSpPr txBox="1"/>
          <p:nvPr/>
        </p:nvSpPr>
        <p:spPr>
          <a:xfrm>
            <a:off x="338199" y="1274488"/>
            <a:ext cx="2015230" cy="503911"/>
          </a:xfrm>
          <a:prstGeom prst="rect">
            <a:avLst/>
          </a:prstGeom>
          <a:noFill/>
        </p:spPr>
        <p:txBody>
          <a:bodyPr vert="horz" wrap="square" lIns="0" tIns="0" rIns="0" bIns="0" rtlCol="0">
            <a:noAutofit/>
          </a:bodyPr>
          <a:lstStyle/>
          <a:p>
            <a:pPr fontAlgn="base">
              <a:lnSpc>
                <a:spcPct val="110000"/>
              </a:lnSpc>
              <a:spcAft>
                <a:spcPct val="0"/>
              </a:spcAft>
            </a:pPr>
            <a:r>
              <a:rPr lang="en-US" sz="1799" b="1" i="1" dirty="0">
                <a:solidFill>
                  <a:srgbClr val="FF9900"/>
                </a:solidFill>
                <a:ea typeface="Arial Unicode MS" panose="020B0604020202020204" pitchFamily="34" charset="-128"/>
                <a:cs typeface="Arial" pitchFamily="34" charset="0"/>
              </a:rPr>
              <a:t>Offering in V3.0 </a:t>
            </a:r>
          </a:p>
        </p:txBody>
      </p:sp>
      <p:sp>
        <p:nvSpPr>
          <p:cNvPr id="51" name="Textfeld 50"/>
          <p:cNvSpPr txBox="1"/>
          <p:nvPr/>
        </p:nvSpPr>
        <p:spPr>
          <a:xfrm>
            <a:off x="2606016" y="1274488"/>
            <a:ext cx="1727292" cy="503911"/>
          </a:xfrm>
          <a:prstGeom prst="rect">
            <a:avLst/>
          </a:prstGeom>
          <a:noFill/>
        </p:spPr>
        <p:txBody>
          <a:bodyPr vert="horz" wrap="square" lIns="0" tIns="0" rIns="0" bIns="0" rtlCol="0">
            <a:noAutofit/>
          </a:bodyPr>
          <a:lstStyle/>
          <a:p>
            <a:pPr fontAlgn="base">
              <a:lnSpc>
                <a:spcPct val="110000"/>
              </a:lnSpc>
              <a:spcAft>
                <a:spcPct val="0"/>
              </a:spcAft>
            </a:pPr>
            <a:r>
              <a:rPr lang="en-US" sz="1799" b="1" i="1" dirty="0">
                <a:solidFill>
                  <a:srgbClr val="FF9900"/>
                </a:solidFill>
                <a:ea typeface="Arial Unicode MS" panose="020B0604020202020204" pitchFamily="34" charset="-128"/>
                <a:cs typeface="Arial" pitchFamily="34" charset="0"/>
              </a:rPr>
              <a:t>Added Value</a:t>
            </a:r>
          </a:p>
        </p:txBody>
      </p:sp>
      <p:sp>
        <p:nvSpPr>
          <p:cNvPr id="65" name="Textfeld 64"/>
          <p:cNvSpPr txBox="1"/>
          <p:nvPr/>
        </p:nvSpPr>
        <p:spPr>
          <a:xfrm>
            <a:off x="410173" y="1575672"/>
            <a:ext cx="1943257" cy="791881"/>
          </a:xfrm>
          <a:prstGeom prst="rect">
            <a:avLst/>
          </a:prstGeom>
          <a:noFill/>
          <a:ln>
            <a:noFill/>
          </a:ln>
        </p:spPr>
        <p:txBody>
          <a:bodyPr vert="horz" wrap="square" lIns="0" tIns="0" rIns="0" bIns="0" rtlCol="0" anchor="ctr">
            <a:noAutofit/>
          </a:bodyPr>
          <a:lstStyle/>
          <a:p>
            <a:pPr>
              <a:lnSpc>
                <a:spcPct val="110000"/>
              </a:lnSpc>
            </a:pPr>
            <a:r>
              <a:rPr lang="en-US" sz="1399" b="1" dirty="0">
                <a:solidFill>
                  <a:srgbClr val="0F8287"/>
                </a:solidFill>
                <a:ea typeface="Arial Unicode MS"/>
              </a:rPr>
              <a:t>MindConnect Integration</a:t>
            </a:r>
          </a:p>
        </p:txBody>
      </p:sp>
      <p:sp>
        <p:nvSpPr>
          <p:cNvPr id="54" name="Titel 1"/>
          <p:cNvSpPr>
            <a:spLocks noGrp="1"/>
          </p:cNvSpPr>
          <p:nvPr>
            <p:ph type="title"/>
          </p:nvPr>
        </p:nvSpPr>
        <p:spPr>
          <a:xfrm>
            <a:off x="0" y="992"/>
            <a:ext cx="12192000" cy="1439583"/>
          </a:xfrm>
          <a:noFill/>
          <a:ln w="9525">
            <a:noFill/>
            <a:miter lim="800000"/>
            <a:headEnd/>
            <a:tailEnd/>
          </a:ln>
        </p:spPr>
        <p:txBody>
          <a:bodyPr vert="horz" wrap="square" lIns="626074" tIns="431775" rIns="2122894" bIns="233878" numCol="1" anchor="t" anchorCtr="0" compatLnSpc="1">
            <a:prstTxWarp prst="textNoShape">
              <a:avLst/>
            </a:prstTxWarp>
          </a:bodyPr>
          <a:lstStyle/>
          <a:p>
            <a:r>
              <a:rPr lang="en-US" dirty="0"/>
              <a:t>Connectivity Services</a:t>
            </a:r>
            <a:br>
              <a:rPr lang="en-US" dirty="0"/>
            </a:br>
            <a:r>
              <a:rPr lang="en-US" dirty="0"/>
              <a:t>Offering Overview – connectivity for MindSphere </a:t>
            </a:r>
            <a:r>
              <a:rPr lang="en-US" dirty="0" smtClean="0"/>
              <a:t>3.0</a:t>
            </a:r>
            <a:endParaRPr lang="en-US" dirty="0"/>
          </a:p>
        </p:txBody>
      </p:sp>
      <p:sp>
        <p:nvSpPr>
          <p:cNvPr id="38" name="Rectangle 3"/>
          <p:cNvSpPr>
            <a:spLocks noChangeArrowheads="1"/>
          </p:cNvSpPr>
          <p:nvPr>
            <p:custDataLst>
              <p:tags r:id="rId4"/>
            </p:custDataLst>
          </p:nvPr>
        </p:nvSpPr>
        <p:spPr bwMode="auto">
          <a:xfrm>
            <a:off x="338361" y="4117147"/>
            <a:ext cx="11373609" cy="782474"/>
          </a:xfrm>
          <a:prstGeom prst="rect">
            <a:avLst/>
          </a:prstGeom>
          <a:noFill/>
          <a:ln w="12700">
            <a:noFill/>
            <a:miter lim="800000"/>
            <a:headEnd/>
            <a:tailEnd/>
          </a:ln>
        </p:spPr>
        <p:txBody>
          <a:bodyPr wrap="square" lIns="107944" tIns="71963" rIns="71963" bIns="71963" anchor="ctr"/>
          <a:lstStyle/>
          <a:p>
            <a:endParaRPr lang="en-US" sz="1399" b="1" dirty="0">
              <a:solidFill>
                <a:srgbClr val="000000"/>
              </a:solidFill>
              <a:cs typeface="Arial" pitchFamily="34" charset="0"/>
            </a:endParaRPr>
          </a:p>
        </p:txBody>
      </p:sp>
      <p:sp>
        <p:nvSpPr>
          <p:cNvPr id="66" name="Textfeld 65"/>
          <p:cNvSpPr txBox="1"/>
          <p:nvPr/>
        </p:nvSpPr>
        <p:spPr>
          <a:xfrm>
            <a:off x="410171" y="4379111"/>
            <a:ext cx="1943258" cy="561619"/>
          </a:xfrm>
          <a:prstGeom prst="rect">
            <a:avLst/>
          </a:prstGeom>
          <a:noFill/>
        </p:spPr>
        <p:txBody>
          <a:bodyPr vert="horz" wrap="square" lIns="0" tIns="0" rIns="0" bIns="0" rtlCol="0" anchor="ctr">
            <a:noAutofit/>
          </a:bodyPr>
          <a:lstStyle/>
          <a:p>
            <a:pPr>
              <a:lnSpc>
                <a:spcPct val="110000"/>
              </a:lnSpc>
            </a:pPr>
            <a:r>
              <a:rPr lang="en-US" sz="1399" b="1" dirty="0">
                <a:solidFill>
                  <a:srgbClr val="0F8287"/>
                </a:solidFill>
                <a:ea typeface="Arial Unicode MS"/>
              </a:rPr>
              <a:t>MindConnect</a:t>
            </a:r>
            <a:r>
              <a:rPr lang="en-US" sz="1399" b="1" dirty="0">
                <a:solidFill>
                  <a:srgbClr val="000000"/>
                </a:solidFill>
                <a:ea typeface="Arial Unicode MS" panose="020B0604020202020204" pitchFamily="34" charset="-128"/>
                <a:cs typeface="Arial" pitchFamily="34" charset="0"/>
              </a:rPr>
              <a:t> </a:t>
            </a:r>
            <a:r>
              <a:rPr lang="en-US" sz="1399" b="1" dirty="0">
                <a:solidFill>
                  <a:srgbClr val="0F8287"/>
                </a:solidFill>
                <a:ea typeface="Arial Unicode MS"/>
              </a:rPr>
              <a:t>LIB </a:t>
            </a:r>
            <a:br>
              <a:rPr lang="en-US" sz="1399" b="1" dirty="0">
                <a:solidFill>
                  <a:srgbClr val="0F8287"/>
                </a:solidFill>
                <a:ea typeface="Arial Unicode MS"/>
              </a:rPr>
            </a:br>
            <a:endParaRPr lang="en-US" sz="1399" b="1" dirty="0">
              <a:solidFill>
                <a:srgbClr val="0F8287"/>
              </a:solidFill>
              <a:ea typeface="Arial Unicode MS"/>
            </a:endParaRPr>
          </a:p>
        </p:txBody>
      </p:sp>
      <p:sp>
        <p:nvSpPr>
          <p:cNvPr id="37" name="Rectangle 3"/>
          <p:cNvSpPr>
            <a:spLocks noChangeArrowheads="1"/>
          </p:cNvSpPr>
          <p:nvPr>
            <p:custDataLst>
              <p:tags r:id="rId5"/>
            </p:custDataLst>
          </p:nvPr>
        </p:nvSpPr>
        <p:spPr bwMode="auto">
          <a:xfrm>
            <a:off x="338361" y="2486790"/>
            <a:ext cx="11373609" cy="740280"/>
          </a:xfrm>
          <a:prstGeom prst="rect">
            <a:avLst/>
          </a:prstGeom>
          <a:noFill/>
          <a:ln w="12700">
            <a:noFill/>
            <a:miter lim="800000"/>
            <a:headEnd/>
            <a:tailEnd/>
          </a:ln>
        </p:spPr>
        <p:txBody>
          <a:bodyPr wrap="square" lIns="107944" tIns="71963" rIns="71963" bIns="71963" anchor="ctr"/>
          <a:lstStyle/>
          <a:p>
            <a:endParaRPr lang="en-US" sz="1399" b="1" dirty="0">
              <a:solidFill>
                <a:srgbClr val="000000"/>
              </a:solidFill>
              <a:cs typeface="Arial" pitchFamily="34" charset="0"/>
            </a:endParaRPr>
          </a:p>
        </p:txBody>
      </p:sp>
      <p:sp>
        <p:nvSpPr>
          <p:cNvPr id="67" name="Textfeld 66"/>
          <p:cNvSpPr txBox="1"/>
          <p:nvPr/>
        </p:nvSpPr>
        <p:spPr>
          <a:xfrm>
            <a:off x="410173" y="3468493"/>
            <a:ext cx="1871285" cy="647903"/>
          </a:xfrm>
          <a:prstGeom prst="rect">
            <a:avLst/>
          </a:prstGeom>
          <a:noFill/>
          <a:ln>
            <a:noFill/>
          </a:ln>
        </p:spPr>
        <p:txBody>
          <a:bodyPr vert="horz" wrap="square" lIns="0" tIns="0" rIns="0" bIns="0" rtlCol="0" anchor="ctr">
            <a:noAutofit/>
          </a:bodyPr>
          <a:lstStyle>
            <a:defPPr>
              <a:defRPr lang="de-DE"/>
            </a:defPPr>
            <a:lvl1pPr>
              <a:lnSpc>
                <a:spcPct val="110000"/>
              </a:lnSpc>
              <a:spcBef>
                <a:spcPts val="0"/>
              </a:spcBef>
              <a:defRPr sz="1600" b="1">
                <a:solidFill>
                  <a:srgbClr val="0F8287"/>
                </a:solidFill>
                <a:ea typeface="Arial Unicode MS"/>
              </a:defRPr>
            </a:lvl1pPr>
          </a:lstStyle>
          <a:p>
            <a:r>
              <a:rPr lang="en-US" sz="1399" dirty="0"/>
              <a:t>MindConnect API</a:t>
            </a:r>
            <a:br>
              <a:rPr lang="en-US" sz="1399" dirty="0"/>
            </a:br>
            <a:endParaRPr lang="en-US" sz="1399" dirty="0"/>
          </a:p>
        </p:txBody>
      </p:sp>
      <p:sp>
        <p:nvSpPr>
          <p:cNvPr id="64" name="Textfeld 63"/>
          <p:cNvSpPr txBox="1"/>
          <p:nvPr/>
        </p:nvSpPr>
        <p:spPr>
          <a:xfrm>
            <a:off x="415147" y="5021712"/>
            <a:ext cx="2030446" cy="503911"/>
          </a:xfrm>
          <a:prstGeom prst="rect">
            <a:avLst/>
          </a:prstGeom>
          <a:noFill/>
        </p:spPr>
        <p:txBody>
          <a:bodyPr vert="horz" wrap="square" lIns="0" tIns="0" rIns="0" bIns="0" rtlCol="0">
            <a:noAutofit/>
          </a:bodyPr>
          <a:lstStyle/>
          <a:p>
            <a:pPr>
              <a:lnSpc>
                <a:spcPct val="110000"/>
              </a:lnSpc>
            </a:pPr>
            <a:r>
              <a:rPr lang="en-US" sz="1399" b="1" dirty="0">
                <a:solidFill>
                  <a:srgbClr val="0F8287"/>
                </a:solidFill>
                <a:ea typeface="Arial Unicode MS"/>
              </a:rPr>
              <a:t>MindConnect Nano</a:t>
            </a:r>
          </a:p>
        </p:txBody>
      </p:sp>
      <p:sp>
        <p:nvSpPr>
          <p:cNvPr id="48" name="Rectangle 3"/>
          <p:cNvSpPr>
            <a:spLocks noChangeArrowheads="1"/>
          </p:cNvSpPr>
          <p:nvPr>
            <p:custDataLst>
              <p:tags r:id="rId6"/>
            </p:custDataLst>
          </p:nvPr>
        </p:nvSpPr>
        <p:spPr bwMode="auto">
          <a:xfrm>
            <a:off x="338361" y="4796757"/>
            <a:ext cx="11373609" cy="782474"/>
          </a:xfrm>
          <a:prstGeom prst="rect">
            <a:avLst/>
          </a:prstGeom>
          <a:noFill/>
          <a:ln w="12700">
            <a:noFill/>
            <a:miter lim="800000"/>
            <a:headEnd/>
            <a:tailEnd/>
          </a:ln>
        </p:spPr>
        <p:txBody>
          <a:bodyPr wrap="square" lIns="107944" tIns="71963" rIns="71963" bIns="71963" anchor="ctr"/>
          <a:lstStyle/>
          <a:p>
            <a:endParaRPr lang="en-US" sz="1399" b="1" dirty="0">
              <a:cs typeface="Arial" pitchFamily="34" charset="0"/>
            </a:endParaRPr>
          </a:p>
        </p:txBody>
      </p:sp>
      <p:cxnSp>
        <p:nvCxnSpPr>
          <p:cNvPr id="16" name="Gerade Verbindung 15"/>
          <p:cNvCxnSpPr/>
          <p:nvPr/>
        </p:nvCxnSpPr>
        <p:spPr bwMode="auto">
          <a:xfrm>
            <a:off x="338360" y="2464422"/>
            <a:ext cx="11517265" cy="0"/>
          </a:xfrm>
          <a:prstGeom prst="line">
            <a:avLst/>
          </a:prstGeom>
          <a:solidFill>
            <a:schemeClr val="tx2"/>
          </a:solidFill>
          <a:ln w="28575" cap="flat" cmpd="sng" algn="ctr">
            <a:solidFill>
              <a:srgbClr val="00646E"/>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p:nvCxnSpPr>
        <p:spPr bwMode="auto">
          <a:xfrm>
            <a:off x="338360" y="4133426"/>
            <a:ext cx="11517265" cy="0"/>
          </a:xfrm>
          <a:prstGeom prst="line">
            <a:avLst/>
          </a:prstGeom>
          <a:solidFill>
            <a:schemeClr val="tx2"/>
          </a:solidFill>
          <a:ln w="28575" cap="flat" cmpd="sng" algn="ctr">
            <a:solidFill>
              <a:srgbClr val="00646E"/>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p:nvCxnSpPr>
        <p:spPr bwMode="auto">
          <a:xfrm>
            <a:off x="338360" y="4970097"/>
            <a:ext cx="11517265" cy="0"/>
          </a:xfrm>
          <a:prstGeom prst="line">
            <a:avLst/>
          </a:prstGeom>
          <a:solidFill>
            <a:schemeClr val="tx2"/>
          </a:solidFill>
          <a:ln w="28575" cap="flat" cmpd="sng" algn="ctr">
            <a:solidFill>
              <a:srgbClr val="00646E"/>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p:nvCxnSpPr>
        <p:spPr bwMode="auto">
          <a:xfrm>
            <a:off x="338360" y="1575671"/>
            <a:ext cx="11517265" cy="0"/>
          </a:xfrm>
          <a:prstGeom prst="line">
            <a:avLst/>
          </a:prstGeom>
          <a:solidFill>
            <a:schemeClr val="tx2"/>
          </a:solidFill>
          <a:ln w="28575" cap="flat" cmpd="sng" algn="ctr">
            <a:solidFill>
              <a:srgbClr val="00646E"/>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9" name="Rechteck 68"/>
          <p:cNvSpPr/>
          <p:nvPr/>
        </p:nvSpPr>
        <p:spPr bwMode="auto">
          <a:xfrm>
            <a:off x="2515296" y="3354351"/>
            <a:ext cx="9340330" cy="72828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nSpc>
                <a:spcPct val="110000"/>
              </a:lnSpc>
              <a:spcBef>
                <a:spcPct val="0"/>
              </a:spcBef>
              <a:buFont typeface="Wingdings" charset="0"/>
              <a:buNone/>
            </a:pPr>
            <a:r>
              <a:rPr lang="en-US" sz="1399" dirty="0">
                <a:ea typeface="Arial Unicode MS" panose="020B0604020202020204" pitchFamily="34" charset="-128"/>
                <a:cs typeface="Arial Unicode MS" panose="020B0604020202020204" pitchFamily="34" charset="-128"/>
              </a:rPr>
              <a:t>Get access to a </a:t>
            </a:r>
            <a:r>
              <a:rPr lang="en-US" sz="1399" b="1" dirty="0">
                <a:ea typeface="Arial Unicode MS" panose="020B0604020202020204" pitchFamily="34" charset="-128"/>
                <a:cs typeface="Arial Unicode MS" panose="020B0604020202020204" pitchFamily="34" charset="-128"/>
              </a:rPr>
              <a:t>restful API </a:t>
            </a:r>
            <a:r>
              <a:rPr lang="en-US" sz="1399" dirty="0">
                <a:ea typeface="Arial Unicode MS" panose="020B0604020202020204" pitchFamily="34" charset="-128"/>
                <a:cs typeface="Arial Unicode MS" panose="020B0604020202020204" pitchFamily="34" charset="-128"/>
              </a:rPr>
              <a:t>to develop your own agents and bring your data into </a:t>
            </a:r>
            <a:r>
              <a:rPr lang="en-US" sz="1399" dirty="0" err="1">
                <a:ea typeface="Arial Unicode MS" panose="020B0604020202020204" pitchFamily="34" charset="-128"/>
                <a:cs typeface="Arial Unicode MS" panose="020B0604020202020204" pitchFamily="34" charset="-128"/>
              </a:rPr>
              <a:t>MindSphere</a:t>
            </a:r>
            <a:endParaRPr lang="en-US" sz="1399" dirty="0">
              <a:ea typeface="Arial Unicode MS" panose="020B0604020202020204" pitchFamily="34" charset="-128"/>
              <a:cs typeface="Arial Unicode MS" panose="020B0604020202020204" pitchFamily="34" charset="-128"/>
            </a:endParaRPr>
          </a:p>
        </p:txBody>
      </p:sp>
      <p:sp>
        <p:nvSpPr>
          <p:cNvPr id="81" name="Rechteck 80"/>
          <p:cNvSpPr/>
          <p:nvPr/>
        </p:nvSpPr>
        <p:spPr bwMode="auto">
          <a:xfrm>
            <a:off x="2515296" y="4179797"/>
            <a:ext cx="9340330" cy="72828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nSpc>
                <a:spcPct val="110000"/>
              </a:lnSpc>
              <a:spcBef>
                <a:spcPct val="0"/>
              </a:spcBef>
            </a:pPr>
            <a:r>
              <a:rPr lang="de-DE" sz="1399" dirty="0" err="1">
                <a:ea typeface="Arial Unicode MS" panose="020B0604020202020204" pitchFamily="34" charset="-128"/>
                <a:cs typeface="Arial Unicode MS" panose="020B0604020202020204" pitchFamily="34" charset="-128"/>
              </a:rPr>
              <a:t>Use</a:t>
            </a:r>
            <a:r>
              <a:rPr lang="de-DE" sz="1399" dirty="0">
                <a:ea typeface="Arial Unicode MS" panose="020B0604020202020204" pitchFamily="34" charset="-128"/>
                <a:cs typeface="Arial Unicode MS" panose="020B0604020202020204" pitchFamily="34" charset="-128"/>
              </a:rPr>
              <a:t> a C-</a:t>
            </a:r>
            <a:r>
              <a:rPr lang="de-DE" sz="1399" dirty="0" err="1">
                <a:ea typeface="Arial Unicode MS" panose="020B0604020202020204" pitchFamily="34" charset="-128"/>
                <a:cs typeface="Arial Unicode MS" panose="020B0604020202020204" pitchFamily="34" charset="-128"/>
              </a:rPr>
              <a:t>based</a:t>
            </a:r>
            <a:r>
              <a:rPr lang="de-DE" sz="1399" dirty="0">
                <a:ea typeface="Arial Unicode MS" panose="020B0604020202020204" pitchFamily="34" charset="-128"/>
                <a:cs typeface="Arial Unicode MS" panose="020B0604020202020204" pitchFamily="34" charset="-128"/>
              </a:rPr>
              <a:t> </a:t>
            </a:r>
            <a:r>
              <a:rPr lang="de-DE" sz="1399" dirty="0" err="1">
                <a:ea typeface="Arial Unicode MS" panose="020B0604020202020204" pitchFamily="34" charset="-128"/>
                <a:cs typeface="Arial Unicode MS" panose="020B0604020202020204" pitchFamily="34" charset="-128"/>
              </a:rPr>
              <a:t>library</a:t>
            </a:r>
            <a:r>
              <a:rPr lang="de-DE" sz="1399" dirty="0">
                <a:ea typeface="Arial Unicode MS" panose="020B0604020202020204" pitchFamily="34" charset="-128"/>
                <a:cs typeface="Arial Unicode MS" panose="020B0604020202020204" pitchFamily="34" charset="-128"/>
              </a:rPr>
              <a:t> </a:t>
            </a:r>
            <a:r>
              <a:rPr lang="de-DE" sz="1399" dirty="0" err="1">
                <a:ea typeface="Arial Unicode MS" panose="020B0604020202020204" pitchFamily="34" charset="-128"/>
                <a:cs typeface="Arial Unicode MS" panose="020B0604020202020204" pitchFamily="34" charset="-128"/>
              </a:rPr>
              <a:t>as</a:t>
            </a:r>
            <a:r>
              <a:rPr lang="de-DE" sz="1399" dirty="0">
                <a:ea typeface="Arial Unicode MS" panose="020B0604020202020204" pitchFamily="34" charset="-128"/>
                <a:cs typeface="Arial Unicode MS" panose="020B0604020202020204" pitchFamily="34" charset="-128"/>
              </a:rPr>
              <a:t> an </a:t>
            </a:r>
            <a:r>
              <a:rPr lang="de-DE" sz="1399" dirty="0" err="1">
                <a:ea typeface="Arial Unicode MS" panose="020B0604020202020204" pitchFamily="34" charset="-128"/>
                <a:cs typeface="Arial Unicode MS" panose="020B0604020202020204" pitchFamily="34" charset="-128"/>
              </a:rPr>
              <a:t>application</a:t>
            </a:r>
            <a:r>
              <a:rPr lang="de-DE" sz="1399" dirty="0">
                <a:ea typeface="Arial Unicode MS" panose="020B0604020202020204" pitchFamily="34" charset="-128"/>
                <a:cs typeface="Arial Unicode MS" panose="020B0604020202020204" pitchFamily="34" charset="-128"/>
              </a:rPr>
              <a:t> </a:t>
            </a:r>
            <a:r>
              <a:rPr lang="de-DE" sz="1399" dirty="0" err="1">
                <a:ea typeface="Arial Unicode MS" panose="020B0604020202020204" pitchFamily="34" charset="-128"/>
                <a:cs typeface="Arial Unicode MS" panose="020B0604020202020204" pitchFamily="34" charset="-128"/>
              </a:rPr>
              <a:t>example</a:t>
            </a:r>
            <a:r>
              <a:rPr lang="de-DE" sz="1399" dirty="0">
                <a:ea typeface="Arial Unicode MS" panose="020B0604020202020204" pitchFamily="34" charset="-128"/>
                <a:cs typeface="Arial Unicode MS" panose="020B0604020202020204" pitchFamily="34" charset="-128"/>
              </a:rPr>
              <a:t> </a:t>
            </a:r>
            <a:r>
              <a:rPr lang="de-DE" sz="1399" dirty="0" err="1">
                <a:ea typeface="Arial Unicode MS" panose="020B0604020202020204" pitchFamily="34" charset="-128"/>
                <a:cs typeface="Arial Unicode MS" panose="020B0604020202020204" pitchFamily="34" charset="-128"/>
              </a:rPr>
              <a:t>to</a:t>
            </a:r>
            <a:r>
              <a:rPr lang="de-DE" sz="1399" dirty="0">
                <a:ea typeface="Arial Unicode MS" panose="020B0604020202020204" pitchFamily="34" charset="-128"/>
                <a:cs typeface="Arial Unicode MS" panose="020B0604020202020204" pitchFamily="34" charset="-128"/>
              </a:rPr>
              <a:t> </a:t>
            </a:r>
            <a:r>
              <a:rPr lang="en-US" sz="1399" b="1" dirty="0">
                <a:ea typeface="Arial Unicode MS" panose="020B0604020202020204" pitchFamily="34" charset="-128"/>
                <a:cs typeface="Arial Unicode MS" panose="020B0604020202020204" pitchFamily="34" charset="-128"/>
              </a:rPr>
              <a:t>develop your own agents </a:t>
            </a:r>
            <a:r>
              <a:rPr lang="en-US" sz="1399" dirty="0">
                <a:ea typeface="Arial Unicode MS" panose="020B0604020202020204" pitchFamily="34" charset="-128"/>
                <a:cs typeface="Arial Unicode MS" panose="020B0604020202020204" pitchFamily="34" charset="-128"/>
              </a:rPr>
              <a:t>and bring your data </a:t>
            </a:r>
            <a:br>
              <a:rPr lang="en-US" sz="1399" dirty="0">
                <a:ea typeface="Arial Unicode MS" panose="020B0604020202020204" pitchFamily="34" charset="-128"/>
                <a:cs typeface="Arial Unicode MS" panose="020B0604020202020204" pitchFamily="34" charset="-128"/>
              </a:rPr>
            </a:br>
            <a:r>
              <a:rPr lang="en-US" sz="1399" dirty="0">
                <a:ea typeface="Arial Unicode MS" panose="020B0604020202020204" pitchFamily="34" charset="-128"/>
                <a:cs typeface="Arial Unicode MS" panose="020B0604020202020204" pitchFamily="34" charset="-128"/>
              </a:rPr>
              <a:t>into </a:t>
            </a:r>
            <a:r>
              <a:rPr lang="en-US" sz="1399" dirty="0" err="1">
                <a:ea typeface="Arial Unicode MS" panose="020B0604020202020204" pitchFamily="34" charset="-128"/>
                <a:cs typeface="Arial Unicode MS" panose="020B0604020202020204" pitchFamily="34" charset="-128"/>
              </a:rPr>
              <a:t>MindSphere</a:t>
            </a:r>
            <a:endParaRPr lang="en-US" sz="1399" dirty="0">
              <a:ea typeface="Arial Unicode MS" panose="020B0604020202020204" pitchFamily="34" charset="-128"/>
              <a:cs typeface="Arial Unicode MS" panose="020B0604020202020204" pitchFamily="34" charset="-128"/>
            </a:endParaRPr>
          </a:p>
        </p:txBody>
      </p:sp>
      <p:sp>
        <p:nvSpPr>
          <p:cNvPr id="83" name="Rechteck 82"/>
          <p:cNvSpPr/>
          <p:nvPr/>
        </p:nvSpPr>
        <p:spPr bwMode="auto">
          <a:xfrm>
            <a:off x="2515296" y="5026972"/>
            <a:ext cx="9340330" cy="72828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nSpc>
                <a:spcPct val="110000"/>
              </a:lnSpc>
              <a:spcBef>
                <a:spcPct val="0"/>
              </a:spcBef>
              <a:buFont typeface="Wingdings" charset="0"/>
              <a:buNone/>
            </a:pPr>
            <a:r>
              <a:rPr lang="en-US" sz="1399" dirty="0">
                <a:ea typeface="Arial Unicode MS" panose="020B0604020202020204" pitchFamily="34" charset="-128"/>
                <a:cs typeface="Arial Unicode MS" panose="020B0604020202020204" pitchFamily="34" charset="-128"/>
              </a:rPr>
              <a:t>Get an </a:t>
            </a:r>
            <a:r>
              <a:rPr lang="en-US" sz="1399" b="1" dirty="0">
                <a:ea typeface="Arial Unicode MS" panose="020B0604020202020204" pitchFamily="34" charset="-128"/>
                <a:cs typeface="Arial Unicode MS" panose="020B0604020202020204" pitchFamily="34" charset="-128"/>
              </a:rPr>
              <a:t>out-of-the-box connectivity element </a:t>
            </a:r>
            <a:r>
              <a:rPr lang="en-US" sz="1399" dirty="0">
                <a:ea typeface="Arial Unicode MS" panose="020B0604020202020204" pitchFamily="34" charset="-128"/>
                <a:cs typeface="Arial Unicode MS" panose="020B0604020202020204" pitchFamily="34" charset="-128"/>
              </a:rPr>
              <a:t>to establish your data connection into MindSphere within </a:t>
            </a:r>
            <a:br>
              <a:rPr lang="en-US" sz="1399" dirty="0">
                <a:ea typeface="Arial Unicode MS" panose="020B0604020202020204" pitchFamily="34" charset="-128"/>
                <a:cs typeface="Arial Unicode MS" panose="020B0604020202020204" pitchFamily="34" charset="-128"/>
              </a:rPr>
            </a:br>
            <a:r>
              <a:rPr lang="en-US" sz="1399" dirty="0">
                <a:ea typeface="Arial Unicode MS" panose="020B0604020202020204" pitchFamily="34" charset="-128"/>
                <a:cs typeface="Arial Unicode MS" panose="020B0604020202020204" pitchFamily="34" charset="-128"/>
              </a:rPr>
              <a:t>15 minutes </a:t>
            </a:r>
            <a:r>
              <a:rPr lang="en-US" sz="1399" b="1" dirty="0">
                <a:ea typeface="Arial Unicode MS" panose="020B0604020202020204" pitchFamily="34" charset="-128"/>
                <a:cs typeface="Arial Unicode MS" panose="020B0604020202020204" pitchFamily="34" charset="-128"/>
              </a:rPr>
              <a:t>without development effort </a:t>
            </a:r>
          </a:p>
        </p:txBody>
      </p:sp>
      <p:sp>
        <p:nvSpPr>
          <p:cNvPr id="84" name="Rechteck 83"/>
          <p:cNvSpPr/>
          <p:nvPr/>
        </p:nvSpPr>
        <p:spPr bwMode="auto">
          <a:xfrm>
            <a:off x="2515296" y="2520797"/>
            <a:ext cx="9340330" cy="72828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nSpc>
                <a:spcPct val="110000"/>
              </a:lnSpc>
              <a:spcBef>
                <a:spcPct val="0"/>
              </a:spcBef>
              <a:buFont typeface="Wingdings" charset="0"/>
              <a:buNone/>
            </a:pPr>
            <a:r>
              <a:rPr lang="en-US" sz="1399" b="1" dirty="0">
                <a:ea typeface="Arial Unicode MS" panose="020B0604020202020204" pitchFamily="34" charset="-128"/>
                <a:cs typeface="Arial Unicode MS" panose="020B0604020202020204" pitchFamily="34" charset="-128"/>
              </a:rPr>
              <a:t>Extend the range of IoT devices </a:t>
            </a:r>
            <a:r>
              <a:rPr lang="en-US" sz="1399" dirty="0">
                <a:ea typeface="Arial Unicode MS" panose="020B0604020202020204" pitchFamily="34" charset="-128"/>
                <a:cs typeface="Arial Unicode MS" panose="020B0604020202020204" pitchFamily="34" charset="-128"/>
              </a:rPr>
              <a:t>that can easily be connected to MindSphere (e.g. Raspberry Pi, SIGFOX, Dell Edge GW) or use </a:t>
            </a:r>
            <a:r>
              <a:rPr lang="en-US" sz="1399" b="1" dirty="0">
                <a:ea typeface="Arial Unicode MS" panose="020B0604020202020204" pitchFamily="34" charset="-128"/>
                <a:cs typeface="Arial Unicode MS" panose="020B0604020202020204" pitchFamily="34" charset="-128"/>
              </a:rPr>
              <a:t>further adaptable software-agents </a:t>
            </a:r>
            <a:r>
              <a:rPr lang="en-US" sz="1399" dirty="0">
                <a:ea typeface="Arial Unicode MS" panose="020B0604020202020204" pitchFamily="34" charset="-128"/>
                <a:cs typeface="Arial Unicode MS" panose="020B0604020202020204" pitchFamily="34" charset="-128"/>
              </a:rPr>
              <a:t>(e.g. MQTT, Java, C++ agents) on your custom device  </a:t>
            </a:r>
          </a:p>
        </p:txBody>
      </p:sp>
      <p:sp>
        <p:nvSpPr>
          <p:cNvPr id="85" name="Rectangle 3"/>
          <p:cNvSpPr>
            <a:spLocks noChangeArrowheads="1"/>
          </p:cNvSpPr>
          <p:nvPr>
            <p:custDataLst>
              <p:tags r:id="rId7"/>
            </p:custDataLst>
          </p:nvPr>
        </p:nvSpPr>
        <p:spPr bwMode="auto">
          <a:xfrm>
            <a:off x="338361" y="2486790"/>
            <a:ext cx="11373609" cy="863846"/>
          </a:xfrm>
          <a:prstGeom prst="rect">
            <a:avLst/>
          </a:prstGeom>
          <a:noFill/>
          <a:ln w="12700">
            <a:noFill/>
            <a:miter lim="800000"/>
            <a:headEnd/>
            <a:tailEnd/>
          </a:ln>
        </p:spPr>
        <p:txBody>
          <a:bodyPr wrap="square" lIns="107944" tIns="71963" rIns="71963" bIns="71963" anchor="ctr"/>
          <a:lstStyle/>
          <a:p>
            <a:endParaRPr lang="en-US" sz="1399" b="1" dirty="0">
              <a:solidFill>
                <a:srgbClr val="000000"/>
              </a:solidFill>
              <a:cs typeface="Arial" pitchFamily="34" charset="0"/>
            </a:endParaRPr>
          </a:p>
        </p:txBody>
      </p:sp>
      <p:cxnSp>
        <p:nvCxnSpPr>
          <p:cNvPr id="86" name="Gerade Verbindung 85"/>
          <p:cNvCxnSpPr/>
          <p:nvPr/>
        </p:nvCxnSpPr>
        <p:spPr bwMode="auto">
          <a:xfrm>
            <a:off x="338360" y="3282919"/>
            <a:ext cx="11517265" cy="0"/>
          </a:xfrm>
          <a:prstGeom prst="line">
            <a:avLst/>
          </a:prstGeom>
          <a:solidFill>
            <a:schemeClr val="tx2"/>
          </a:solidFill>
          <a:ln w="28575" cap="flat" cmpd="sng" algn="ctr">
            <a:solidFill>
              <a:srgbClr val="00646E"/>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7" name="Textfeld 86"/>
          <p:cNvSpPr txBox="1"/>
          <p:nvPr/>
        </p:nvSpPr>
        <p:spPr>
          <a:xfrm>
            <a:off x="410173" y="2469465"/>
            <a:ext cx="1943257" cy="791881"/>
          </a:xfrm>
          <a:prstGeom prst="rect">
            <a:avLst/>
          </a:prstGeom>
          <a:noFill/>
          <a:ln>
            <a:noFill/>
          </a:ln>
        </p:spPr>
        <p:txBody>
          <a:bodyPr vert="horz" wrap="square" lIns="0" tIns="0" rIns="0" bIns="0" rtlCol="0" anchor="ctr">
            <a:noAutofit/>
          </a:bodyPr>
          <a:lstStyle>
            <a:defPPr>
              <a:defRPr lang="de-DE"/>
            </a:defPPr>
            <a:lvl1pPr>
              <a:lnSpc>
                <a:spcPct val="110000"/>
              </a:lnSpc>
              <a:spcBef>
                <a:spcPts val="0"/>
              </a:spcBef>
              <a:defRPr sz="1600" b="1">
                <a:solidFill>
                  <a:srgbClr val="0F8287"/>
                </a:solidFill>
                <a:ea typeface="Arial Unicode MS"/>
              </a:defRPr>
            </a:lvl1pPr>
          </a:lstStyle>
          <a:p>
            <a:r>
              <a:rPr lang="en-US" sz="1399" dirty="0"/>
              <a:t>MindConnect </a:t>
            </a:r>
            <a:br>
              <a:rPr lang="en-US" sz="1399" dirty="0"/>
            </a:br>
            <a:r>
              <a:rPr lang="en-US" sz="1399" dirty="0"/>
              <a:t>IoT Extension</a:t>
            </a:r>
          </a:p>
        </p:txBody>
      </p:sp>
      <p:grpSp>
        <p:nvGrpSpPr>
          <p:cNvPr id="32" name="Gruppieren 18"/>
          <p:cNvGrpSpPr/>
          <p:nvPr>
            <p:custDataLst>
              <p:tags r:id="rId8"/>
            </p:custDataLst>
          </p:nvPr>
        </p:nvGrpSpPr>
        <p:grpSpPr>
          <a:xfrm>
            <a:off x="11145170" y="1694731"/>
            <a:ext cx="710454" cy="692637"/>
            <a:chOff x="2152813" y="3721348"/>
            <a:chExt cx="1042320" cy="1015946"/>
          </a:xfrm>
        </p:grpSpPr>
        <p:sp>
          <p:nvSpPr>
            <p:cNvPr id="34" name="Rechtwinkliges Dreieck 20"/>
            <p:cNvSpPr/>
            <p:nvPr/>
          </p:nvSpPr>
          <p:spPr bwMode="auto">
            <a:xfrm flipH="1">
              <a:off x="2152813" y="3721348"/>
              <a:ext cx="1042320" cy="1015946"/>
            </a:xfrm>
            <a:custGeom>
              <a:avLst/>
              <a:gdLst/>
              <a:ahLst/>
              <a:cxnLst/>
              <a:rect l="l" t="t" r="r" b="b"/>
              <a:pathLst>
                <a:path w="611760" h="611760">
                  <a:moveTo>
                    <a:pt x="0" y="0"/>
                  </a:moveTo>
                  <a:lnTo>
                    <a:pt x="611760" y="611760"/>
                  </a:lnTo>
                  <a:lnTo>
                    <a:pt x="272108" y="611760"/>
                  </a:lnTo>
                  <a:lnTo>
                    <a:pt x="0" y="339652"/>
                  </a:lnTo>
                  <a:close/>
                </a:path>
              </a:pathLst>
            </a:custGeom>
            <a:solidFill>
              <a:srgbClr val="0F8287"/>
            </a:solidFill>
            <a:ln>
              <a:noFill/>
            </a:ln>
            <a:effectLst/>
            <a:extLst/>
          </p:spPr>
          <p:txBody>
            <a:bodyPr rtlCol="0" anchor="ctr"/>
            <a:lstStyle/>
            <a:p>
              <a:pPr algn="ctr"/>
              <a:endParaRPr lang="en-US" sz="1199" b="1" dirty="0"/>
            </a:p>
          </p:txBody>
        </p:sp>
        <p:sp>
          <p:nvSpPr>
            <p:cNvPr id="35" name="Rechteck 20"/>
            <p:cNvSpPr>
              <a:spLocks/>
            </p:cNvSpPr>
            <p:nvPr/>
          </p:nvSpPr>
          <p:spPr bwMode="gray">
            <a:xfrm rot="18949646">
              <a:off x="2452386" y="4119047"/>
              <a:ext cx="585292" cy="360964"/>
            </a:xfrm>
            <a:prstGeom prst="rect">
              <a:avLst/>
            </a:prstGeom>
            <a:noFill/>
            <a:ln>
              <a:noFill/>
            </a:ln>
            <a:effectLst/>
            <a:extLst/>
          </p:spPr>
          <p:txBody>
            <a:bodyPr wrap="none" lIns="0" tIns="0" rIns="0" bIns="0" numCol="1" spcCol="72000" rtlCol="0" anchor="t">
              <a:spAutoFit/>
            </a:bodyPr>
            <a:lstStyle/>
            <a:p>
              <a:pPr algn="ctr">
                <a:spcBef>
                  <a:spcPts val="300"/>
                </a:spcBef>
                <a:buClr>
                  <a:srgbClr val="3C464B"/>
                </a:buClr>
              </a:pPr>
              <a:r>
                <a:rPr lang="en-US" sz="1599" b="1" dirty="0">
                  <a:solidFill>
                    <a:srgbClr val="DFE6ED"/>
                  </a:solidFill>
                  <a:ea typeface="Arial Unicode MS"/>
                </a:rPr>
                <a:t>new</a:t>
              </a:r>
            </a:p>
          </p:txBody>
        </p:sp>
      </p:grpSp>
      <p:grpSp>
        <p:nvGrpSpPr>
          <p:cNvPr id="36" name="Gruppieren 18"/>
          <p:cNvGrpSpPr/>
          <p:nvPr>
            <p:custDataLst>
              <p:tags r:id="rId9"/>
            </p:custDataLst>
          </p:nvPr>
        </p:nvGrpSpPr>
        <p:grpSpPr>
          <a:xfrm>
            <a:off x="11132729" y="2568708"/>
            <a:ext cx="710454" cy="692637"/>
            <a:chOff x="2152813" y="3721348"/>
            <a:chExt cx="1042320" cy="1015946"/>
          </a:xfrm>
        </p:grpSpPr>
        <p:sp>
          <p:nvSpPr>
            <p:cNvPr id="39" name="Rechtwinkliges Dreieck 20"/>
            <p:cNvSpPr/>
            <p:nvPr/>
          </p:nvSpPr>
          <p:spPr bwMode="auto">
            <a:xfrm flipH="1">
              <a:off x="2152813" y="3721348"/>
              <a:ext cx="1042320" cy="1015946"/>
            </a:xfrm>
            <a:custGeom>
              <a:avLst/>
              <a:gdLst/>
              <a:ahLst/>
              <a:cxnLst/>
              <a:rect l="l" t="t" r="r" b="b"/>
              <a:pathLst>
                <a:path w="611760" h="611760">
                  <a:moveTo>
                    <a:pt x="0" y="0"/>
                  </a:moveTo>
                  <a:lnTo>
                    <a:pt x="611760" y="611760"/>
                  </a:lnTo>
                  <a:lnTo>
                    <a:pt x="272108" y="611760"/>
                  </a:lnTo>
                  <a:lnTo>
                    <a:pt x="0" y="339652"/>
                  </a:lnTo>
                  <a:close/>
                </a:path>
              </a:pathLst>
            </a:custGeom>
            <a:solidFill>
              <a:srgbClr val="0F8287"/>
            </a:solidFill>
            <a:ln>
              <a:noFill/>
            </a:ln>
            <a:effectLst/>
            <a:extLst/>
          </p:spPr>
          <p:txBody>
            <a:bodyPr rtlCol="0" anchor="ctr"/>
            <a:lstStyle/>
            <a:p>
              <a:pPr algn="ctr"/>
              <a:endParaRPr lang="en-US" sz="1199" b="1" dirty="0"/>
            </a:p>
          </p:txBody>
        </p:sp>
        <p:sp>
          <p:nvSpPr>
            <p:cNvPr id="40" name="Rechteck 20"/>
            <p:cNvSpPr>
              <a:spLocks/>
            </p:cNvSpPr>
            <p:nvPr/>
          </p:nvSpPr>
          <p:spPr bwMode="gray">
            <a:xfrm rot="18949646">
              <a:off x="2452386" y="4119047"/>
              <a:ext cx="585292" cy="360964"/>
            </a:xfrm>
            <a:prstGeom prst="rect">
              <a:avLst/>
            </a:prstGeom>
            <a:noFill/>
            <a:ln>
              <a:noFill/>
            </a:ln>
            <a:effectLst/>
            <a:extLst/>
          </p:spPr>
          <p:txBody>
            <a:bodyPr wrap="none" lIns="0" tIns="0" rIns="0" bIns="0" numCol="1" spcCol="72000" rtlCol="0" anchor="t">
              <a:spAutoFit/>
            </a:bodyPr>
            <a:lstStyle/>
            <a:p>
              <a:pPr algn="ctr">
                <a:spcBef>
                  <a:spcPts val="300"/>
                </a:spcBef>
                <a:buClr>
                  <a:srgbClr val="3C464B"/>
                </a:buClr>
              </a:pPr>
              <a:r>
                <a:rPr lang="en-US" sz="1599" b="1" dirty="0">
                  <a:solidFill>
                    <a:srgbClr val="DFE6ED"/>
                  </a:solidFill>
                  <a:ea typeface="Arial Unicode MS"/>
                </a:rPr>
                <a:t>new</a:t>
              </a:r>
            </a:p>
          </p:txBody>
        </p:sp>
      </p:grpSp>
      <p:grpSp>
        <p:nvGrpSpPr>
          <p:cNvPr id="42" name="Gruppieren 18"/>
          <p:cNvGrpSpPr/>
          <p:nvPr>
            <p:custDataLst>
              <p:tags r:id="rId10"/>
            </p:custDataLst>
          </p:nvPr>
        </p:nvGrpSpPr>
        <p:grpSpPr>
          <a:xfrm>
            <a:off x="11145171" y="3378305"/>
            <a:ext cx="710454" cy="692637"/>
            <a:chOff x="2152813" y="3721348"/>
            <a:chExt cx="1042320" cy="1015946"/>
          </a:xfrm>
        </p:grpSpPr>
        <p:sp>
          <p:nvSpPr>
            <p:cNvPr id="43" name="Rechtwinkliges Dreieck 20"/>
            <p:cNvSpPr/>
            <p:nvPr/>
          </p:nvSpPr>
          <p:spPr bwMode="auto">
            <a:xfrm flipH="1">
              <a:off x="2152813" y="3721348"/>
              <a:ext cx="1042320" cy="1015946"/>
            </a:xfrm>
            <a:custGeom>
              <a:avLst/>
              <a:gdLst/>
              <a:ahLst/>
              <a:cxnLst/>
              <a:rect l="l" t="t" r="r" b="b"/>
              <a:pathLst>
                <a:path w="611760" h="611760">
                  <a:moveTo>
                    <a:pt x="0" y="0"/>
                  </a:moveTo>
                  <a:lnTo>
                    <a:pt x="611760" y="611760"/>
                  </a:lnTo>
                  <a:lnTo>
                    <a:pt x="272108" y="611760"/>
                  </a:lnTo>
                  <a:lnTo>
                    <a:pt x="0" y="339652"/>
                  </a:lnTo>
                  <a:close/>
                </a:path>
              </a:pathLst>
            </a:custGeom>
            <a:solidFill>
              <a:srgbClr val="0F8287"/>
            </a:solidFill>
            <a:ln>
              <a:noFill/>
            </a:ln>
            <a:effectLst/>
            <a:extLst/>
          </p:spPr>
          <p:txBody>
            <a:bodyPr rtlCol="0" anchor="ctr"/>
            <a:lstStyle/>
            <a:p>
              <a:pPr algn="ctr"/>
              <a:endParaRPr lang="en-US" sz="1199" b="1" dirty="0"/>
            </a:p>
          </p:txBody>
        </p:sp>
        <p:sp>
          <p:nvSpPr>
            <p:cNvPr id="45" name="Rechteck 20"/>
            <p:cNvSpPr>
              <a:spLocks/>
            </p:cNvSpPr>
            <p:nvPr/>
          </p:nvSpPr>
          <p:spPr bwMode="gray">
            <a:xfrm rot="18949646">
              <a:off x="2452386" y="4119047"/>
              <a:ext cx="585292" cy="360964"/>
            </a:xfrm>
            <a:prstGeom prst="rect">
              <a:avLst/>
            </a:prstGeom>
            <a:noFill/>
            <a:ln>
              <a:noFill/>
            </a:ln>
            <a:effectLst/>
            <a:extLst/>
          </p:spPr>
          <p:txBody>
            <a:bodyPr wrap="none" lIns="0" tIns="0" rIns="0" bIns="0" numCol="1" spcCol="72000" rtlCol="0" anchor="t">
              <a:spAutoFit/>
            </a:bodyPr>
            <a:lstStyle/>
            <a:p>
              <a:pPr algn="ctr">
                <a:spcBef>
                  <a:spcPts val="300"/>
                </a:spcBef>
                <a:buClr>
                  <a:srgbClr val="3C464B"/>
                </a:buClr>
              </a:pPr>
              <a:r>
                <a:rPr lang="en-US" sz="1599" b="1" dirty="0">
                  <a:solidFill>
                    <a:srgbClr val="DFE6ED"/>
                  </a:solidFill>
                  <a:ea typeface="Arial Unicode MS"/>
                </a:rPr>
                <a:t>new</a:t>
              </a:r>
            </a:p>
          </p:txBody>
        </p:sp>
      </p:grpSp>
      <p:grpSp>
        <p:nvGrpSpPr>
          <p:cNvPr id="47" name="Gruppieren 18"/>
          <p:cNvGrpSpPr/>
          <p:nvPr>
            <p:custDataLst>
              <p:tags r:id="rId11"/>
            </p:custDataLst>
          </p:nvPr>
        </p:nvGrpSpPr>
        <p:grpSpPr>
          <a:xfrm>
            <a:off x="11132728" y="5062623"/>
            <a:ext cx="784216" cy="692637"/>
            <a:chOff x="2152813" y="3721348"/>
            <a:chExt cx="1150538" cy="1015946"/>
          </a:xfrm>
        </p:grpSpPr>
        <p:sp>
          <p:nvSpPr>
            <p:cNvPr id="50" name="Rechtwinkliges Dreieck 20"/>
            <p:cNvSpPr/>
            <p:nvPr/>
          </p:nvSpPr>
          <p:spPr bwMode="auto">
            <a:xfrm flipH="1">
              <a:off x="2152813" y="3721348"/>
              <a:ext cx="1042320" cy="1015946"/>
            </a:xfrm>
            <a:custGeom>
              <a:avLst/>
              <a:gdLst/>
              <a:ahLst/>
              <a:cxnLst/>
              <a:rect l="l" t="t" r="r" b="b"/>
              <a:pathLst>
                <a:path w="611760" h="611760">
                  <a:moveTo>
                    <a:pt x="0" y="0"/>
                  </a:moveTo>
                  <a:lnTo>
                    <a:pt x="611760" y="611760"/>
                  </a:lnTo>
                  <a:lnTo>
                    <a:pt x="272108" y="611760"/>
                  </a:lnTo>
                  <a:lnTo>
                    <a:pt x="0" y="339652"/>
                  </a:lnTo>
                  <a:close/>
                </a:path>
              </a:pathLst>
            </a:custGeom>
            <a:solidFill>
              <a:srgbClr val="0F8287"/>
            </a:solidFill>
            <a:ln>
              <a:noFill/>
            </a:ln>
            <a:effectLst/>
            <a:extLst/>
          </p:spPr>
          <p:txBody>
            <a:bodyPr rtlCol="0" anchor="ctr"/>
            <a:lstStyle/>
            <a:p>
              <a:pPr algn="ctr"/>
              <a:endParaRPr lang="en-US" sz="1049" b="1" dirty="0"/>
            </a:p>
          </p:txBody>
        </p:sp>
        <p:sp>
          <p:nvSpPr>
            <p:cNvPr id="52" name="Rechteck 20"/>
            <p:cNvSpPr>
              <a:spLocks/>
            </p:cNvSpPr>
            <p:nvPr/>
          </p:nvSpPr>
          <p:spPr bwMode="gray">
            <a:xfrm rot="18949646">
              <a:off x="2287905" y="4202082"/>
              <a:ext cx="1015446" cy="270786"/>
            </a:xfrm>
            <a:prstGeom prst="rect">
              <a:avLst/>
            </a:prstGeom>
            <a:noFill/>
            <a:ln>
              <a:noFill/>
            </a:ln>
            <a:effectLst/>
            <a:extLst/>
          </p:spPr>
          <p:txBody>
            <a:bodyPr wrap="none" lIns="0" tIns="0" rIns="0" bIns="0" numCol="1" spcCol="72000" rtlCol="0" anchor="t">
              <a:spAutoFit/>
            </a:bodyPr>
            <a:lstStyle/>
            <a:p>
              <a:pPr algn="ctr">
                <a:spcBef>
                  <a:spcPts val="300"/>
                </a:spcBef>
                <a:buClr>
                  <a:srgbClr val="3C464B"/>
                </a:buClr>
              </a:pPr>
              <a:r>
                <a:rPr lang="en-US" sz="1199" b="1" dirty="0">
                  <a:solidFill>
                    <a:srgbClr val="DFE6ED"/>
                  </a:solidFill>
                  <a:ea typeface="Arial Unicode MS"/>
                </a:rPr>
                <a:t>improved</a:t>
              </a:r>
            </a:p>
          </p:txBody>
        </p:sp>
      </p:grpSp>
      <p:grpSp>
        <p:nvGrpSpPr>
          <p:cNvPr id="55" name="Gruppieren 18"/>
          <p:cNvGrpSpPr/>
          <p:nvPr>
            <p:custDataLst>
              <p:tags r:id="rId12"/>
            </p:custDataLst>
          </p:nvPr>
        </p:nvGrpSpPr>
        <p:grpSpPr>
          <a:xfrm>
            <a:off x="11132728" y="4223257"/>
            <a:ext cx="784216" cy="692637"/>
            <a:chOff x="2152813" y="3721348"/>
            <a:chExt cx="1150538" cy="1015946"/>
          </a:xfrm>
        </p:grpSpPr>
        <p:sp>
          <p:nvSpPr>
            <p:cNvPr id="56" name="Rechtwinkliges Dreieck 20"/>
            <p:cNvSpPr/>
            <p:nvPr/>
          </p:nvSpPr>
          <p:spPr bwMode="auto">
            <a:xfrm flipH="1">
              <a:off x="2152813" y="3721348"/>
              <a:ext cx="1042320" cy="1015946"/>
            </a:xfrm>
            <a:custGeom>
              <a:avLst/>
              <a:gdLst/>
              <a:ahLst/>
              <a:cxnLst/>
              <a:rect l="l" t="t" r="r" b="b"/>
              <a:pathLst>
                <a:path w="611760" h="611760">
                  <a:moveTo>
                    <a:pt x="0" y="0"/>
                  </a:moveTo>
                  <a:lnTo>
                    <a:pt x="611760" y="611760"/>
                  </a:lnTo>
                  <a:lnTo>
                    <a:pt x="272108" y="611760"/>
                  </a:lnTo>
                  <a:lnTo>
                    <a:pt x="0" y="339652"/>
                  </a:lnTo>
                  <a:close/>
                </a:path>
              </a:pathLst>
            </a:custGeom>
            <a:solidFill>
              <a:srgbClr val="0F8287"/>
            </a:solidFill>
            <a:ln>
              <a:noFill/>
            </a:ln>
            <a:effectLst/>
            <a:extLst/>
          </p:spPr>
          <p:txBody>
            <a:bodyPr rtlCol="0" anchor="ctr"/>
            <a:lstStyle/>
            <a:p>
              <a:pPr algn="ctr"/>
              <a:endParaRPr lang="en-US" sz="1049" b="1" dirty="0"/>
            </a:p>
          </p:txBody>
        </p:sp>
        <p:sp>
          <p:nvSpPr>
            <p:cNvPr id="57" name="Rechteck 20"/>
            <p:cNvSpPr>
              <a:spLocks/>
            </p:cNvSpPr>
            <p:nvPr/>
          </p:nvSpPr>
          <p:spPr bwMode="gray">
            <a:xfrm rot="18949646">
              <a:off x="2287905" y="4202082"/>
              <a:ext cx="1015446" cy="270786"/>
            </a:xfrm>
            <a:prstGeom prst="rect">
              <a:avLst/>
            </a:prstGeom>
            <a:noFill/>
            <a:ln>
              <a:noFill/>
            </a:ln>
            <a:effectLst/>
            <a:extLst/>
          </p:spPr>
          <p:txBody>
            <a:bodyPr wrap="none" lIns="0" tIns="0" rIns="0" bIns="0" numCol="1" spcCol="72000" rtlCol="0" anchor="t">
              <a:spAutoFit/>
            </a:bodyPr>
            <a:lstStyle/>
            <a:p>
              <a:pPr algn="ctr">
                <a:spcBef>
                  <a:spcPts val="300"/>
                </a:spcBef>
                <a:buClr>
                  <a:srgbClr val="3C464B"/>
                </a:buClr>
              </a:pPr>
              <a:r>
                <a:rPr lang="en-US" sz="1199" b="1" dirty="0">
                  <a:solidFill>
                    <a:srgbClr val="DFE6ED"/>
                  </a:solidFill>
                  <a:ea typeface="Arial Unicode MS"/>
                </a:rPr>
                <a:t>improved</a:t>
              </a:r>
            </a:p>
          </p:txBody>
        </p:sp>
      </p:grpSp>
      <p:sp>
        <p:nvSpPr>
          <p:cNvPr id="4" name="Abgerundetes Rechteck 3"/>
          <p:cNvSpPr/>
          <p:nvPr/>
        </p:nvSpPr>
        <p:spPr bwMode="auto">
          <a:xfrm>
            <a:off x="243713" y="4939633"/>
            <a:ext cx="11738846" cy="900317"/>
          </a:xfrm>
          <a:prstGeom prst="roundRect">
            <a:avLst/>
          </a:prstGeom>
          <a:solidFill>
            <a:schemeClr val="bg2">
              <a:lumMod val="40000"/>
              <a:lumOff val="60000"/>
              <a:alpha val="73000"/>
            </a:schemeClr>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58638708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13415" y="1270799"/>
            <a:ext cx="12454271" cy="5040001"/>
          </a:xfrm>
          <a:prstGeom prst="rect">
            <a:avLst/>
          </a:prstGeom>
          <a:solidFill>
            <a:srgbClr val="28282C"/>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3" name="Rectangle 22"/>
          <p:cNvSpPr/>
          <p:nvPr/>
        </p:nvSpPr>
        <p:spPr bwMode="auto">
          <a:xfrm>
            <a:off x="514350" y="5238254"/>
            <a:ext cx="4025900" cy="1013077"/>
          </a:xfrm>
          <a:prstGeom prst="rect">
            <a:avLst/>
          </a:prstGeom>
          <a:solidFill>
            <a:srgbClr val="0C9EC9">
              <a:alpha val="80000"/>
            </a:srgb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0" name="Ellipse 19"/>
          <p:cNvSpPr/>
          <p:nvPr/>
        </p:nvSpPr>
        <p:spPr bwMode="auto">
          <a:xfrm>
            <a:off x="8057541" y="1475640"/>
            <a:ext cx="3962380" cy="4193286"/>
          </a:xfrm>
          <a:prstGeom prst="ellipse">
            <a:avLst/>
          </a:prstGeom>
          <a:noFill/>
          <a:ln w="28575">
            <a:solidFill>
              <a:srgbClr val="0F8287"/>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5" name="Rectangle 34"/>
          <p:cNvSpPr/>
          <p:nvPr/>
        </p:nvSpPr>
        <p:spPr bwMode="auto">
          <a:xfrm>
            <a:off x="5554599" y="1658520"/>
            <a:ext cx="3451838" cy="4368004"/>
          </a:xfrm>
          <a:prstGeom prst="rect">
            <a:avLst/>
          </a:prstGeom>
          <a:solidFill>
            <a:srgbClr val="28282C"/>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8" name="Freihandform 388"/>
          <p:cNvSpPr/>
          <p:nvPr/>
        </p:nvSpPr>
        <p:spPr bwMode="auto">
          <a:xfrm flipH="1" flipV="1">
            <a:off x="508292" y="3513163"/>
            <a:ext cx="6083551"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noFill/>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6" name="Rechteck 380"/>
          <p:cNvSpPr/>
          <p:nvPr/>
        </p:nvSpPr>
        <p:spPr>
          <a:xfrm>
            <a:off x="1291267" y="1636619"/>
            <a:ext cx="3079450" cy="338554"/>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smtClean="0">
                <a:solidFill>
                  <a:srgbClr val="50BED7"/>
                </a:solidFill>
                <a:latin typeface="Arial" pitchFamily="34" charset="0"/>
                <a:ea typeface="ＭＳ Ｐゴシック" charset="-128"/>
              </a:rPr>
              <a:t>MindSphere Applications</a:t>
            </a:r>
            <a:endParaRPr lang="en-US" sz="2000" dirty="0">
              <a:solidFill>
                <a:srgbClr val="50BED7"/>
              </a:solidFill>
              <a:latin typeface="Arial" pitchFamily="34" charset="0"/>
              <a:ea typeface="ＭＳ Ｐゴシック" charset="-128"/>
            </a:endParaRPr>
          </a:p>
        </p:txBody>
      </p:sp>
      <p:sp>
        <p:nvSpPr>
          <p:cNvPr id="9" name="Rechteck 381"/>
          <p:cNvSpPr/>
          <p:nvPr/>
        </p:nvSpPr>
        <p:spPr>
          <a:xfrm>
            <a:off x="1291573" y="3207721"/>
            <a:ext cx="3959099"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smtClean="0">
                <a:solidFill>
                  <a:srgbClr val="50BED7"/>
                </a:solidFill>
                <a:latin typeface="Arial" pitchFamily="34" charset="0"/>
                <a:ea typeface="ＭＳ Ｐゴシック" charset="-128"/>
              </a:rPr>
              <a:t>MindSphere &amp; </a:t>
            </a:r>
            <a:r>
              <a:rPr lang="en-US" sz="2000" b="1" dirty="0" err="1" smtClean="0">
                <a:solidFill>
                  <a:srgbClr val="50BED7"/>
                </a:solidFill>
                <a:latin typeface="Arial" pitchFamily="34" charset="0"/>
                <a:ea typeface="ＭＳ Ｐゴシック" charset="-128"/>
              </a:rPr>
              <a:t>MindAccess</a:t>
            </a:r>
            <a:endParaRPr lang="en-US" sz="2000" dirty="0">
              <a:solidFill>
                <a:srgbClr val="50BED7"/>
              </a:solidFill>
              <a:latin typeface="Arial" pitchFamily="34" charset="0"/>
              <a:ea typeface="ＭＳ Ｐゴシック" charset="-128"/>
            </a:endParaRPr>
          </a:p>
        </p:txBody>
      </p:sp>
      <p:sp>
        <p:nvSpPr>
          <p:cNvPr id="11" name="Rechteck 655"/>
          <p:cNvSpPr/>
          <p:nvPr/>
        </p:nvSpPr>
        <p:spPr>
          <a:xfrm>
            <a:off x="566315" y="5266446"/>
            <a:ext cx="3973935" cy="984885"/>
          </a:xfrm>
          <a:prstGeom prst="rect">
            <a:avLst/>
          </a:prstGeom>
        </p:spPr>
        <p:txBody>
          <a:bodyPr wrap="square" lIns="0" tIns="0" rIns="0" bIns="0">
            <a:spAutoFit/>
          </a:bodyPr>
          <a:lstStyle/>
          <a:p>
            <a:pPr marL="342900" indent="-342900">
              <a:buFontTx/>
              <a:buChar char="-"/>
            </a:pPr>
            <a:r>
              <a:rPr lang="en-US" sz="1600" dirty="0">
                <a:solidFill>
                  <a:schemeClr val="bg1"/>
                </a:solidFill>
                <a:ea typeface="ＭＳ Ｐゴシック" charset="-128"/>
              </a:rPr>
              <a:t>Open standards, including OPC UA</a:t>
            </a:r>
          </a:p>
          <a:p>
            <a:pPr marL="342900" indent="-342900">
              <a:buFontTx/>
              <a:buChar char="-"/>
            </a:pPr>
            <a:r>
              <a:rPr lang="en-US" sz="1600" dirty="0">
                <a:solidFill>
                  <a:schemeClr val="bg1"/>
                </a:solidFill>
                <a:ea typeface="ＭＳ Ｐゴシック" charset="-128"/>
              </a:rPr>
              <a:t>Plug and play </a:t>
            </a:r>
          </a:p>
          <a:p>
            <a:pPr marL="342900" indent="-342900">
              <a:buFontTx/>
              <a:buChar char="-"/>
            </a:pPr>
            <a:r>
              <a:rPr lang="en-US" sz="1600" dirty="0">
                <a:solidFill>
                  <a:schemeClr val="bg1"/>
                </a:solidFill>
                <a:ea typeface="ＭＳ Ｐゴシック" charset="-128"/>
              </a:rPr>
              <a:t>Secure and encrypted data communication</a:t>
            </a:r>
          </a:p>
        </p:txBody>
      </p:sp>
      <p:sp>
        <p:nvSpPr>
          <p:cNvPr id="12" name="Rechteck 382"/>
          <p:cNvSpPr/>
          <p:nvPr/>
        </p:nvSpPr>
        <p:spPr>
          <a:xfrm>
            <a:off x="1294308" y="4809475"/>
            <a:ext cx="341587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a:solidFill>
                  <a:srgbClr val="50BED7"/>
                </a:solidFill>
                <a:latin typeface="Arial" pitchFamily="34" charset="0"/>
                <a:ea typeface="ＭＳ Ｐゴシック" charset="-128"/>
              </a:rPr>
              <a:t>MindConnect</a:t>
            </a:r>
            <a:endParaRPr lang="en-US" sz="2000" dirty="0">
              <a:solidFill>
                <a:srgbClr val="50BED7"/>
              </a:solidFill>
              <a:latin typeface="Arial" pitchFamily="34" charset="0"/>
              <a:ea typeface="ＭＳ Ｐゴシック" charset="-128"/>
            </a:endParaRPr>
          </a:p>
        </p:txBody>
      </p:sp>
      <p:pic>
        <p:nvPicPr>
          <p:cNvPr id="13"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1795" y="1622880"/>
            <a:ext cx="4930256" cy="4257170"/>
          </a:xfrm>
          <a:prstGeom prst="rect">
            <a:avLst/>
          </a:prstGeom>
        </p:spPr>
      </p:pic>
      <p:sp>
        <p:nvSpPr>
          <p:cNvPr id="15" name="Freihandform 388"/>
          <p:cNvSpPr/>
          <p:nvPr/>
        </p:nvSpPr>
        <p:spPr bwMode="auto">
          <a:xfrm flipH="1" flipV="1">
            <a:off x="508294" y="1975173"/>
            <a:ext cx="4643808"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noFill/>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6" name="Freihandform 388"/>
          <p:cNvSpPr/>
          <p:nvPr/>
        </p:nvSpPr>
        <p:spPr bwMode="auto">
          <a:xfrm rot="10800000" flipV="1">
            <a:off x="508294" y="4828494"/>
            <a:ext cx="4643808" cy="324000"/>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a:solidFill>
              <a:srgbClr val="32A0A0"/>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9" name="Titel 4"/>
          <p:cNvSpPr>
            <a:spLocks noGrp="1"/>
          </p:cNvSpPr>
          <p:nvPr>
            <p:ph type="title"/>
          </p:nvPr>
        </p:nvSpPr>
        <p:spPr>
          <a:xfrm>
            <a:off x="0" y="0"/>
            <a:ext cx="12192000" cy="1440000"/>
          </a:xfrm>
        </p:spPr>
        <p:txBody>
          <a:bodyPr/>
          <a:lstStyle/>
          <a:p>
            <a:r>
              <a:rPr lang="en-US" dirty="0" smtClean="0">
                <a:latin typeface="+mn-lt"/>
              </a:rPr>
              <a:t>MindSphere Portfolio Overview</a:t>
            </a:r>
            <a:br>
              <a:rPr lang="en-US" dirty="0" smtClean="0">
                <a:latin typeface="+mn-lt"/>
              </a:rPr>
            </a:br>
            <a:endParaRPr lang="en-US" dirty="0">
              <a:latin typeface="+mn-lt"/>
            </a:endParaRPr>
          </a:p>
        </p:txBody>
      </p:sp>
      <p:sp>
        <p:nvSpPr>
          <p:cNvPr id="21" name="Rechteck 381"/>
          <p:cNvSpPr/>
          <p:nvPr/>
        </p:nvSpPr>
        <p:spPr>
          <a:xfrm>
            <a:off x="10173491" y="3252496"/>
            <a:ext cx="3079450" cy="312330"/>
          </a:xfrm>
          <a:prstGeom prst="rect">
            <a:avLst/>
          </a:prstGeom>
        </p:spPr>
        <p:txBody>
          <a:bodyPr wrap="square" lIns="0" tIns="0" rIns="0" bIns="0">
            <a:spAutoFit/>
          </a:bodyPr>
          <a:lstStyle/>
          <a:p>
            <a:pPr fontAlgn="base">
              <a:lnSpc>
                <a:spcPct val="110000"/>
              </a:lnSpc>
              <a:spcBef>
                <a:spcPct val="50000"/>
              </a:spcBef>
              <a:spcAft>
                <a:spcPct val="0"/>
              </a:spcAft>
            </a:pPr>
            <a:r>
              <a:rPr lang="en-US" sz="2000" b="1" dirty="0" err="1" smtClean="0">
                <a:solidFill>
                  <a:srgbClr val="50BED7"/>
                </a:solidFill>
                <a:latin typeface="Arial" pitchFamily="34" charset="0"/>
                <a:ea typeface="ＭＳ Ｐゴシック" charset="-128"/>
              </a:rPr>
              <a:t>MindServices</a:t>
            </a:r>
            <a:endParaRPr lang="en-US" sz="2000" dirty="0">
              <a:solidFill>
                <a:srgbClr val="50BED7"/>
              </a:solidFill>
              <a:latin typeface="Arial" pitchFamily="34" charset="0"/>
              <a:ea typeface="ＭＳ Ｐゴシック" charset="-128"/>
            </a:endParaRPr>
          </a:p>
        </p:txBody>
      </p:sp>
      <p:pic>
        <p:nvPicPr>
          <p:cNvPr id="2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113" y="1333070"/>
            <a:ext cx="652211" cy="65221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9340" y="2473820"/>
            <a:ext cx="903178" cy="90317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0113" y="2910952"/>
            <a:ext cx="718426" cy="61633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7557" y="4516867"/>
            <a:ext cx="702368" cy="70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94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hteck 142"/>
          <p:cNvSpPr/>
          <p:nvPr/>
        </p:nvSpPr>
        <p:spPr bwMode="auto">
          <a:xfrm>
            <a:off x="4517531" y="4240231"/>
            <a:ext cx="2412572" cy="227936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b">
            <a:noAutofit/>
          </a:bodyPr>
          <a:lstStyle/>
          <a:p>
            <a:pPr algn="ctr">
              <a:lnSpc>
                <a:spcPct val="110000"/>
              </a:lnSpc>
              <a:spcBef>
                <a:spcPct val="0"/>
              </a:spcBef>
              <a:buFont typeface="Wingdings" charset="0"/>
              <a:buNone/>
            </a:pPr>
            <a:r>
              <a:rPr lang="de-DE" sz="1399" dirty="0" err="1">
                <a:ea typeface="Arial Unicode MS" panose="020B0604020202020204" pitchFamily="34" charset="-128"/>
                <a:cs typeface="Arial Unicode MS" panose="020B0604020202020204" pitchFamily="34" charset="-128"/>
              </a:rPr>
              <a:t>Cloud</a:t>
            </a:r>
            <a:endParaRPr lang="de-DE" sz="1399" dirty="0">
              <a:ea typeface="Arial Unicode MS" panose="020B0604020202020204" pitchFamily="34" charset="-128"/>
              <a:cs typeface="Arial Unicode MS" panose="020B0604020202020204" pitchFamily="34" charset="-128"/>
            </a:endParaRPr>
          </a:p>
        </p:txBody>
      </p:sp>
      <p:sp>
        <p:nvSpPr>
          <p:cNvPr id="146" name="Rechteck 145"/>
          <p:cNvSpPr/>
          <p:nvPr/>
        </p:nvSpPr>
        <p:spPr bwMode="auto">
          <a:xfrm>
            <a:off x="6980488" y="4240231"/>
            <a:ext cx="3392549" cy="227936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b">
            <a:noAutofit/>
          </a:bodyPr>
          <a:lstStyle/>
          <a:p>
            <a:pPr algn="ctr">
              <a:lnSpc>
                <a:spcPct val="110000"/>
              </a:lnSpc>
              <a:spcBef>
                <a:spcPct val="0"/>
              </a:spcBef>
              <a:buFont typeface="Wingdings" charset="0"/>
              <a:buNone/>
            </a:pPr>
            <a:r>
              <a:rPr lang="de-DE" sz="1399" dirty="0">
                <a:ea typeface="Arial Unicode MS" panose="020B0604020202020204" pitchFamily="34" charset="-128"/>
                <a:cs typeface="Arial Unicode MS" panose="020B0604020202020204" pitchFamily="34" charset="-128"/>
              </a:rPr>
              <a:t>On </a:t>
            </a:r>
            <a:r>
              <a:rPr lang="de-DE" sz="1399" dirty="0" err="1">
                <a:ea typeface="Arial Unicode MS" panose="020B0604020202020204" pitchFamily="34" charset="-128"/>
                <a:cs typeface="Arial Unicode MS" panose="020B0604020202020204" pitchFamily="34" charset="-128"/>
              </a:rPr>
              <a:t>Premise</a:t>
            </a:r>
            <a:endParaRPr lang="de-DE" sz="1399" dirty="0">
              <a:ea typeface="Arial Unicode MS" panose="020B0604020202020204" pitchFamily="34" charset="-128"/>
              <a:cs typeface="Arial Unicode MS" panose="020B0604020202020204" pitchFamily="34" charset="-128"/>
            </a:endParaRPr>
          </a:p>
        </p:txBody>
      </p:sp>
      <p:sp>
        <p:nvSpPr>
          <p:cNvPr id="968" name="OTLSHAPE_TB_00000000000000000000000000000000_LeftEndCaps" hidden="1">
            <a:extLst>
              <a:ext uri="{FF2B5EF4-FFF2-40B4-BE49-F238E27FC236}">
                <a16:creationId xmlns:a16="http://schemas.microsoft.com/office/drawing/2014/main" xmlns="" id="{CAD66E36-886E-40C1-96A3-869FB700FE4E}"/>
              </a:ext>
            </a:extLst>
          </p:cNvPr>
          <p:cNvSpPr txBox="1"/>
          <p:nvPr>
            <p:custDataLst>
              <p:tags r:id="rId2"/>
            </p:custDataLst>
          </p:nvPr>
        </p:nvSpPr>
        <p:spPr>
          <a:xfrm>
            <a:off x="253869" y="5130087"/>
            <a:ext cx="467833" cy="304469"/>
          </a:xfrm>
          <a:prstGeom prst="rect">
            <a:avLst/>
          </a:prstGeom>
          <a:noFill/>
        </p:spPr>
        <p:txBody>
          <a:bodyPr vert="horz" wrap="none" lIns="0" tIns="0" rIns="0" bIns="0" rtlCol="0" anchor="ctr" anchorCtr="0">
            <a:spAutoFit/>
          </a:bodyPr>
          <a:lstStyle/>
          <a:p>
            <a:pPr algn="ctr">
              <a:lnSpc>
                <a:spcPct val="110000"/>
              </a:lnSpc>
            </a:pPr>
            <a:r>
              <a:rPr lang="en-US" sz="1799" b="1">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017</a:t>
            </a:r>
            <a:endParaRPr lang="en-US" sz="1799" b="1"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2" name="OTLSHAPE_T_9d0697827ba548778f994b1f89e29d9d_ShapePercentage" hidden="1">
            <a:extLst>
              <a:ext uri="{FF2B5EF4-FFF2-40B4-BE49-F238E27FC236}">
                <a16:creationId xmlns:a16="http://schemas.microsoft.com/office/drawing/2014/main" xmlns="" id="{175543EF-07AF-450A-A1B1-0816EAC43753}"/>
              </a:ext>
            </a:extLst>
          </p:cNvPr>
          <p:cNvSpPr/>
          <p:nvPr>
            <p:custDataLst>
              <p:tags r:id="rId3"/>
            </p:custDataLst>
          </p:nvPr>
        </p:nvSpPr>
        <p:spPr bwMode="auto">
          <a:xfrm>
            <a:off x="1276287" y="951882"/>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03" name="OTLSHAPE_T_9d0697827ba548778f994b1f89e29d9d_Duration" hidden="1">
            <a:extLst>
              <a:ext uri="{FF2B5EF4-FFF2-40B4-BE49-F238E27FC236}">
                <a16:creationId xmlns:a16="http://schemas.microsoft.com/office/drawing/2014/main" xmlns="" id="{F83D7EE8-47CA-4ED7-9A36-011CD1326471}"/>
              </a:ext>
            </a:extLst>
          </p:cNvPr>
          <p:cNvSpPr txBox="1"/>
          <p:nvPr>
            <p:custDataLst>
              <p:tags r:id="rId4"/>
            </p:custDataLst>
          </p:nvPr>
        </p:nvSpPr>
        <p:spPr>
          <a:xfrm>
            <a:off x="0" y="1372190"/>
            <a:ext cx="393495" cy="169150"/>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4" name="OTLSHAPE_T_9d0697827ba548778f994b1f89e29d9d_TextPercentage" hidden="1">
            <a:extLst>
              <a:ext uri="{FF2B5EF4-FFF2-40B4-BE49-F238E27FC236}">
                <a16:creationId xmlns:a16="http://schemas.microsoft.com/office/drawing/2014/main" xmlns="" id="{DC02D616-2FEE-4F1A-9CE1-1B32B565441D}"/>
              </a:ext>
            </a:extLst>
          </p:cNvPr>
          <p:cNvSpPr txBox="1"/>
          <p:nvPr>
            <p:custDataLst>
              <p:tags r:id="rId5"/>
            </p:custDataLst>
          </p:nvPr>
        </p:nvSpPr>
        <p:spPr>
          <a:xfrm>
            <a:off x="0" y="1527099"/>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5" name="OTLSHAPE_T_9d0697827ba548778f994b1f89e29d9d_StartDate" hidden="1">
            <a:extLst>
              <a:ext uri="{FF2B5EF4-FFF2-40B4-BE49-F238E27FC236}">
                <a16:creationId xmlns:a16="http://schemas.microsoft.com/office/drawing/2014/main" xmlns="" id="{07867082-9FF8-47F6-A724-11CA6350905A}"/>
              </a:ext>
            </a:extLst>
          </p:cNvPr>
          <p:cNvSpPr txBox="1"/>
          <p:nvPr>
            <p:custDataLst>
              <p:tags r:id="rId6"/>
            </p:custDataLst>
          </p:nvPr>
        </p:nvSpPr>
        <p:spPr>
          <a:xfrm>
            <a:off x="0" y="1527099"/>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6" name="OTLSHAPE_T_9d0697827ba548778f994b1f89e29d9d_EndDate" hidden="1">
            <a:extLst>
              <a:ext uri="{FF2B5EF4-FFF2-40B4-BE49-F238E27FC236}">
                <a16:creationId xmlns:a16="http://schemas.microsoft.com/office/drawing/2014/main" xmlns="" id="{12193562-8CAB-4200-BFA8-E884875D6782}"/>
              </a:ext>
            </a:extLst>
          </p:cNvPr>
          <p:cNvSpPr txBox="1"/>
          <p:nvPr>
            <p:custDataLst>
              <p:tags r:id="rId7"/>
            </p:custDataLst>
          </p:nvPr>
        </p:nvSpPr>
        <p:spPr>
          <a:xfrm>
            <a:off x="0" y="1527099"/>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0" name="OTLSHAPE_T_1866601afc0b4c8ab57a01d059174bf3_ShapePercentage" hidden="1">
            <a:extLst>
              <a:ext uri="{FF2B5EF4-FFF2-40B4-BE49-F238E27FC236}">
                <a16:creationId xmlns:a16="http://schemas.microsoft.com/office/drawing/2014/main" xmlns="" id="{13D858C0-4729-4824-B647-C7753C815DFA}"/>
              </a:ext>
            </a:extLst>
          </p:cNvPr>
          <p:cNvSpPr/>
          <p:nvPr>
            <p:custDataLst>
              <p:tags r:id="rId8"/>
            </p:custDataLst>
          </p:nvPr>
        </p:nvSpPr>
        <p:spPr bwMode="auto">
          <a:xfrm>
            <a:off x="2184035" y="1373290"/>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1" name="OTLSHAPE_T_1866601afc0b4c8ab57a01d059174bf3_Duration" hidden="1">
            <a:extLst>
              <a:ext uri="{FF2B5EF4-FFF2-40B4-BE49-F238E27FC236}">
                <a16:creationId xmlns:a16="http://schemas.microsoft.com/office/drawing/2014/main" xmlns="" id="{B7C242EA-E44B-43C9-99B4-07847899D1F2}"/>
              </a:ext>
            </a:extLst>
          </p:cNvPr>
          <p:cNvSpPr txBox="1"/>
          <p:nvPr>
            <p:custDataLst>
              <p:tags r:id="rId9"/>
            </p:custDataLst>
          </p:nvPr>
        </p:nvSpPr>
        <p:spPr>
          <a:xfrm>
            <a:off x="0" y="1776423"/>
            <a:ext cx="393495" cy="169150"/>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2" name="OTLSHAPE_T_1866601afc0b4c8ab57a01d059174bf3_TextPercentage" hidden="1">
            <a:extLst>
              <a:ext uri="{FF2B5EF4-FFF2-40B4-BE49-F238E27FC236}">
                <a16:creationId xmlns:a16="http://schemas.microsoft.com/office/drawing/2014/main" xmlns="" id="{B8E19359-186B-4058-9145-EA5450EB6BFB}"/>
              </a:ext>
            </a:extLst>
          </p:cNvPr>
          <p:cNvSpPr txBox="1"/>
          <p:nvPr>
            <p:custDataLst>
              <p:tags r:id="rId10"/>
            </p:custDataLst>
          </p:nvPr>
        </p:nvSpPr>
        <p:spPr>
          <a:xfrm>
            <a:off x="0" y="1931331"/>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3" name="OTLSHAPE_T_1866601afc0b4c8ab57a01d059174bf3_StartDate" hidden="1">
            <a:extLst>
              <a:ext uri="{FF2B5EF4-FFF2-40B4-BE49-F238E27FC236}">
                <a16:creationId xmlns:a16="http://schemas.microsoft.com/office/drawing/2014/main" xmlns="" id="{141723DE-F7F5-4F79-8CE3-4EF5EF43B219}"/>
              </a:ext>
            </a:extLst>
          </p:cNvPr>
          <p:cNvSpPr txBox="1"/>
          <p:nvPr>
            <p:custDataLst>
              <p:tags r:id="rId11"/>
            </p:custDataLst>
          </p:nvPr>
        </p:nvSpPr>
        <p:spPr>
          <a:xfrm>
            <a:off x="0" y="1931331"/>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4" name="OTLSHAPE_T_1866601afc0b4c8ab57a01d059174bf3_EndDate" hidden="1">
            <a:extLst>
              <a:ext uri="{FF2B5EF4-FFF2-40B4-BE49-F238E27FC236}">
                <a16:creationId xmlns:a16="http://schemas.microsoft.com/office/drawing/2014/main" xmlns="" id="{CD2B9ED5-1AFF-403C-92D6-9B62AFDB1760}"/>
              </a:ext>
            </a:extLst>
          </p:cNvPr>
          <p:cNvSpPr txBox="1"/>
          <p:nvPr>
            <p:custDataLst>
              <p:tags r:id="rId12"/>
            </p:custDataLst>
          </p:nvPr>
        </p:nvSpPr>
        <p:spPr>
          <a:xfrm>
            <a:off x="0" y="1931331"/>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8" name="OTLSHAPE_T_f95f11289efe4755a25d0d47a7c238b3_ShapePercentage" hidden="1">
            <a:extLst>
              <a:ext uri="{FF2B5EF4-FFF2-40B4-BE49-F238E27FC236}">
                <a16:creationId xmlns:a16="http://schemas.microsoft.com/office/drawing/2014/main" xmlns="" id="{5EBABA58-AECA-4EAA-818A-73A3EF2F9658}"/>
              </a:ext>
            </a:extLst>
          </p:cNvPr>
          <p:cNvSpPr/>
          <p:nvPr>
            <p:custDataLst>
              <p:tags r:id="rId13"/>
            </p:custDataLst>
          </p:nvPr>
        </p:nvSpPr>
        <p:spPr bwMode="auto">
          <a:xfrm>
            <a:off x="2184035" y="1870840"/>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9" name="OTLSHAPE_T_f95f11289efe4755a25d0d47a7c238b3_Duration" hidden="1">
            <a:extLst>
              <a:ext uri="{FF2B5EF4-FFF2-40B4-BE49-F238E27FC236}">
                <a16:creationId xmlns:a16="http://schemas.microsoft.com/office/drawing/2014/main" xmlns="" id="{991A1656-E0D5-4D3F-BFE8-B71A5BCD83B8}"/>
              </a:ext>
            </a:extLst>
          </p:cNvPr>
          <p:cNvSpPr txBox="1"/>
          <p:nvPr>
            <p:custDataLst>
              <p:tags r:id="rId14"/>
            </p:custDataLst>
          </p:nvPr>
        </p:nvSpPr>
        <p:spPr>
          <a:xfrm>
            <a:off x="0" y="2180657"/>
            <a:ext cx="393495" cy="169150"/>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0" name="OTLSHAPE_T_f95f11289efe4755a25d0d47a7c238b3_TextPercentage" hidden="1">
            <a:extLst>
              <a:ext uri="{FF2B5EF4-FFF2-40B4-BE49-F238E27FC236}">
                <a16:creationId xmlns:a16="http://schemas.microsoft.com/office/drawing/2014/main" xmlns="" id="{E5ED491C-D154-400F-AEB2-8D8DEFAF3140}"/>
              </a:ext>
            </a:extLst>
          </p:cNvPr>
          <p:cNvSpPr txBox="1"/>
          <p:nvPr>
            <p:custDataLst>
              <p:tags r:id="rId15"/>
            </p:custDataLst>
          </p:nvPr>
        </p:nvSpPr>
        <p:spPr>
          <a:xfrm>
            <a:off x="0" y="2335564"/>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1" name="OTLSHAPE_T_f95f11289efe4755a25d0d47a7c238b3_StartDate" hidden="1">
            <a:extLst>
              <a:ext uri="{FF2B5EF4-FFF2-40B4-BE49-F238E27FC236}">
                <a16:creationId xmlns:a16="http://schemas.microsoft.com/office/drawing/2014/main" xmlns="" id="{3D1CFD0A-5399-4508-A23C-23148EB58D73}"/>
              </a:ext>
            </a:extLst>
          </p:cNvPr>
          <p:cNvSpPr txBox="1"/>
          <p:nvPr>
            <p:custDataLst>
              <p:tags r:id="rId16"/>
            </p:custDataLst>
          </p:nvPr>
        </p:nvSpPr>
        <p:spPr>
          <a:xfrm>
            <a:off x="0" y="2335564"/>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2" name="OTLSHAPE_T_f95f11289efe4755a25d0d47a7c238b3_EndDate" hidden="1">
            <a:extLst>
              <a:ext uri="{FF2B5EF4-FFF2-40B4-BE49-F238E27FC236}">
                <a16:creationId xmlns:a16="http://schemas.microsoft.com/office/drawing/2014/main" xmlns="" id="{48760F4B-77BE-4AA0-A4BF-612553EE85FE}"/>
              </a:ext>
            </a:extLst>
          </p:cNvPr>
          <p:cNvSpPr txBox="1"/>
          <p:nvPr>
            <p:custDataLst>
              <p:tags r:id="rId17"/>
            </p:custDataLst>
          </p:nvPr>
        </p:nvSpPr>
        <p:spPr>
          <a:xfrm>
            <a:off x="0" y="2335564"/>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6" name="OTLSHAPE_T_789fca074aa04b08bd72d547570510cd_ShapePercentage" hidden="1">
            <a:extLst>
              <a:ext uri="{FF2B5EF4-FFF2-40B4-BE49-F238E27FC236}">
                <a16:creationId xmlns:a16="http://schemas.microsoft.com/office/drawing/2014/main" xmlns="" id="{8F9E001B-5277-4D78-805C-68429F6B04B1}"/>
              </a:ext>
            </a:extLst>
          </p:cNvPr>
          <p:cNvSpPr/>
          <p:nvPr>
            <p:custDataLst>
              <p:tags r:id="rId18"/>
            </p:custDataLst>
          </p:nvPr>
        </p:nvSpPr>
        <p:spPr bwMode="auto">
          <a:xfrm>
            <a:off x="4777604" y="2292247"/>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27" name="OTLSHAPE_T_789fca074aa04b08bd72d547570510cd_Duration" hidden="1">
            <a:extLst>
              <a:ext uri="{FF2B5EF4-FFF2-40B4-BE49-F238E27FC236}">
                <a16:creationId xmlns:a16="http://schemas.microsoft.com/office/drawing/2014/main" xmlns="" id="{8B494926-AB09-42EF-9B13-A0A0C7C92996}"/>
              </a:ext>
            </a:extLst>
          </p:cNvPr>
          <p:cNvSpPr txBox="1"/>
          <p:nvPr>
            <p:custDataLst>
              <p:tags r:id="rId19"/>
            </p:custDataLst>
          </p:nvPr>
        </p:nvSpPr>
        <p:spPr>
          <a:xfrm>
            <a:off x="0" y="2447156"/>
            <a:ext cx="393495" cy="169150"/>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8" name="OTLSHAPE_T_789fca074aa04b08bd72d547570510cd_TextPercentage" hidden="1">
            <a:extLst>
              <a:ext uri="{FF2B5EF4-FFF2-40B4-BE49-F238E27FC236}">
                <a16:creationId xmlns:a16="http://schemas.microsoft.com/office/drawing/2014/main" xmlns="" id="{EBE857F7-9937-4157-8E0B-D7DC83298D2B}"/>
              </a:ext>
            </a:extLst>
          </p:cNvPr>
          <p:cNvSpPr txBox="1"/>
          <p:nvPr>
            <p:custDataLst>
              <p:tags r:id="rId20"/>
            </p:custDataLst>
          </p:nvPr>
        </p:nvSpPr>
        <p:spPr>
          <a:xfrm>
            <a:off x="0" y="2602064"/>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9" name="OTLSHAPE_T_789fca074aa04b08bd72d547570510cd_StartDate" hidden="1">
            <a:extLst>
              <a:ext uri="{FF2B5EF4-FFF2-40B4-BE49-F238E27FC236}">
                <a16:creationId xmlns:a16="http://schemas.microsoft.com/office/drawing/2014/main" xmlns="" id="{0E1ECA2A-7E19-4D2A-A87E-CEECBD2F14ED}"/>
              </a:ext>
            </a:extLst>
          </p:cNvPr>
          <p:cNvSpPr txBox="1"/>
          <p:nvPr>
            <p:custDataLst>
              <p:tags r:id="rId21"/>
            </p:custDataLst>
          </p:nvPr>
        </p:nvSpPr>
        <p:spPr>
          <a:xfrm>
            <a:off x="0" y="2602064"/>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0" name="OTLSHAPE_T_789fca074aa04b08bd72d547570510cd_EndDate" hidden="1">
            <a:extLst>
              <a:ext uri="{FF2B5EF4-FFF2-40B4-BE49-F238E27FC236}">
                <a16:creationId xmlns:a16="http://schemas.microsoft.com/office/drawing/2014/main" xmlns="" id="{61443304-197F-4941-9948-1FF0B0BF1CC1}"/>
              </a:ext>
            </a:extLst>
          </p:cNvPr>
          <p:cNvSpPr txBox="1"/>
          <p:nvPr>
            <p:custDataLst>
              <p:tags r:id="rId22"/>
            </p:custDataLst>
          </p:nvPr>
        </p:nvSpPr>
        <p:spPr>
          <a:xfrm>
            <a:off x="0" y="2602064"/>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4" name="OTLSHAPE_T_7dd834d9f90d41cfb3e03e3281773e1b_ShapePercentage" hidden="1">
            <a:extLst>
              <a:ext uri="{FF2B5EF4-FFF2-40B4-BE49-F238E27FC236}">
                <a16:creationId xmlns:a16="http://schemas.microsoft.com/office/drawing/2014/main" xmlns="" id="{0186C3D0-4B72-46EE-8DE3-45058BE3A0E2}"/>
              </a:ext>
            </a:extLst>
          </p:cNvPr>
          <p:cNvSpPr/>
          <p:nvPr>
            <p:custDataLst>
              <p:tags r:id="rId23"/>
            </p:custDataLst>
          </p:nvPr>
        </p:nvSpPr>
        <p:spPr bwMode="auto">
          <a:xfrm>
            <a:off x="6117614" y="2789798"/>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35" name="OTLSHAPE_T_7dd834d9f90d41cfb3e03e3281773e1b_Duration" hidden="1">
            <a:extLst>
              <a:ext uri="{FF2B5EF4-FFF2-40B4-BE49-F238E27FC236}">
                <a16:creationId xmlns:a16="http://schemas.microsoft.com/office/drawing/2014/main" xmlns="" id="{BCE040C3-39D8-43E6-965A-801D8867EC38}"/>
              </a:ext>
            </a:extLst>
          </p:cNvPr>
          <p:cNvSpPr txBox="1"/>
          <p:nvPr>
            <p:custDataLst>
              <p:tags r:id="rId24"/>
            </p:custDataLst>
          </p:nvPr>
        </p:nvSpPr>
        <p:spPr>
          <a:xfrm>
            <a:off x="0" y="2789798"/>
            <a:ext cx="393495" cy="169150"/>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6" name="OTLSHAPE_T_7dd834d9f90d41cfb3e03e3281773e1b_TextPercentage" hidden="1">
            <a:extLst>
              <a:ext uri="{FF2B5EF4-FFF2-40B4-BE49-F238E27FC236}">
                <a16:creationId xmlns:a16="http://schemas.microsoft.com/office/drawing/2014/main" xmlns="" id="{9E02F0CF-02E2-4091-88B5-B881C71B3437}"/>
              </a:ext>
            </a:extLst>
          </p:cNvPr>
          <p:cNvSpPr txBox="1"/>
          <p:nvPr>
            <p:custDataLst>
              <p:tags r:id="rId25"/>
            </p:custDataLst>
          </p:nvPr>
        </p:nvSpPr>
        <p:spPr>
          <a:xfrm>
            <a:off x="0" y="2944706"/>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7" name="OTLSHAPE_T_7dd834d9f90d41cfb3e03e3281773e1b_StartDate" hidden="1">
            <a:extLst>
              <a:ext uri="{FF2B5EF4-FFF2-40B4-BE49-F238E27FC236}">
                <a16:creationId xmlns:a16="http://schemas.microsoft.com/office/drawing/2014/main" xmlns="" id="{8DB6329B-3E42-4191-BCA3-789C5BAAFA2D}"/>
              </a:ext>
            </a:extLst>
          </p:cNvPr>
          <p:cNvSpPr txBox="1"/>
          <p:nvPr>
            <p:custDataLst>
              <p:tags r:id="rId26"/>
            </p:custDataLst>
          </p:nvPr>
        </p:nvSpPr>
        <p:spPr>
          <a:xfrm>
            <a:off x="0" y="2944706"/>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8" name="OTLSHAPE_T_7dd834d9f90d41cfb3e03e3281773e1b_EndDate" hidden="1">
            <a:extLst>
              <a:ext uri="{FF2B5EF4-FFF2-40B4-BE49-F238E27FC236}">
                <a16:creationId xmlns:a16="http://schemas.microsoft.com/office/drawing/2014/main" xmlns="" id="{4E37F0DF-B540-4652-B51C-221C20F8BB43}"/>
              </a:ext>
            </a:extLst>
          </p:cNvPr>
          <p:cNvSpPr txBox="1"/>
          <p:nvPr>
            <p:custDataLst>
              <p:tags r:id="rId27"/>
            </p:custDataLst>
          </p:nvPr>
        </p:nvSpPr>
        <p:spPr>
          <a:xfrm>
            <a:off x="0" y="2944706"/>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2" name="OTLSHAPE_T_ffbb008dfe224b5eb1a30d6676e2b7f2_ShapePercentage" hidden="1">
            <a:extLst>
              <a:ext uri="{FF2B5EF4-FFF2-40B4-BE49-F238E27FC236}">
                <a16:creationId xmlns:a16="http://schemas.microsoft.com/office/drawing/2014/main" xmlns="" id="{CFE5D07F-B24C-4408-A60D-6D14B0C7DC31}"/>
              </a:ext>
            </a:extLst>
          </p:cNvPr>
          <p:cNvSpPr/>
          <p:nvPr>
            <p:custDataLst>
              <p:tags r:id="rId28"/>
            </p:custDataLst>
          </p:nvPr>
        </p:nvSpPr>
        <p:spPr bwMode="auto">
          <a:xfrm>
            <a:off x="8754407" y="3257483"/>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3" name="OTLSHAPE_T_ffbb008dfe224b5eb1a30d6676e2b7f2_Duration" hidden="1">
            <a:extLst>
              <a:ext uri="{FF2B5EF4-FFF2-40B4-BE49-F238E27FC236}">
                <a16:creationId xmlns:a16="http://schemas.microsoft.com/office/drawing/2014/main" xmlns="" id="{962BFCAB-F946-4475-A9C6-465342C208DA}"/>
              </a:ext>
            </a:extLst>
          </p:cNvPr>
          <p:cNvSpPr txBox="1"/>
          <p:nvPr>
            <p:custDataLst>
              <p:tags r:id="rId29"/>
            </p:custDataLst>
          </p:nvPr>
        </p:nvSpPr>
        <p:spPr>
          <a:xfrm>
            <a:off x="0" y="3056298"/>
            <a:ext cx="393495" cy="169150"/>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0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4" name="OTLSHAPE_T_ffbb008dfe224b5eb1a30d6676e2b7f2_TextPercentage" hidden="1">
            <a:extLst>
              <a:ext uri="{FF2B5EF4-FFF2-40B4-BE49-F238E27FC236}">
                <a16:creationId xmlns:a16="http://schemas.microsoft.com/office/drawing/2014/main" xmlns="" id="{D97B88FA-7371-4E3E-A646-8DADB8D73B3A}"/>
              </a:ext>
            </a:extLst>
          </p:cNvPr>
          <p:cNvSpPr txBox="1"/>
          <p:nvPr>
            <p:custDataLst>
              <p:tags r:id="rId30"/>
            </p:custDataLst>
          </p:nvPr>
        </p:nvSpPr>
        <p:spPr>
          <a:xfrm>
            <a:off x="0" y="3211205"/>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5" name="OTLSHAPE_T_ffbb008dfe224b5eb1a30d6676e2b7f2_StartDate" hidden="1">
            <a:extLst>
              <a:ext uri="{FF2B5EF4-FFF2-40B4-BE49-F238E27FC236}">
                <a16:creationId xmlns:a16="http://schemas.microsoft.com/office/drawing/2014/main" xmlns="" id="{E78BD665-3C9E-48E8-99E2-06DDEC5388CC}"/>
              </a:ext>
            </a:extLst>
          </p:cNvPr>
          <p:cNvSpPr txBox="1"/>
          <p:nvPr>
            <p:custDataLst>
              <p:tags r:id="rId31"/>
            </p:custDataLst>
          </p:nvPr>
        </p:nvSpPr>
        <p:spPr>
          <a:xfrm>
            <a:off x="0" y="3211205"/>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6" name="OTLSHAPE_T_ffbb008dfe224b5eb1a30d6676e2b7f2_EndDate" hidden="1">
            <a:extLst>
              <a:ext uri="{FF2B5EF4-FFF2-40B4-BE49-F238E27FC236}">
                <a16:creationId xmlns:a16="http://schemas.microsoft.com/office/drawing/2014/main" xmlns="" id="{A28DFC9A-802B-42DD-A5A5-894012663C7E}"/>
              </a:ext>
            </a:extLst>
          </p:cNvPr>
          <p:cNvSpPr txBox="1"/>
          <p:nvPr>
            <p:custDataLst>
              <p:tags r:id="rId32"/>
            </p:custDataLst>
          </p:nvPr>
        </p:nvSpPr>
        <p:spPr>
          <a:xfrm>
            <a:off x="0" y="3211205"/>
            <a:ext cx="0" cy="169150"/>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84" name="Textfeld 83"/>
          <p:cNvSpPr txBox="1"/>
          <p:nvPr/>
        </p:nvSpPr>
        <p:spPr>
          <a:xfrm>
            <a:off x="49268" y="5857913"/>
            <a:ext cx="3122574" cy="1203054"/>
          </a:xfrm>
          <a:prstGeom prst="rect">
            <a:avLst/>
          </a:prstGeom>
          <a:noFill/>
        </p:spPr>
        <p:txBody>
          <a:bodyPr wrap="square" lIns="0" tIns="0" rIns="0" bIns="0" rtlCol="0">
            <a:noAutofit/>
          </a:bodyPr>
          <a:lstStyle/>
          <a:p>
            <a:pPr>
              <a:lnSpc>
                <a:spcPct val="110000"/>
              </a:lnSpc>
            </a:pPr>
            <a:endParaRPr lang="de-DE" sz="1199" dirty="0">
              <a:ea typeface="Arial Unicode MS" panose="020B0604020202020204" pitchFamily="34" charset="-128"/>
              <a:cs typeface="Arial Unicode MS" panose="020B0604020202020204" pitchFamily="34" charset="-128"/>
            </a:endParaRPr>
          </a:p>
        </p:txBody>
      </p:sp>
      <p:sp>
        <p:nvSpPr>
          <p:cNvPr id="87" name="Textfeld 86"/>
          <p:cNvSpPr txBox="1"/>
          <p:nvPr/>
        </p:nvSpPr>
        <p:spPr>
          <a:xfrm>
            <a:off x="624515" y="428185"/>
            <a:ext cx="9174781" cy="738584"/>
          </a:xfrm>
          <a:prstGeom prst="rect">
            <a:avLst/>
          </a:prstGeom>
          <a:noFill/>
        </p:spPr>
        <p:txBody>
          <a:bodyPr wrap="square" lIns="0" tIns="0" rIns="0" bIns="0" rtlCol="0">
            <a:noAutofit/>
          </a:bodyPr>
          <a:lstStyle/>
          <a:p>
            <a:pPr>
              <a:lnSpc>
                <a:spcPct val="110000"/>
              </a:lnSpc>
              <a:spcBef>
                <a:spcPct val="0"/>
              </a:spcBef>
            </a:pPr>
            <a:r>
              <a:rPr lang="de-DE" sz="2199" b="1" dirty="0" err="1">
                <a:solidFill>
                  <a:srgbClr val="00646E"/>
                </a:solidFill>
                <a:ea typeface="+mj-ea"/>
                <a:cs typeface="Arial" pitchFamily="34" charset="0"/>
              </a:rPr>
              <a:t>Architecture</a:t>
            </a:r>
            <a:r>
              <a:rPr lang="de-DE" sz="2199" b="1" dirty="0">
                <a:solidFill>
                  <a:srgbClr val="00646E"/>
                </a:solidFill>
                <a:ea typeface="+mj-ea"/>
                <a:cs typeface="Arial" pitchFamily="34" charset="0"/>
              </a:rPr>
              <a:t> </a:t>
            </a:r>
            <a:r>
              <a:rPr lang="de-DE" sz="2199" b="1" dirty="0" err="1">
                <a:solidFill>
                  <a:srgbClr val="00646E"/>
                </a:solidFill>
                <a:ea typeface="+mj-ea"/>
                <a:cs typeface="Arial" pitchFamily="34" charset="0"/>
              </a:rPr>
              <a:t>MindConnect</a:t>
            </a:r>
            <a:r>
              <a:rPr lang="de-DE" sz="2199" b="1" dirty="0">
                <a:solidFill>
                  <a:srgbClr val="00646E"/>
                </a:solidFill>
                <a:ea typeface="+mj-ea"/>
                <a:cs typeface="Arial" pitchFamily="34" charset="0"/>
              </a:rPr>
              <a:t> Integration &amp; </a:t>
            </a:r>
            <a:r>
              <a:rPr lang="de-DE" sz="2199" b="1" dirty="0" err="1">
                <a:solidFill>
                  <a:srgbClr val="00646E"/>
                </a:solidFill>
                <a:ea typeface="+mj-ea"/>
                <a:cs typeface="Arial" pitchFamily="34" charset="0"/>
              </a:rPr>
              <a:t>IoT</a:t>
            </a:r>
            <a:r>
              <a:rPr lang="de-DE" sz="2199" b="1" dirty="0">
                <a:solidFill>
                  <a:srgbClr val="00646E"/>
                </a:solidFill>
                <a:ea typeface="+mj-ea"/>
                <a:cs typeface="Arial" pitchFamily="34" charset="0"/>
              </a:rPr>
              <a:t> Extension</a:t>
            </a:r>
          </a:p>
          <a:p>
            <a:pPr>
              <a:lnSpc>
                <a:spcPct val="110000"/>
              </a:lnSpc>
              <a:spcBef>
                <a:spcPct val="0"/>
              </a:spcBef>
            </a:pPr>
            <a:r>
              <a:rPr lang="de-DE" sz="2199" dirty="0" err="1" smtClean="0">
                <a:solidFill>
                  <a:srgbClr val="00646E"/>
                </a:solidFill>
                <a:ea typeface="+mj-ea"/>
                <a:cs typeface="Arial" pitchFamily="34" charset="0"/>
              </a:rPr>
              <a:t>Usecase</a:t>
            </a:r>
            <a:r>
              <a:rPr lang="de-DE" sz="2199" dirty="0" smtClean="0">
                <a:solidFill>
                  <a:srgbClr val="00646E"/>
                </a:solidFill>
                <a:ea typeface="+mj-ea"/>
                <a:cs typeface="Arial" pitchFamily="34" charset="0"/>
              </a:rPr>
              <a:t> </a:t>
            </a:r>
            <a:r>
              <a:rPr lang="de-DE" sz="2199" dirty="0">
                <a:solidFill>
                  <a:srgbClr val="00646E"/>
                </a:solidFill>
                <a:ea typeface="+mj-ea"/>
                <a:cs typeface="Arial" pitchFamily="34" charset="0"/>
              </a:rPr>
              <a:t>1: </a:t>
            </a:r>
            <a:r>
              <a:rPr lang="de-DE" sz="2199" dirty="0" err="1">
                <a:solidFill>
                  <a:srgbClr val="00646E"/>
                </a:solidFill>
                <a:ea typeface="+mj-ea"/>
                <a:cs typeface="Arial" pitchFamily="34" charset="0"/>
              </a:rPr>
              <a:t>Timeseries</a:t>
            </a:r>
            <a:r>
              <a:rPr lang="de-DE" sz="2199" dirty="0">
                <a:solidFill>
                  <a:srgbClr val="00646E"/>
                </a:solidFill>
                <a:ea typeface="+mj-ea"/>
                <a:cs typeface="Arial" pitchFamily="34" charset="0"/>
              </a:rPr>
              <a:t> Upload</a:t>
            </a:r>
          </a:p>
        </p:txBody>
      </p:sp>
      <p:sp>
        <p:nvSpPr>
          <p:cNvPr id="86" name="Rechteck 85"/>
          <p:cNvSpPr/>
          <p:nvPr/>
        </p:nvSpPr>
        <p:spPr>
          <a:xfrm>
            <a:off x="555487" y="1230220"/>
            <a:ext cx="9817551" cy="295833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399" b="1" dirty="0">
              <a:solidFill>
                <a:prstClr val="white"/>
              </a:solidFill>
            </a:endParaRPr>
          </a:p>
        </p:txBody>
      </p:sp>
      <p:sp>
        <p:nvSpPr>
          <p:cNvPr id="88" name="Rechteck 87"/>
          <p:cNvSpPr/>
          <p:nvPr/>
        </p:nvSpPr>
        <p:spPr>
          <a:xfrm>
            <a:off x="929028" y="1373220"/>
            <a:ext cx="8992126" cy="119838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                MindSphere Core Platform</a:t>
            </a:r>
          </a:p>
        </p:txBody>
      </p:sp>
      <p:sp>
        <p:nvSpPr>
          <p:cNvPr id="89" name="Rechteck 88"/>
          <p:cNvSpPr/>
          <p:nvPr/>
        </p:nvSpPr>
        <p:spPr>
          <a:xfrm>
            <a:off x="2091815" y="2856368"/>
            <a:ext cx="6849410" cy="555980"/>
          </a:xfrm>
          <a:prstGeom prst="rect">
            <a:avLst/>
          </a:prstGeom>
          <a:solidFill>
            <a:srgbClr val="41AAC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                 </a:t>
            </a:r>
            <a:r>
              <a:rPr lang="en-US" sz="1399" b="1" dirty="0" err="1">
                <a:solidFill>
                  <a:prstClr val="white"/>
                </a:solidFill>
              </a:rPr>
              <a:t>MindConnect</a:t>
            </a:r>
            <a:r>
              <a:rPr lang="en-US" sz="1399" b="1" dirty="0">
                <a:solidFill>
                  <a:prstClr val="white"/>
                </a:solidFill>
              </a:rPr>
              <a:t> Integration</a:t>
            </a:r>
            <a:endParaRPr lang="en-US" sz="1399" dirty="0">
              <a:solidFill>
                <a:prstClr val="white"/>
              </a:solidFill>
            </a:endParaRPr>
          </a:p>
          <a:p>
            <a:pPr algn="ctr"/>
            <a:endParaRPr lang="en-US" sz="1399" b="1" dirty="0">
              <a:solidFill>
                <a:prstClr val="white"/>
              </a:solidFill>
            </a:endParaRPr>
          </a:p>
        </p:txBody>
      </p:sp>
      <p:sp>
        <p:nvSpPr>
          <p:cNvPr id="93" name="Rechteck 92"/>
          <p:cNvSpPr/>
          <p:nvPr/>
        </p:nvSpPr>
        <p:spPr>
          <a:xfrm>
            <a:off x="7221970" y="2764427"/>
            <a:ext cx="1283844" cy="440423"/>
          </a:xfrm>
          <a:prstGeom prst="rect">
            <a:avLst/>
          </a:prstGeom>
          <a:solidFill>
            <a:srgbClr val="0899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199" dirty="0">
                <a:solidFill>
                  <a:prstClr val="white"/>
                </a:solidFill>
              </a:rPr>
              <a:t>MSPH Adapter</a:t>
            </a:r>
          </a:p>
        </p:txBody>
      </p:sp>
      <p:cxnSp>
        <p:nvCxnSpPr>
          <p:cNvPr id="97" name="Gerade Verbindung mit Pfeil 96"/>
          <p:cNvCxnSpPr/>
          <p:nvPr/>
        </p:nvCxnSpPr>
        <p:spPr>
          <a:xfrm rot="5400000">
            <a:off x="5601116" y="5090361"/>
            <a:ext cx="246988" cy="1587"/>
          </a:xfrm>
          <a:prstGeom prst="straightConnector1">
            <a:avLst/>
          </a:prstGeom>
          <a:ln w="9525">
            <a:solidFill>
              <a:srgbClr val="7A7A7A"/>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8029711" y="4330699"/>
            <a:ext cx="1294726" cy="274113"/>
          </a:xfrm>
          <a:prstGeom prst="rect">
            <a:avLst/>
          </a:prstGeom>
          <a:solidFill>
            <a:srgbClr val="08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199" dirty="0">
                <a:solidFill>
                  <a:prstClr val="white"/>
                </a:solidFill>
              </a:rPr>
              <a:t>MCI Agent</a:t>
            </a:r>
          </a:p>
        </p:txBody>
      </p:sp>
      <p:sp>
        <p:nvSpPr>
          <p:cNvPr id="101" name="Wolke 100"/>
          <p:cNvSpPr/>
          <p:nvPr/>
        </p:nvSpPr>
        <p:spPr>
          <a:xfrm>
            <a:off x="4579985" y="4681443"/>
            <a:ext cx="2297503" cy="1167522"/>
          </a:xfrm>
          <a:prstGeom prst="cloud">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Cloud Systems (e.g. AWS S3)</a:t>
            </a:r>
          </a:p>
        </p:txBody>
      </p:sp>
      <p:sp>
        <p:nvSpPr>
          <p:cNvPr id="114" name="Rechteck 113"/>
          <p:cNvSpPr/>
          <p:nvPr/>
        </p:nvSpPr>
        <p:spPr>
          <a:xfrm>
            <a:off x="2091814" y="3549122"/>
            <a:ext cx="2133139" cy="531619"/>
          </a:xfrm>
          <a:prstGeom prst="rect">
            <a:avLst/>
          </a:prstGeom>
          <a:solidFill>
            <a:srgbClr val="41AAC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err="1">
                <a:solidFill>
                  <a:prstClr val="white"/>
                </a:solidFill>
              </a:rPr>
              <a:t>MindConnect</a:t>
            </a:r>
            <a:r>
              <a:rPr lang="en-US" sz="1399" b="1" dirty="0">
                <a:solidFill>
                  <a:prstClr val="white"/>
                </a:solidFill>
              </a:rPr>
              <a:t> </a:t>
            </a:r>
            <a:r>
              <a:rPr lang="en-US" sz="1399" b="1" dirty="0" err="1">
                <a:solidFill>
                  <a:prstClr val="white"/>
                </a:solidFill>
              </a:rPr>
              <a:t>IoT</a:t>
            </a:r>
            <a:r>
              <a:rPr lang="en-US" sz="1399" b="1" dirty="0">
                <a:solidFill>
                  <a:prstClr val="white"/>
                </a:solidFill>
              </a:rPr>
              <a:t> Extension</a:t>
            </a:r>
            <a:endParaRPr lang="en-US" sz="1399" dirty="0">
              <a:solidFill>
                <a:prstClr val="white"/>
              </a:solidFill>
            </a:endParaRPr>
          </a:p>
        </p:txBody>
      </p:sp>
      <p:sp>
        <p:nvSpPr>
          <p:cNvPr id="116" name="Rechteck 115"/>
          <p:cNvSpPr/>
          <p:nvPr/>
        </p:nvSpPr>
        <p:spPr>
          <a:xfrm>
            <a:off x="2123566" y="4336094"/>
            <a:ext cx="1290382" cy="392281"/>
          </a:xfrm>
          <a:prstGeom prst="rect">
            <a:avLst/>
          </a:prstGeom>
          <a:solidFill>
            <a:srgbClr val="08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199" dirty="0" err="1">
                <a:solidFill>
                  <a:prstClr val="white"/>
                </a:solidFill>
              </a:rPr>
              <a:t>Cumolocity</a:t>
            </a:r>
            <a:r>
              <a:rPr lang="en-US" sz="1199" dirty="0">
                <a:solidFill>
                  <a:prstClr val="white"/>
                </a:solidFill>
              </a:rPr>
              <a:t> Agent</a:t>
            </a:r>
          </a:p>
        </p:txBody>
      </p:sp>
      <p:cxnSp>
        <p:nvCxnSpPr>
          <p:cNvPr id="117" name="Gerade Verbindung mit Pfeil 116"/>
          <p:cNvCxnSpPr/>
          <p:nvPr/>
        </p:nvCxnSpPr>
        <p:spPr>
          <a:xfrm flipV="1">
            <a:off x="2760522" y="4070172"/>
            <a:ext cx="0" cy="255352"/>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mit Pfeil 99"/>
          <p:cNvCxnSpPr>
            <a:endCxn id="116" idx="2"/>
          </p:cNvCxnSpPr>
          <p:nvPr/>
        </p:nvCxnSpPr>
        <p:spPr>
          <a:xfrm flipV="1">
            <a:off x="2768757" y="4728375"/>
            <a:ext cx="0" cy="380219"/>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19" name="Gruppieren 118"/>
          <p:cNvGrpSpPr/>
          <p:nvPr/>
        </p:nvGrpSpPr>
        <p:grpSpPr>
          <a:xfrm>
            <a:off x="540254" y="4973019"/>
            <a:ext cx="3919886" cy="1003844"/>
            <a:chOff x="1460673" y="4260437"/>
            <a:chExt cx="2755813" cy="654463"/>
          </a:xfrm>
        </p:grpSpPr>
        <p:sp>
          <p:nvSpPr>
            <p:cNvPr id="126" name="Diagonal liegende Ecken des Rechtecks abrunden 125"/>
            <p:cNvSpPr/>
            <p:nvPr/>
          </p:nvSpPr>
          <p:spPr>
            <a:xfrm>
              <a:off x="1460673" y="4260437"/>
              <a:ext cx="2755813" cy="654463"/>
            </a:xfrm>
            <a:prstGeom prst="round2DiagRect">
              <a:avLst>
                <a:gd name="adj1" fmla="val 7935"/>
                <a:gd name="adj2" fmla="val 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0" rIns="91392" bIns="45696" numCol="1" spcCol="0" rtlCol="0" fromWordArt="0" anchor="t" anchorCtr="0" forceAA="0" compatLnSpc="1">
              <a:prstTxWarp prst="textNoShape">
                <a:avLst/>
              </a:prstTxWarp>
              <a:noAutofit/>
            </a:bodyPr>
            <a:lstStyle/>
            <a:p>
              <a:pPr algn="ctr"/>
              <a:r>
                <a:rPr lang="en-US" sz="1399" b="1" dirty="0" err="1">
                  <a:solidFill>
                    <a:prstClr val="white">
                      <a:lumMod val="50000"/>
                    </a:prstClr>
                  </a:solidFill>
                </a:rPr>
                <a:t>IoT</a:t>
              </a:r>
              <a:r>
                <a:rPr lang="en-US" sz="1399" b="1" dirty="0">
                  <a:solidFill>
                    <a:prstClr val="white">
                      <a:lumMod val="50000"/>
                    </a:prstClr>
                  </a:solidFill>
                </a:rPr>
                <a:t> Devices supported by </a:t>
              </a:r>
              <a:r>
                <a:rPr lang="en-US" sz="1399" b="1" dirty="0" err="1">
                  <a:solidFill>
                    <a:prstClr val="white">
                      <a:lumMod val="50000"/>
                    </a:prstClr>
                  </a:solidFill>
                </a:rPr>
                <a:t>Cumolocity</a:t>
              </a:r>
              <a:endParaRPr lang="en-US" sz="1399" b="1" dirty="0">
                <a:solidFill>
                  <a:prstClr val="white">
                    <a:lumMod val="50000"/>
                  </a:prstClr>
                </a:solidFill>
              </a:endParaRPr>
            </a:p>
          </p:txBody>
        </p:sp>
        <p:pic>
          <p:nvPicPr>
            <p:cNvPr id="120" name="Grafik 119"/>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2325579" y="4490095"/>
              <a:ext cx="359475" cy="359475"/>
            </a:xfrm>
            <a:prstGeom prst="rect">
              <a:avLst/>
            </a:prstGeom>
          </p:spPr>
        </p:pic>
        <p:pic>
          <p:nvPicPr>
            <p:cNvPr id="121" name="Grafik 120"/>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930343" y="4514504"/>
              <a:ext cx="359475" cy="359475"/>
            </a:xfrm>
            <a:prstGeom prst="rect">
              <a:avLst/>
            </a:prstGeom>
          </p:spPr>
        </p:pic>
        <p:pic>
          <p:nvPicPr>
            <p:cNvPr id="122" name="Grafik 121"/>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2740033" y="4537719"/>
              <a:ext cx="359475" cy="359475"/>
            </a:xfrm>
            <a:prstGeom prst="rect">
              <a:avLst/>
            </a:prstGeom>
          </p:spPr>
        </p:pic>
        <p:pic>
          <p:nvPicPr>
            <p:cNvPr id="123" name="Grafik 122"/>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548058" y="4504058"/>
              <a:ext cx="306273" cy="355881"/>
            </a:xfrm>
            <a:prstGeom prst="rect">
              <a:avLst/>
            </a:prstGeom>
          </p:spPr>
        </p:pic>
        <p:pic>
          <p:nvPicPr>
            <p:cNvPr id="124" name="Grafik 123"/>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3196790" y="4490095"/>
              <a:ext cx="355881" cy="347254"/>
            </a:xfrm>
            <a:prstGeom prst="rect">
              <a:avLst/>
            </a:prstGeom>
          </p:spPr>
        </p:pic>
        <p:pic>
          <p:nvPicPr>
            <p:cNvPr id="125" name="Grafik 124"/>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3662703" y="4561606"/>
              <a:ext cx="355881" cy="281110"/>
            </a:xfrm>
            <a:prstGeom prst="rect">
              <a:avLst/>
            </a:prstGeom>
          </p:spPr>
        </p:pic>
      </p:grpSp>
      <p:sp>
        <p:nvSpPr>
          <p:cNvPr id="130" name="Rechteck 13"/>
          <p:cNvSpPr>
            <a:spLocks noChangeAspect="1"/>
          </p:cNvSpPr>
          <p:nvPr/>
        </p:nvSpPr>
        <p:spPr>
          <a:xfrm>
            <a:off x="8017919" y="4622570"/>
            <a:ext cx="1309958" cy="498646"/>
          </a:xfrm>
          <a:prstGeom prst="rect">
            <a:avLst/>
          </a:prstGeom>
          <a:solidFill>
            <a:srgbClr val="0899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199" dirty="0">
                <a:solidFill>
                  <a:prstClr val="white"/>
                </a:solidFill>
              </a:rPr>
              <a:t>MCI Adapter</a:t>
            </a:r>
          </a:p>
        </p:txBody>
      </p:sp>
      <p:sp>
        <p:nvSpPr>
          <p:cNvPr id="134" name="Rechteck 13"/>
          <p:cNvSpPr>
            <a:spLocks noChangeAspect="1"/>
          </p:cNvSpPr>
          <p:nvPr/>
        </p:nvSpPr>
        <p:spPr>
          <a:xfrm>
            <a:off x="5211337" y="3274264"/>
            <a:ext cx="1028460" cy="391492"/>
          </a:xfrm>
          <a:prstGeom prst="rect">
            <a:avLst/>
          </a:prstGeom>
          <a:solidFill>
            <a:srgbClr val="0899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199" dirty="0">
                <a:solidFill>
                  <a:prstClr val="white"/>
                </a:solidFill>
              </a:rPr>
              <a:t>MCI APP</a:t>
            </a:r>
          </a:p>
        </p:txBody>
      </p:sp>
      <p:cxnSp>
        <p:nvCxnSpPr>
          <p:cNvPr id="142" name="Gerade Verbindung mit Pfeil 141"/>
          <p:cNvCxnSpPr>
            <a:stCxn id="101" idx="3"/>
            <a:endCxn id="134" idx="2"/>
          </p:cNvCxnSpPr>
          <p:nvPr/>
        </p:nvCxnSpPr>
        <p:spPr bwMode="auto">
          <a:xfrm flipH="1" flipV="1">
            <a:off x="5725569" y="3665757"/>
            <a:ext cx="3169" cy="1082440"/>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7" name="Rechteck 146"/>
          <p:cNvSpPr/>
          <p:nvPr/>
        </p:nvSpPr>
        <p:spPr bwMode="auto">
          <a:xfrm>
            <a:off x="8029711" y="5137811"/>
            <a:ext cx="1294726" cy="974626"/>
          </a:xfrm>
          <a:prstGeom prst="rect">
            <a:avLst/>
          </a:prstGeom>
          <a:solidFill>
            <a:schemeClr val="tx1">
              <a:lumMod val="40000"/>
              <a:lumOff val="60000"/>
            </a:schemeClr>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IT/OT Systems</a:t>
            </a:r>
            <a:br>
              <a:rPr lang="en-US" sz="1399" b="1" dirty="0">
                <a:solidFill>
                  <a:prstClr val="white"/>
                </a:solidFill>
              </a:rPr>
            </a:br>
            <a:r>
              <a:rPr lang="en-US" sz="1399" b="1" dirty="0">
                <a:solidFill>
                  <a:prstClr val="white"/>
                </a:solidFill>
              </a:rPr>
              <a:t>(</a:t>
            </a:r>
            <a:r>
              <a:rPr lang="en-US" sz="1399" b="1" dirty="0" err="1">
                <a:solidFill>
                  <a:prstClr val="white"/>
                </a:solidFill>
              </a:rPr>
              <a:t>e.g</a:t>
            </a:r>
            <a:r>
              <a:rPr lang="en-US" sz="1399" b="1" dirty="0">
                <a:solidFill>
                  <a:prstClr val="white"/>
                </a:solidFill>
              </a:rPr>
              <a:t> SAP)</a:t>
            </a:r>
          </a:p>
        </p:txBody>
      </p:sp>
      <p:sp>
        <p:nvSpPr>
          <p:cNvPr id="153" name="Rechteck 152"/>
          <p:cNvSpPr/>
          <p:nvPr/>
        </p:nvSpPr>
        <p:spPr bwMode="auto">
          <a:xfrm>
            <a:off x="550726" y="6250217"/>
            <a:ext cx="562763" cy="167514"/>
          </a:xfrm>
          <a:prstGeom prst="rect">
            <a:avLst/>
          </a:prstGeom>
          <a:solidFill>
            <a:srgbClr val="0899CC"/>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lnSpc>
                <a:spcPct val="110000"/>
              </a:lnSpc>
              <a:buFont typeface="Wingdings" charset="0"/>
              <a:buNone/>
            </a:pPr>
            <a:endParaRPr lang="de-DE" sz="900" dirty="0">
              <a:solidFill>
                <a:prstClr val="white"/>
              </a:solidFill>
            </a:endParaRPr>
          </a:p>
        </p:txBody>
      </p:sp>
      <p:sp>
        <p:nvSpPr>
          <p:cNvPr id="155" name="Textfeld 154"/>
          <p:cNvSpPr txBox="1"/>
          <p:nvPr/>
        </p:nvSpPr>
        <p:spPr>
          <a:xfrm>
            <a:off x="1209642" y="6221347"/>
            <a:ext cx="913924" cy="257298"/>
          </a:xfrm>
          <a:prstGeom prst="rect">
            <a:avLst/>
          </a:prstGeom>
          <a:noFill/>
        </p:spPr>
        <p:txBody>
          <a:bodyPr wrap="none" lIns="0" tIns="0" rIns="0" bIns="0" rtlCol="0">
            <a:noAutofit/>
          </a:bodyPr>
          <a:lstStyle/>
          <a:p>
            <a:pPr>
              <a:lnSpc>
                <a:spcPct val="110000"/>
              </a:lnSpc>
            </a:pPr>
            <a:r>
              <a:rPr lang="de-DE" sz="1199" dirty="0" err="1">
                <a:ea typeface="Arial Unicode MS" panose="020B0604020202020204" pitchFamily="34" charset="-128"/>
                <a:cs typeface="Arial Unicode MS" panose="020B0604020202020204" pitchFamily="34" charset="-128"/>
              </a:rPr>
              <a:t>Developed</a:t>
            </a:r>
            <a:r>
              <a:rPr lang="de-DE" sz="1199" dirty="0">
                <a:ea typeface="Arial Unicode MS" panose="020B0604020202020204" pitchFamily="34" charset="-128"/>
                <a:cs typeface="Arial Unicode MS" panose="020B0604020202020204" pitchFamily="34" charset="-128"/>
              </a:rPr>
              <a:t> </a:t>
            </a:r>
            <a:r>
              <a:rPr lang="de-DE" sz="1199" dirty="0" err="1">
                <a:ea typeface="Arial Unicode MS" panose="020B0604020202020204" pitchFamily="34" charset="-128"/>
                <a:cs typeface="Arial Unicode MS" panose="020B0604020202020204" pitchFamily="34" charset="-128"/>
              </a:rPr>
              <a:t>by</a:t>
            </a:r>
            <a:r>
              <a:rPr lang="de-DE" sz="1199" dirty="0">
                <a:ea typeface="Arial Unicode MS" panose="020B0604020202020204" pitchFamily="34" charset="-128"/>
                <a:cs typeface="Arial Unicode MS" panose="020B0604020202020204" pitchFamily="34" charset="-128"/>
              </a:rPr>
              <a:t> Software AG</a:t>
            </a:r>
          </a:p>
        </p:txBody>
      </p:sp>
      <p:cxnSp>
        <p:nvCxnSpPr>
          <p:cNvPr id="157" name="Gerade Verbindung mit Pfeil 156"/>
          <p:cNvCxnSpPr>
            <a:stCxn id="99" idx="1"/>
            <a:endCxn id="134" idx="3"/>
          </p:cNvCxnSpPr>
          <p:nvPr/>
        </p:nvCxnSpPr>
        <p:spPr bwMode="auto">
          <a:xfrm rot="10800000">
            <a:off x="6239797" y="3470012"/>
            <a:ext cx="1789914" cy="997746"/>
          </a:xfrm>
          <a:prstGeom prst="bentConnector3">
            <a:avLst>
              <a:gd name="adj1" fmla="val 50000"/>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winkelte Verbindung 8"/>
          <p:cNvCxnSpPr>
            <a:stCxn id="114" idx="3"/>
            <a:endCxn id="134" idx="1"/>
          </p:cNvCxnSpPr>
          <p:nvPr/>
        </p:nvCxnSpPr>
        <p:spPr bwMode="auto">
          <a:xfrm flipV="1">
            <a:off x="4224953" y="3470011"/>
            <a:ext cx="986384" cy="344921"/>
          </a:xfrm>
          <a:prstGeom prst="bentConnector3">
            <a:avLst>
              <a:gd name="adj1" fmla="val 50000"/>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7" name="Gerade Verbindung mit Pfeil 106"/>
          <p:cNvCxnSpPr/>
          <p:nvPr/>
        </p:nvCxnSpPr>
        <p:spPr bwMode="auto">
          <a:xfrm flipV="1">
            <a:off x="7837397" y="2465098"/>
            <a:ext cx="0" cy="315084"/>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8" name="Rechteck 97"/>
          <p:cNvSpPr/>
          <p:nvPr/>
        </p:nvSpPr>
        <p:spPr>
          <a:xfrm>
            <a:off x="540255" y="6025768"/>
            <a:ext cx="581206" cy="195579"/>
          </a:xfrm>
          <a:prstGeom prst="rect">
            <a:avLst/>
          </a:prstGeom>
          <a:solidFill>
            <a:srgbClr val="41AAC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399" dirty="0">
              <a:solidFill>
                <a:prstClr val="white"/>
              </a:solidFill>
            </a:endParaRPr>
          </a:p>
        </p:txBody>
      </p:sp>
      <p:sp>
        <p:nvSpPr>
          <p:cNvPr id="102" name="Textfeld 101"/>
          <p:cNvSpPr txBox="1"/>
          <p:nvPr/>
        </p:nvSpPr>
        <p:spPr>
          <a:xfrm>
            <a:off x="1207598" y="6007367"/>
            <a:ext cx="913924" cy="257298"/>
          </a:xfrm>
          <a:prstGeom prst="rect">
            <a:avLst/>
          </a:prstGeom>
          <a:noFill/>
        </p:spPr>
        <p:txBody>
          <a:bodyPr wrap="none" lIns="0" tIns="0" rIns="0" bIns="0" rtlCol="0">
            <a:noAutofit/>
          </a:bodyPr>
          <a:lstStyle/>
          <a:p>
            <a:pPr>
              <a:lnSpc>
                <a:spcPct val="110000"/>
              </a:lnSpc>
            </a:pPr>
            <a:r>
              <a:rPr lang="de-DE" sz="1199" dirty="0" err="1">
                <a:ea typeface="Arial Unicode MS" panose="020B0604020202020204" pitchFamily="34" charset="-128"/>
                <a:cs typeface="Arial Unicode MS" panose="020B0604020202020204" pitchFamily="34" charset="-128"/>
              </a:rPr>
              <a:t>Operated</a:t>
            </a:r>
            <a:r>
              <a:rPr lang="de-DE" sz="1199" dirty="0">
                <a:ea typeface="Arial Unicode MS" panose="020B0604020202020204" pitchFamily="34" charset="-128"/>
                <a:cs typeface="Arial Unicode MS" panose="020B0604020202020204" pitchFamily="34" charset="-128"/>
              </a:rPr>
              <a:t> </a:t>
            </a:r>
            <a:r>
              <a:rPr lang="de-DE" sz="1199" dirty="0" err="1">
                <a:ea typeface="Arial Unicode MS" panose="020B0604020202020204" pitchFamily="34" charset="-128"/>
                <a:cs typeface="Arial Unicode MS" panose="020B0604020202020204" pitchFamily="34" charset="-128"/>
              </a:rPr>
              <a:t>by</a:t>
            </a:r>
            <a:r>
              <a:rPr lang="de-DE" sz="1199" dirty="0">
                <a:ea typeface="Arial Unicode MS" panose="020B0604020202020204" pitchFamily="34" charset="-128"/>
                <a:cs typeface="Arial Unicode MS" panose="020B0604020202020204" pitchFamily="34" charset="-128"/>
              </a:rPr>
              <a:t> Software AG</a:t>
            </a:r>
          </a:p>
        </p:txBody>
      </p:sp>
    </p:spTree>
    <p:custDataLst>
      <p:tags r:id="rId1"/>
    </p:custDataLst>
    <p:extLst>
      <p:ext uri="{BB962C8B-B14F-4D97-AF65-F5344CB8AC3E}">
        <p14:creationId xmlns:p14="http://schemas.microsoft.com/office/powerpoint/2010/main" val="33818713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8" name="OTLSHAPE_TB_00000000000000000000000000000000_LeftEndCaps" hidden="1">
            <a:extLst>
              <a:ext uri="{FF2B5EF4-FFF2-40B4-BE49-F238E27FC236}">
                <a16:creationId xmlns:a16="http://schemas.microsoft.com/office/drawing/2014/main" xmlns="" id="{CAD66E36-886E-40C1-96A3-869FB700FE4E}"/>
              </a:ext>
            </a:extLst>
          </p:cNvPr>
          <p:cNvSpPr txBox="1"/>
          <p:nvPr>
            <p:custDataLst>
              <p:tags r:id="rId2"/>
            </p:custDataLst>
          </p:nvPr>
        </p:nvSpPr>
        <p:spPr>
          <a:xfrm>
            <a:off x="253868" y="5130481"/>
            <a:ext cx="467833" cy="304540"/>
          </a:xfrm>
          <a:prstGeom prst="rect">
            <a:avLst/>
          </a:prstGeom>
          <a:noFill/>
        </p:spPr>
        <p:txBody>
          <a:bodyPr vert="horz" wrap="none" lIns="0" tIns="0" rIns="0" bIns="0" rtlCol="0" anchor="ctr" anchorCtr="0">
            <a:spAutoFit/>
          </a:bodyPr>
          <a:lstStyle/>
          <a:p>
            <a:pPr algn="ctr">
              <a:lnSpc>
                <a:spcPct val="110000"/>
              </a:lnSpc>
            </a:pPr>
            <a:r>
              <a:rPr lang="en-US" sz="1799" b="1">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017</a:t>
            </a:r>
            <a:endParaRPr lang="en-US" sz="1799" b="1"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2" name="OTLSHAPE_T_9d0697827ba548778f994b1f89e29d9d_ShapePercentage" hidden="1">
            <a:extLst>
              <a:ext uri="{FF2B5EF4-FFF2-40B4-BE49-F238E27FC236}">
                <a16:creationId xmlns:a16="http://schemas.microsoft.com/office/drawing/2014/main" xmlns="" id="{175543EF-07AF-450A-A1B1-0816EAC43753}"/>
              </a:ext>
            </a:extLst>
          </p:cNvPr>
          <p:cNvSpPr/>
          <p:nvPr>
            <p:custDataLst>
              <p:tags r:id="rId3"/>
            </p:custDataLst>
          </p:nvPr>
        </p:nvSpPr>
        <p:spPr bwMode="auto">
          <a:xfrm>
            <a:off x="1276287" y="951308"/>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03" name="OTLSHAPE_T_9d0697827ba548778f994b1f89e29d9d_Duration" hidden="1">
            <a:extLst>
              <a:ext uri="{FF2B5EF4-FFF2-40B4-BE49-F238E27FC236}">
                <a16:creationId xmlns:a16="http://schemas.microsoft.com/office/drawing/2014/main" xmlns="" id="{F83D7EE8-47CA-4ED7-9A36-011CD1326471}"/>
              </a:ext>
            </a:extLst>
          </p:cNvPr>
          <p:cNvSpPr txBox="1"/>
          <p:nvPr>
            <p:custDataLst>
              <p:tags r:id="rId4"/>
            </p:custDataLst>
          </p:nvPr>
        </p:nvSpPr>
        <p:spPr>
          <a:xfrm>
            <a:off x="0" y="1371714"/>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4" name="OTLSHAPE_T_9d0697827ba548778f994b1f89e29d9d_TextPercentage" hidden="1">
            <a:extLst>
              <a:ext uri="{FF2B5EF4-FFF2-40B4-BE49-F238E27FC236}">
                <a16:creationId xmlns:a16="http://schemas.microsoft.com/office/drawing/2014/main" xmlns="" id="{DC02D616-2FEE-4F1A-9CE1-1B32B565441D}"/>
              </a:ext>
            </a:extLst>
          </p:cNvPr>
          <p:cNvSpPr txBox="1"/>
          <p:nvPr>
            <p:custDataLst>
              <p:tags r:id="rId5"/>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5" name="OTLSHAPE_T_9d0697827ba548778f994b1f89e29d9d_StartDate" hidden="1">
            <a:extLst>
              <a:ext uri="{FF2B5EF4-FFF2-40B4-BE49-F238E27FC236}">
                <a16:creationId xmlns:a16="http://schemas.microsoft.com/office/drawing/2014/main" xmlns="" id="{07867082-9FF8-47F6-A724-11CA6350905A}"/>
              </a:ext>
            </a:extLst>
          </p:cNvPr>
          <p:cNvSpPr txBox="1"/>
          <p:nvPr>
            <p:custDataLst>
              <p:tags r:id="rId6"/>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6" name="OTLSHAPE_T_9d0697827ba548778f994b1f89e29d9d_EndDate" hidden="1">
            <a:extLst>
              <a:ext uri="{FF2B5EF4-FFF2-40B4-BE49-F238E27FC236}">
                <a16:creationId xmlns:a16="http://schemas.microsoft.com/office/drawing/2014/main" xmlns="" id="{12193562-8CAB-4200-BFA8-E884875D6782}"/>
              </a:ext>
            </a:extLst>
          </p:cNvPr>
          <p:cNvSpPr txBox="1"/>
          <p:nvPr>
            <p:custDataLst>
              <p:tags r:id="rId7"/>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0" name="OTLSHAPE_T_1866601afc0b4c8ab57a01d059174bf3_ShapePercentage" hidden="1">
            <a:extLst>
              <a:ext uri="{FF2B5EF4-FFF2-40B4-BE49-F238E27FC236}">
                <a16:creationId xmlns:a16="http://schemas.microsoft.com/office/drawing/2014/main" xmlns="" id="{13D858C0-4729-4824-B647-C7753C815DFA}"/>
              </a:ext>
            </a:extLst>
          </p:cNvPr>
          <p:cNvSpPr/>
          <p:nvPr>
            <p:custDataLst>
              <p:tags r:id="rId8"/>
            </p:custDataLst>
          </p:nvPr>
        </p:nvSpPr>
        <p:spPr bwMode="auto">
          <a:xfrm>
            <a:off x="2184035" y="137281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1" name="OTLSHAPE_T_1866601afc0b4c8ab57a01d059174bf3_Duration" hidden="1">
            <a:extLst>
              <a:ext uri="{FF2B5EF4-FFF2-40B4-BE49-F238E27FC236}">
                <a16:creationId xmlns:a16="http://schemas.microsoft.com/office/drawing/2014/main" xmlns="" id="{B7C242EA-E44B-43C9-99B4-07847899D1F2}"/>
              </a:ext>
            </a:extLst>
          </p:cNvPr>
          <p:cNvSpPr txBox="1"/>
          <p:nvPr>
            <p:custDataLst>
              <p:tags r:id="rId9"/>
            </p:custDataLst>
          </p:nvPr>
        </p:nvSpPr>
        <p:spPr>
          <a:xfrm>
            <a:off x="0" y="177604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2" name="OTLSHAPE_T_1866601afc0b4c8ab57a01d059174bf3_TextPercentage" hidden="1">
            <a:extLst>
              <a:ext uri="{FF2B5EF4-FFF2-40B4-BE49-F238E27FC236}">
                <a16:creationId xmlns:a16="http://schemas.microsoft.com/office/drawing/2014/main" xmlns="" id="{B8E19359-186B-4058-9145-EA5450EB6BFB}"/>
              </a:ext>
            </a:extLst>
          </p:cNvPr>
          <p:cNvSpPr txBox="1"/>
          <p:nvPr>
            <p:custDataLst>
              <p:tags r:id="rId10"/>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3" name="OTLSHAPE_T_1866601afc0b4c8ab57a01d059174bf3_StartDate" hidden="1">
            <a:extLst>
              <a:ext uri="{FF2B5EF4-FFF2-40B4-BE49-F238E27FC236}">
                <a16:creationId xmlns:a16="http://schemas.microsoft.com/office/drawing/2014/main" xmlns="" id="{141723DE-F7F5-4F79-8CE3-4EF5EF43B219}"/>
              </a:ext>
            </a:extLst>
          </p:cNvPr>
          <p:cNvSpPr txBox="1"/>
          <p:nvPr>
            <p:custDataLst>
              <p:tags r:id="rId11"/>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4" name="OTLSHAPE_T_1866601afc0b4c8ab57a01d059174bf3_EndDate" hidden="1">
            <a:extLst>
              <a:ext uri="{FF2B5EF4-FFF2-40B4-BE49-F238E27FC236}">
                <a16:creationId xmlns:a16="http://schemas.microsoft.com/office/drawing/2014/main" xmlns="" id="{CD2B9ED5-1AFF-403C-92D6-9B62AFDB1760}"/>
              </a:ext>
            </a:extLst>
          </p:cNvPr>
          <p:cNvSpPr txBox="1"/>
          <p:nvPr>
            <p:custDataLst>
              <p:tags r:id="rId12"/>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8" name="OTLSHAPE_T_f95f11289efe4755a25d0d47a7c238b3_ShapePercentage" hidden="1">
            <a:extLst>
              <a:ext uri="{FF2B5EF4-FFF2-40B4-BE49-F238E27FC236}">
                <a16:creationId xmlns:a16="http://schemas.microsoft.com/office/drawing/2014/main" xmlns="" id="{5EBABA58-AECA-4EAA-818A-73A3EF2F9658}"/>
              </a:ext>
            </a:extLst>
          </p:cNvPr>
          <p:cNvSpPr/>
          <p:nvPr>
            <p:custDataLst>
              <p:tags r:id="rId13"/>
            </p:custDataLst>
          </p:nvPr>
        </p:nvSpPr>
        <p:spPr bwMode="auto">
          <a:xfrm>
            <a:off x="2184035" y="1870479"/>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9" name="OTLSHAPE_T_f95f11289efe4755a25d0d47a7c238b3_Duration" hidden="1">
            <a:extLst>
              <a:ext uri="{FF2B5EF4-FFF2-40B4-BE49-F238E27FC236}">
                <a16:creationId xmlns:a16="http://schemas.microsoft.com/office/drawing/2014/main" xmlns="" id="{991A1656-E0D5-4D3F-BFE8-B71A5BCD83B8}"/>
              </a:ext>
            </a:extLst>
          </p:cNvPr>
          <p:cNvSpPr txBox="1"/>
          <p:nvPr>
            <p:custDataLst>
              <p:tags r:id="rId14"/>
            </p:custDataLst>
          </p:nvPr>
        </p:nvSpPr>
        <p:spPr>
          <a:xfrm>
            <a:off x="0" y="2180368"/>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0" name="OTLSHAPE_T_f95f11289efe4755a25d0d47a7c238b3_TextPercentage" hidden="1">
            <a:extLst>
              <a:ext uri="{FF2B5EF4-FFF2-40B4-BE49-F238E27FC236}">
                <a16:creationId xmlns:a16="http://schemas.microsoft.com/office/drawing/2014/main" xmlns="" id="{E5ED491C-D154-400F-AEB2-8D8DEFAF3140}"/>
              </a:ext>
            </a:extLst>
          </p:cNvPr>
          <p:cNvSpPr txBox="1"/>
          <p:nvPr>
            <p:custDataLst>
              <p:tags r:id="rId15"/>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1" name="OTLSHAPE_T_f95f11289efe4755a25d0d47a7c238b3_StartDate" hidden="1">
            <a:extLst>
              <a:ext uri="{FF2B5EF4-FFF2-40B4-BE49-F238E27FC236}">
                <a16:creationId xmlns:a16="http://schemas.microsoft.com/office/drawing/2014/main" xmlns="" id="{3D1CFD0A-5399-4508-A23C-23148EB58D73}"/>
              </a:ext>
            </a:extLst>
          </p:cNvPr>
          <p:cNvSpPr txBox="1"/>
          <p:nvPr>
            <p:custDataLst>
              <p:tags r:id="rId16"/>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2" name="OTLSHAPE_T_f95f11289efe4755a25d0d47a7c238b3_EndDate" hidden="1">
            <a:extLst>
              <a:ext uri="{FF2B5EF4-FFF2-40B4-BE49-F238E27FC236}">
                <a16:creationId xmlns:a16="http://schemas.microsoft.com/office/drawing/2014/main" xmlns="" id="{48760F4B-77BE-4AA0-A4BF-612553EE85FE}"/>
              </a:ext>
            </a:extLst>
          </p:cNvPr>
          <p:cNvSpPr txBox="1"/>
          <p:nvPr>
            <p:custDataLst>
              <p:tags r:id="rId17"/>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6" name="OTLSHAPE_T_789fca074aa04b08bd72d547570510cd_ShapePercentage" hidden="1">
            <a:extLst>
              <a:ext uri="{FF2B5EF4-FFF2-40B4-BE49-F238E27FC236}">
                <a16:creationId xmlns:a16="http://schemas.microsoft.com/office/drawing/2014/main" xmlns="" id="{8F9E001B-5277-4D78-805C-68429F6B04B1}"/>
              </a:ext>
            </a:extLst>
          </p:cNvPr>
          <p:cNvSpPr/>
          <p:nvPr>
            <p:custDataLst>
              <p:tags r:id="rId18"/>
            </p:custDataLst>
          </p:nvPr>
        </p:nvSpPr>
        <p:spPr bwMode="auto">
          <a:xfrm>
            <a:off x="4777604" y="229198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27" name="OTLSHAPE_T_789fca074aa04b08bd72d547570510cd_Duration" hidden="1">
            <a:extLst>
              <a:ext uri="{FF2B5EF4-FFF2-40B4-BE49-F238E27FC236}">
                <a16:creationId xmlns:a16="http://schemas.microsoft.com/office/drawing/2014/main" xmlns="" id="{8B494926-AB09-42EF-9B13-A0A0C7C92996}"/>
              </a:ext>
            </a:extLst>
          </p:cNvPr>
          <p:cNvSpPr txBox="1"/>
          <p:nvPr>
            <p:custDataLst>
              <p:tags r:id="rId19"/>
            </p:custDataLst>
          </p:nvPr>
        </p:nvSpPr>
        <p:spPr>
          <a:xfrm>
            <a:off x="0" y="2446929"/>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8" name="OTLSHAPE_T_789fca074aa04b08bd72d547570510cd_TextPercentage" hidden="1">
            <a:extLst>
              <a:ext uri="{FF2B5EF4-FFF2-40B4-BE49-F238E27FC236}">
                <a16:creationId xmlns:a16="http://schemas.microsoft.com/office/drawing/2014/main" xmlns="" id="{EBE857F7-9937-4157-8E0B-D7DC83298D2B}"/>
              </a:ext>
            </a:extLst>
          </p:cNvPr>
          <p:cNvSpPr txBox="1"/>
          <p:nvPr>
            <p:custDataLst>
              <p:tags r:id="rId20"/>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9" name="OTLSHAPE_T_789fca074aa04b08bd72d547570510cd_StartDate" hidden="1">
            <a:extLst>
              <a:ext uri="{FF2B5EF4-FFF2-40B4-BE49-F238E27FC236}">
                <a16:creationId xmlns:a16="http://schemas.microsoft.com/office/drawing/2014/main" xmlns="" id="{0E1ECA2A-7E19-4D2A-A87E-CEECBD2F14ED}"/>
              </a:ext>
            </a:extLst>
          </p:cNvPr>
          <p:cNvSpPr txBox="1"/>
          <p:nvPr>
            <p:custDataLst>
              <p:tags r:id="rId21"/>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0" name="OTLSHAPE_T_789fca074aa04b08bd72d547570510cd_EndDate" hidden="1">
            <a:extLst>
              <a:ext uri="{FF2B5EF4-FFF2-40B4-BE49-F238E27FC236}">
                <a16:creationId xmlns:a16="http://schemas.microsoft.com/office/drawing/2014/main" xmlns="" id="{61443304-197F-4941-9948-1FF0B0BF1CC1}"/>
              </a:ext>
            </a:extLst>
          </p:cNvPr>
          <p:cNvSpPr txBox="1"/>
          <p:nvPr>
            <p:custDataLst>
              <p:tags r:id="rId22"/>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4" name="OTLSHAPE_T_7dd834d9f90d41cfb3e03e3281773e1b_ShapePercentage" hidden="1">
            <a:extLst>
              <a:ext uri="{FF2B5EF4-FFF2-40B4-BE49-F238E27FC236}">
                <a16:creationId xmlns:a16="http://schemas.microsoft.com/office/drawing/2014/main" xmlns="" id="{0186C3D0-4B72-46EE-8DE3-45058BE3A0E2}"/>
              </a:ext>
            </a:extLst>
          </p:cNvPr>
          <p:cNvSpPr/>
          <p:nvPr>
            <p:custDataLst>
              <p:tags r:id="rId23"/>
            </p:custDataLst>
          </p:nvPr>
        </p:nvSpPr>
        <p:spPr bwMode="auto">
          <a:xfrm>
            <a:off x="6117614" y="2789650"/>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35" name="OTLSHAPE_T_7dd834d9f90d41cfb3e03e3281773e1b_Duration" hidden="1">
            <a:extLst>
              <a:ext uri="{FF2B5EF4-FFF2-40B4-BE49-F238E27FC236}">
                <a16:creationId xmlns:a16="http://schemas.microsoft.com/office/drawing/2014/main" xmlns="" id="{BCE040C3-39D8-43E6-965A-801D8867EC38}"/>
              </a:ext>
            </a:extLst>
          </p:cNvPr>
          <p:cNvSpPr txBox="1"/>
          <p:nvPr>
            <p:custDataLst>
              <p:tags r:id="rId24"/>
            </p:custDataLst>
          </p:nvPr>
        </p:nvSpPr>
        <p:spPr>
          <a:xfrm>
            <a:off x="0" y="278965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6" name="OTLSHAPE_T_7dd834d9f90d41cfb3e03e3281773e1b_TextPercentage" hidden="1">
            <a:extLst>
              <a:ext uri="{FF2B5EF4-FFF2-40B4-BE49-F238E27FC236}">
                <a16:creationId xmlns:a16="http://schemas.microsoft.com/office/drawing/2014/main" xmlns="" id="{9E02F0CF-02E2-4091-88B5-B881C71B3437}"/>
              </a:ext>
            </a:extLst>
          </p:cNvPr>
          <p:cNvSpPr txBox="1"/>
          <p:nvPr>
            <p:custDataLst>
              <p:tags r:id="rId25"/>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7" name="OTLSHAPE_T_7dd834d9f90d41cfb3e03e3281773e1b_StartDate" hidden="1">
            <a:extLst>
              <a:ext uri="{FF2B5EF4-FFF2-40B4-BE49-F238E27FC236}">
                <a16:creationId xmlns:a16="http://schemas.microsoft.com/office/drawing/2014/main" xmlns="" id="{8DB6329B-3E42-4191-BCA3-789C5BAAFA2D}"/>
              </a:ext>
            </a:extLst>
          </p:cNvPr>
          <p:cNvSpPr txBox="1"/>
          <p:nvPr>
            <p:custDataLst>
              <p:tags r:id="rId26"/>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8" name="OTLSHAPE_T_7dd834d9f90d41cfb3e03e3281773e1b_EndDate" hidden="1">
            <a:extLst>
              <a:ext uri="{FF2B5EF4-FFF2-40B4-BE49-F238E27FC236}">
                <a16:creationId xmlns:a16="http://schemas.microsoft.com/office/drawing/2014/main" xmlns="" id="{4E37F0DF-B540-4652-B51C-221C20F8BB43}"/>
              </a:ext>
            </a:extLst>
          </p:cNvPr>
          <p:cNvSpPr txBox="1"/>
          <p:nvPr>
            <p:custDataLst>
              <p:tags r:id="rId27"/>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2" name="OTLSHAPE_T_ffbb008dfe224b5eb1a30d6676e2b7f2_ShapePercentage" hidden="1">
            <a:extLst>
              <a:ext uri="{FF2B5EF4-FFF2-40B4-BE49-F238E27FC236}">
                <a16:creationId xmlns:a16="http://schemas.microsoft.com/office/drawing/2014/main" xmlns="" id="{CFE5D07F-B24C-4408-A60D-6D14B0C7DC31}"/>
              </a:ext>
            </a:extLst>
          </p:cNvPr>
          <p:cNvSpPr/>
          <p:nvPr>
            <p:custDataLst>
              <p:tags r:id="rId28"/>
            </p:custDataLst>
          </p:nvPr>
        </p:nvSpPr>
        <p:spPr bwMode="auto">
          <a:xfrm>
            <a:off x="8754407" y="3257443"/>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3" name="OTLSHAPE_T_ffbb008dfe224b5eb1a30d6676e2b7f2_Duration" hidden="1">
            <a:extLst>
              <a:ext uri="{FF2B5EF4-FFF2-40B4-BE49-F238E27FC236}">
                <a16:creationId xmlns:a16="http://schemas.microsoft.com/office/drawing/2014/main" xmlns="" id="{962BFCAB-F946-4475-A9C6-465342C208DA}"/>
              </a:ext>
            </a:extLst>
          </p:cNvPr>
          <p:cNvSpPr txBox="1"/>
          <p:nvPr>
            <p:custDataLst>
              <p:tags r:id="rId29"/>
            </p:custDataLst>
          </p:nvPr>
        </p:nvSpPr>
        <p:spPr>
          <a:xfrm>
            <a:off x="0" y="3056212"/>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0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4" name="OTLSHAPE_T_ffbb008dfe224b5eb1a30d6676e2b7f2_TextPercentage" hidden="1">
            <a:extLst>
              <a:ext uri="{FF2B5EF4-FFF2-40B4-BE49-F238E27FC236}">
                <a16:creationId xmlns:a16="http://schemas.microsoft.com/office/drawing/2014/main" xmlns="" id="{D97B88FA-7371-4E3E-A646-8DADB8D73B3A}"/>
              </a:ext>
            </a:extLst>
          </p:cNvPr>
          <p:cNvSpPr txBox="1"/>
          <p:nvPr>
            <p:custDataLst>
              <p:tags r:id="rId30"/>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5" name="OTLSHAPE_T_ffbb008dfe224b5eb1a30d6676e2b7f2_StartDate" hidden="1">
            <a:extLst>
              <a:ext uri="{FF2B5EF4-FFF2-40B4-BE49-F238E27FC236}">
                <a16:creationId xmlns:a16="http://schemas.microsoft.com/office/drawing/2014/main" xmlns="" id="{E78BD665-3C9E-48E8-99E2-06DDEC5388CC}"/>
              </a:ext>
            </a:extLst>
          </p:cNvPr>
          <p:cNvSpPr txBox="1"/>
          <p:nvPr>
            <p:custDataLst>
              <p:tags r:id="rId31"/>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6" name="OTLSHAPE_T_ffbb008dfe224b5eb1a30d6676e2b7f2_EndDate" hidden="1">
            <a:extLst>
              <a:ext uri="{FF2B5EF4-FFF2-40B4-BE49-F238E27FC236}">
                <a16:creationId xmlns:a16="http://schemas.microsoft.com/office/drawing/2014/main" xmlns="" id="{A28DFC9A-802B-42DD-A5A5-894012663C7E}"/>
              </a:ext>
            </a:extLst>
          </p:cNvPr>
          <p:cNvSpPr txBox="1"/>
          <p:nvPr>
            <p:custDataLst>
              <p:tags r:id="rId32"/>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84" name="Textfeld 83"/>
          <p:cNvSpPr txBox="1"/>
          <p:nvPr/>
        </p:nvSpPr>
        <p:spPr>
          <a:xfrm>
            <a:off x="49268" y="5858475"/>
            <a:ext cx="3122574" cy="1203333"/>
          </a:xfrm>
          <a:prstGeom prst="rect">
            <a:avLst/>
          </a:prstGeom>
          <a:noFill/>
        </p:spPr>
        <p:txBody>
          <a:bodyPr wrap="square" lIns="0" tIns="0" rIns="0" bIns="0" rtlCol="0">
            <a:noAutofit/>
          </a:bodyPr>
          <a:lstStyle/>
          <a:p>
            <a:pPr>
              <a:lnSpc>
                <a:spcPct val="110000"/>
              </a:lnSpc>
            </a:pPr>
            <a:endParaRPr lang="de-DE" sz="1199" dirty="0">
              <a:ea typeface="Arial Unicode MS" panose="020B0604020202020204" pitchFamily="34" charset="-128"/>
              <a:cs typeface="Arial Unicode MS" panose="020B0604020202020204" pitchFamily="34" charset="-128"/>
            </a:endParaRPr>
          </a:p>
        </p:txBody>
      </p:sp>
      <p:sp>
        <p:nvSpPr>
          <p:cNvPr id="87" name="Textfeld 86"/>
          <p:cNvSpPr txBox="1"/>
          <p:nvPr/>
        </p:nvSpPr>
        <p:spPr>
          <a:xfrm>
            <a:off x="624515" y="427489"/>
            <a:ext cx="9174781" cy="738755"/>
          </a:xfrm>
          <a:prstGeom prst="rect">
            <a:avLst/>
          </a:prstGeom>
          <a:noFill/>
        </p:spPr>
        <p:txBody>
          <a:bodyPr wrap="square" lIns="0" tIns="0" rIns="0" bIns="0" rtlCol="0">
            <a:noAutofit/>
          </a:bodyPr>
          <a:lstStyle/>
          <a:p>
            <a:pPr>
              <a:lnSpc>
                <a:spcPct val="110000"/>
              </a:lnSpc>
              <a:spcBef>
                <a:spcPct val="0"/>
              </a:spcBef>
            </a:pPr>
            <a:r>
              <a:rPr lang="de-DE" sz="2199" b="1" dirty="0">
                <a:solidFill>
                  <a:srgbClr val="00646E"/>
                </a:solidFill>
                <a:ea typeface="+mj-ea"/>
                <a:cs typeface="Arial" pitchFamily="34" charset="0"/>
              </a:rPr>
              <a:t>Big Picture </a:t>
            </a:r>
            <a:r>
              <a:rPr lang="de-DE" sz="2199" b="1" dirty="0" smtClean="0">
                <a:solidFill>
                  <a:srgbClr val="00646E"/>
                </a:solidFill>
                <a:ea typeface="+mj-ea"/>
                <a:cs typeface="Arial" pitchFamily="34" charset="0"/>
              </a:rPr>
              <a:t>Connectivity</a:t>
            </a:r>
            <a:endParaRPr lang="de-DE" sz="2199" b="1" dirty="0">
              <a:solidFill>
                <a:srgbClr val="00646E"/>
              </a:solidFill>
              <a:ea typeface="+mj-ea"/>
              <a:cs typeface="Arial" pitchFamily="34" charset="0"/>
            </a:endParaRPr>
          </a:p>
        </p:txBody>
      </p:sp>
      <p:sp>
        <p:nvSpPr>
          <p:cNvPr id="86" name="Rechteck 85"/>
          <p:cNvSpPr/>
          <p:nvPr/>
        </p:nvSpPr>
        <p:spPr>
          <a:xfrm>
            <a:off x="624515" y="1727293"/>
            <a:ext cx="11082915" cy="2006190"/>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399" b="1" dirty="0">
              <a:solidFill>
                <a:prstClr val="white"/>
              </a:solidFill>
            </a:endParaRPr>
          </a:p>
        </p:txBody>
      </p:sp>
      <p:sp>
        <p:nvSpPr>
          <p:cNvPr id="88" name="Rechteck 87"/>
          <p:cNvSpPr/>
          <p:nvPr/>
        </p:nvSpPr>
        <p:spPr>
          <a:xfrm>
            <a:off x="929027" y="1923637"/>
            <a:ext cx="10533103" cy="73240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Sphere Core Platform</a:t>
            </a:r>
          </a:p>
        </p:txBody>
      </p:sp>
      <p:sp>
        <p:nvSpPr>
          <p:cNvPr id="89" name="Rechteck 88"/>
          <p:cNvSpPr/>
          <p:nvPr/>
        </p:nvSpPr>
        <p:spPr>
          <a:xfrm>
            <a:off x="4318291" y="2730389"/>
            <a:ext cx="7143839" cy="43506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Connect Integration</a:t>
            </a:r>
          </a:p>
        </p:txBody>
      </p:sp>
      <p:sp>
        <p:nvSpPr>
          <p:cNvPr id="72" name="Rechteck 71"/>
          <p:cNvSpPr/>
          <p:nvPr/>
        </p:nvSpPr>
        <p:spPr bwMode="auto">
          <a:xfrm>
            <a:off x="9504809" y="4136499"/>
            <a:ext cx="2204842" cy="2147719"/>
          </a:xfrm>
          <a:prstGeom prst="rect">
            <a:avLst/>
          </a:prstGeom>
          <a:noFill/>
          <a:ln>
            <a:solidFill>
              <a:schemeClr val="accent2">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algn="ctr"/>
            <a:r>
              <a:rPr lang="de-DE" sz="1399" b="1" dirty="0">
                <a:solidFill>
                  <a:prstClr val="white"/>
                </a:solidFill>
              </a:rPr>
              <a:t>On </a:t>
            </a:r>
            <a:r>
              <a:rPr lang="de-DE" sz="1399" b="1" dirty="0" err="1">
                <a:solidFill>
                  <a:prstClr val="white"/>
                </a:solidFill>
              </a:rPr>
              <a:t>Premise</a:t>
            </a:r>
            <a:endParaRPr lang="de-DE" sz="1399" b="1" dirty="0">
              <a:solidFill>
                <a:prstClr val="white"/>
              </a:solidFill>
            </a:endParaRPr>
          </a:p>
        </p:txBody>
      </p:sp>
      <p:sp>
        <p:nvSpPr>
          <p:cNvPr id="135" name="Rechteck 134"/>
          <p:cNvSpPr/>
          <p:nvPr/>
        </p:nvSpPr>
        <p:spPr>
          <a:xfrm>
            <a:off x="4318292" y="3227970"/>
            <a:ext cx="2726539" cy="42522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Connect IoT Extension</a:t>
            </a:r>
          </a:p>
        </p:txBody>
      </p:sp>
      <p:sp>
        <p:nvSpPr>
          <p:cNvPr id="138" name="Rechteck 13"/>
          <p:cNvSpPr>
            <a:spLocks noChangeAspect="1"/>
          </p:cNvSpPr>
          <p:nvPr/>
        </p:nvSpPr>
        <p:spPr>
          <a:xfrm>
            <a:off x="4318291" y="5695265"/>
            <a:ext cx="2726540" cy="587316"/>
          </a:xfrm>
          <a:prstGeom prst="rect">
            <a:avLst/>
          </a:prstGeom>
          <a:solidFill>
            <a:srgbClr val="08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3</a:t>
            </a:r>
            <a:r>
              <a:rPr lang="en-US" sz="1399" b="1" baseline="30000" dirty="0">
                <a:solidFill>
                  <a:prstClr val="white"/>
                </a:solidFill>
              </a:rPr>
              <a:t>rd</a:t>
            </a:r>
            <a:r>
              <a:rPr lang="en-US" sz="1399" b="1" dirty="0">
                <a:solidFill>
                  <a:prstClr val="white"/>
                </a:solidFill>
              </a:rPr>
              <a:t> Party IoT Devices &amp; sensors</a:t>
            </a:r>
          </a:p>
        </p:txBody>
      </p:sp>
      <p:cxnSp>
        <p:nvCxnSpPr>
          <p:cNvPr id="141" name="Gerade Verbindung mit Pfeil 156"/>
          <p:cNvCxnSpPr>
            <a:stCxn id="138" idx="0"/>
            <a:endCxn id="135" idx="2"/>
          </p:cNvCxnSpPr>
          <p:nvPr/>
        </p:nvCxnSpPr>
        <p:spPr bwMode="auto">
          <a:xfrm rot="5400000" flipH="1" flipV="1">
            <a:off x="4660528" y="4674232"/>
            <a:ext cx="2042067" cy="1"/>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7" name="Rechteck 66"/>
          <p:cNvSpPr/>
          <p:nvPr/>
        </p:nvSpPr>
        <p:spPr>
          <a:xfrm>
            <a:off x="929027" y="2730388"/>
            <a:ext cx="3312589" cy="42522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err="1">
                <a:solidFill>
                  <a:prstClr val="white"/>
                </a:solidFill>
              </a:rPr>
              <a:t>MindConnect</a:t>
            </a:r>
            <a:r>
              <a:rPr lang="en-US" sz="1399" b="1" dirty="0">
                <a:solidFill>
                  <a:prstClr val="white"/>
                </a:solidFill>
              </a:rPr>
              <a:t> API</a:t>
            </a:r>
          </a:p>
        </p:txBody>
      </p:sp>
      <p:grpSp>
        <p:nvGrpSpPr>
          <p:cNvPr id="77" name="Gruppieren 76"/>
          <p:cNvGrpSpPr/>
          <p:nvPr/>
        </p:nvGrpSpPr>
        <p:grpSpPr>
          <a:xfrm>
            <a:off x="929027" y="5695264"/>
            <a:ext cx="802382" cy="588955"/>
            <a:chOff x="5836247" y="4953750"/>
            <a:chExt cx="802800" cy="432000"/>
          </a:xfrm>
        </p:grpSpPr>
        <p:sp>
          <p:nvSpPr>
            <p:cNvPr id="82" name="Rechteck 81"/>
            <p:cNvSpPr/>
            <p:nvPr/>
          </p:nvSpPr>
          <p:spPr>
            <a:xfrm>
              <a:off x="5836247" y="4953750"/>
              <a:ext cx="802800" cy="43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5" tIns="45683" rIns="91365" bIns="45683" numCol="1" spcCol="0" rtlCol="0" fromWordArt="0" anchor="ctr" anchorCtr="0" forceAA="0" compatLnSpc="1">
              <a:prstTxWarp prst="textNoShape">
                <a:avLst/>
              </a:prstTxWarp>
              <a:noAutofit/>
            </a:bodyPr>
            <a:lstStyle/>
            <a:p>
              <a:pPr algn="r" defTabSz="913669"/>
              <a:r>
                <a:rPr lang="en-US" sz="1398" b="1" dirty="0">
                  <a:solidFill>
                    <a:schemeClr val="bg1"/>
                  </a:solidFill>
                  <a:latin typeface="Arial"/>
                </a:rPr>
                <a:t>LIB</a:t>
              </a:r>
            </a:p>
          </p:txBody>
        </p:sp>
        <p:pic>
          <p:nvPicPr>
            <p:cNvPr id="85" name="Grafik 8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897757" y="5006070"/>
              <a:ext cx="324000" cy="324000"/>
            </a:xfrm>
            <a:prstGeom prst="rect">
              <a:avLst/>
            </a:prstGeom>
          </p:spPr>
        </p:pic>
      </p:grpSp>
      <p:grpSp>
        <p:nvGrpSpPr>
          <p:cNvPr id="90" name="Gruppieren 89"/>
          <p:cNvGrpSpPr/>
          <p:nvPr/>
        </p:nvGrpSpPr>
        <p:grpSpPr>
          <a:xfrm>
            <a:off x="2610714" y="5693585"/>
            <a:ext cx="802382" cy="590634"/>
            <a:chOff x="6683554" y="5686781"/>
            <a:chExt cx="802800" cy="432000"/>
          </a:xfrm>
        </p:grpSpPr>
        <p:sp>
          <p:nvSpPr>
            <p:cNvPr id="91" name="Rechteck 90"/>
            <p:cNvSpPr/>
            <p:nvPr/>
          </p:nvSpPr>
          <p:spPr>
            <a:xfrm>
              <a:off x="6683554" y="5686781"/>
              <a:ext cx="802800" cy="43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5" tIns="45683" rIns="91365" bIns="45683" numCol="1" spcCol="0" rtlCol="0" fromWordArt="0" anchor="ctr" anchorCtr="0" forceAA="0" compatLnSpc="1">
              <a:prstTxWarp prst="textNoShape">
                <a:avLst/>
              </a:prstTxWarp>
              <a:noAutofit/>
            </a:bodyPr>
            <a:lstStyle/>
            <a:p>
              <a:pPr algn="r" defTabSz="913669"/>
              <a:r>
                <a:rPr lang="en-US" sz="1398" b="1" dirty="0">
                  <a:solidFill>
                    <a:schemeClr val="bg1"/>
                  </a:solidFill>
                  <a:latin typeface="Arial"/>
                </a:rPr>
                <a:t>FB*</a:t>
              </a:r>
            </a:p>
          </p:txBody>
        </p:sp>
        <p:pic>
          <p:nvPicPr>
            <p:cNvPr id="92" name="Grafik 91"/>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706194" y="5734804"/>
              <a:ext cx="324000" cy="324000"/>
            </a:xfrm>
            <a:prstGeom prst="rect">
              <a:avLst/>
            </a:prstGeom>
          </p:spPr>
        </p:pic>
      </p:grpSp>
      <p:grpSp>
        <p:nvGrpSpPr>
          <p:cNvPr id="96" name="Gruppieren 95"/>
          <p:cNvGrpSpPr/>
          <p:nvPr/>
        </p:nvGrpSpPr>
        <p:grpSpPr>
          <a:xfrm>
            <a:off x="3439234" y="5695264"/>
            <a:ext cx="802382" cy="588955"/>
            <a:chOff x="5832486" y="5686781"/>
            <a:chExt cx="802800" cy="432000"/>
          </a:xfrm>
        </p:grpSpPr>
        <p:sp>
          <p:nvSpPr>
            <p:cNvPr id="97" name="Rechteck 96"/>
            <p:cNvSpPr/>
            <p:nvPr/>
          </p:nvSpPr>
          <p:spPr>
            <a:xfrm>
              <a:off x="5832486" y="5686781"/>
              <a:ext cx="802800" cy="43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5" tIns="45683" rIns="91365" bIns="45683" numCol="1" spcCol="0" rtlCol="0" fromWordArt="0" anchor="ctr" anchorCtr="0" forceAA="0" compatLnSpc="1">
              <a:prstTxWarp prst="textNoShape">
                <a:avLst/>
              </a:prstTxWarp>
              <a:noAutofit/>
            </a:bodyPr>
            <a:lstStyle/>
            <a:p>
              <a:pPr algn="r" defTabSz="913669"/>
              <a:r>
                <a:rPr lang="en-US" sz="1398" b="1" dirty="0">
                  <a:solidFill>
                    <a:schemeClr val="bg1"/>
                  </a:solidFill>
                  <a:latin typeface="Arial"/>
                </a:rPr>
                <a:t>Nano</a:t>
              </a:r>
            </a:p>
          </p:txBody>
        </p:sp>
        <p:pic>
          <p:nvPicPr>
            <p:cNvPr id="98" name="Grafik 97"/>
            <p:cNvPicPr>
              <a:picLocks noChangeAspect="1"/>
            </p:cNvPicPr>
            <p:nvPr/>
          </p:nvPicPr>
          <p:blipFill>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2464" y="5823747"/>
              <a:ext cx="216000" cy="154173"/>
            </a:xfrm>
            <a:prstGeom prst="rect">
              <a:avLst/>
            </a:prstGeom>
          </p:spPr>
        </p:pic>
      </p:grpSp>
      <p:cxnSp>
        <p:nvCxnSpPr>
          <p:cNvPr id="99" name="Gerade Verbindung mit Pfeil 156"/>
          <p:cNvCxnSpPr>
            <a:stCxn id="82" idx="0"/>
            <a:endCxn id="67" idx="2"/>
          </p:cNvCxnSpPr>
          <p:nvPr/>
        </p:nvCxnSpPr>
        <p:spPr bwMode="auto">
          <a:xfrm rot="5400000" flipH="1" flipV="1">
            <a:off x="687946" y="3797890"/>
            <a:ext cx="2539648" cy="1255103"/>
          </a:xfrm>
          <a:prstGeom prst="bentConnector3">
            <a:avLst>
              <a:gd name="adj1" fmla="val 17612"/>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mit Pfeil 156"/>
          <p:cNvCxnSpPr>
            <a:stCxn id="91" idx="0"/>
          </p:cNvCxnSpPr>
          <p:nvPr/>
        </p:nvCxnSpPr>
        <p:spPr bwMode="auto">
          <a:xfrm rot="16200000" flipV="1">
            <a:off x="1533438" y="4215117"/>
            <a:ext cx="2530352" cy="426583"/>
          </a:xfrm>
          <a:prstGeom prst="bentConnector3">
            <a:avLst>
              <a:gd name="adj1" fmla="val 17794"/>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mit Pfeil 156"/>
          <p:cNvCxnSpPr>
            <a:stCxn id="97" idx="0"/>
            <a:endCxn id="67" idx="2"/>
          </p:cNvCxnSpPr>
          <p:nvPr/>
        </p:nvCxnSpPr>
        <p:spPr bwMode="auto">
          <a:xfrm rot="16200000" flipV="1">
            <a:off x="1943051" y="3797889"/>
            <a:ext cx="2539648" cy="1255103"/>
          </a:xfrm>
          <a:prstGeom prst="bentConnector3">
            <a:avLst>
              <a:gd name="adj1" fmla="val 17612"/>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4" name="Gerade Verbindung mit Pfeil 156"/>
          <p:cNvCxnSpPr>
            <a:stCxn id="142" idx="0"/>
          </p:cNvCxnSpPr>
          <p:nvPr/>
        </p:nvCxnSpPr>
        <p:spPr bwMode="auto">
          <a:xfrm rot="16200000" flipV="1">
            <a:off x="7775178" y="3650975"/>
            <a:ext cx="971045" cy="1"/>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6" name="Flussdiagramm: Magnetplattenspeicher 135"/>
          <p:cNvSpPr/>
          <p:nvPr/>
        </p:nvSpPr>
        <p:spPr bwMode="auto">
          <a:xfrm>
            <a:off x="10050717" y="4459760"/>
            <a:ext cx="1166342" cy="1508728"/>
          </a:xfrm>
          <a:prstGeom prst="flowChartMagneticDisk">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399" b="1" dirty="0">
                <a:solidFill>
                  <a:prstClr val="white"/>
                </a:solidFill>
              </a:rPr>
              <a:t>3</a:t>
            </a:r>
            <a:r>
              <a:rPr lang="en-US" sz="1399" b="1" baseline="30000" dirty="0">
                <a:solidFill>
                  <a:prstClr val="white"/>
                </a:solidFill>
              </a:rPr>
              <a:t>rd</a:t>
            </a:r>
            <a:r>
              <a:rPr lang="de-DE" sz="1399" b="1" dirty="0">
                <a:solidFill>
                  <a:schemeClr val="bg1"/>
                </a:solidFill>
                <a:latin typeface="Arial"/>
                <a:ea typeface="Arial Unicode MS" panose="020B0604020202020204" pitchFamily="34" charset="-128"/>
                <a:cs typeface="Arial Unicode MS" panose="020B0604020202020204" pitchFamily="34" charset="-128"/>
              </a:rPr>
              <a:t> Party </a:t>
            </a:r>
          </a:p>
          <a:p>
            <a:pPr algn="ctr">
              <a:lnSpc>
                <a:spcPct val="110000"/>
              </a:lnSpc>
              <a:spcBef>
                <a:spcPct val="0"/>
              </a:spcBef>
              <a:buFont typeface="Wingdings" charset="0"/>
              <a:buNone/>
            </a:pPr>
            <a:r>
              <a:rPr lang="de-DE" sz="1399" b="1" dirty="0">
                <a:solidFill>
                  <a:schemeClr val="bg1"/>
                </a:solidFill>
                <a:latin typeface="Arial"/>
                <a:ea typeface="Arial Unicode MS" panose="020B0604020202020204" pitchFamily="34" charset="-128"/>
                <a:cs typeface="Arial Unicode MS" panose="020B0604020202020204" pitchFamily="34" charset="-128"/>
              </a:rPr>
              <a:t>IT &amp; OT Systems</a:t>
            </a:r>
          </a:p>
        </p:txBody>
      </p:sp>
      <p:sp>
        <p:nvSpPr>
          <p:cNvPr id="142" name="Rechteck 141"/>
          <p:cNvSpPr/>
          <p:nvPr/>
        </p:nvSpPr>
        <p:spPr bwMode="auto">
          <a:xfrm>
            <a:off x="7138446" y="4136498"/>
            <a:ext cx="2244508" cy="2147720"/>
          </a:xfrm>
          <a:prstGeom prst="rect">
            <a:avLst/>
          </a:prstGeom>
          <a:noFill/>
          <a:ln>
            <a:solidFill>
              <a:schemeClr val="accent2">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algn="ctr"/>
            <a:r>
              <a:rPr lang="de-DE" sz="1399" b="1" dirty="0">
                <a:solidFill>
                  <a:prstClr val="white"/>
                </a:solidFill>
              </a:rPr>
              <a:t>Cloud</a:t>
            </a:r>
          </a:p>
        </p:txBody>
      </p:sp>
      <p:sp>
        <p:nvSpPr>
          <p:cNvPr id="991" name="Wolke 990"/>
          <p:cNvSpPr/>
          <p:nvPr/>
        </p:nvSpPr>
        <p:spPr bwMode="auto">
          <a:xfrm>
            <a:off x="7419115" y="4654050"/>
            <a:ext cx="1622251" cy="1089093"/>
          </a:xfrm>
          <a:prstGeom prst="cloud">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399" b="1" dirty="0">
                <a:solidFill>
                  <a:prstClr val="white"/>
                </a:solidFill>
              </a:rPr>
              <a:t>3</a:t>
            </a:r>
            <a:r>
              <a:rPr lang="en-US" sz="1399" b="1" baseline="30000" dirty="0">
                <a:solidFill>
                  <a:prstClr val="white"/>
                </a:solidFill>
              </a:rPr>
              <a:t>rd</a:t>
            </a:r>
            <a:r>
              <a:rPr lang="de-DE" sz="1399" b="1" dirty="0">
                <a:solidFill>
                  <a:schemeClr val="bg1"/>
                </a:solidFill>
                <a:ea typeface="Arial Unicode MS" panose="020B0604020202020204" pitchFamily="34" charset="-128"/>
                <a:cs typeface="Arial Unicode MS" panose="020B0604020202020204" pitchFamily="34" charset="-128"/>
              </a:rPr>
              <a:t> Party Cloud Services</a:t>
            </a:r>
          </a:p>
        </p:txBody>
      </p:sp>
      <p:cxnSp>
        <p:nvCxnSpPr>
          <p:cNvPr id="66" name="Gerade Verbindung mit Pfeil 156"/>
          <p:cNvCxnSpPr/>
          <p:nvPr/>
        </p:nvCxnSpPr>
        <p:spPr bwMode="auto">
          <a:xfrm rot="16200000" flipV="1">
            <a:off x="10148365" y="3650975"/>
            <a:ext cx="971045" cy="1"/>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Textfeld 2"/>
          <p:cNvSpPr txBox="1"/>
          <p:nvPr/>
        </p:nvSpPr>
        <p:spPr>
          <a:xfrm>
            <a:off x="915756" y="6348922"/>
            <a:ext cx="3319110" cy="224002"/>
          </a:xfrm>
          <a:prstGeom prst="rect">
            <a:avLst/>
          </a:prstGeom>
          <a:noFill/>
        </p:spPr>
        <p:txBody>
          <a:bodyPr wrap="square" lIns="0" tIns="0" rIns="0" bIns="0" rtlCol="0">
            <a:noAutofit/>
          </a:bodyPr>
          <a:lstStyle/>
          <a:p>
            <a:pPr>
              <a:lnSpc>
                <a:spcPct val="110000"/>
              </a:lnSpc>
            </a:pPr>
            <a:r>
              <a:rPr lang="de-DE" sz="1049" dirty="0">
                <a:ea typeface="Arial Unicode MS" panose="020B0604020202020204" pitchFamily="34" charset="-128"/>
                <a:cs typeface="Arial Unicode MS" panose="020B0604020202020204" pitchFamily="34" charset="-128"/>
              </a:rPr>
              <a:t>*</a:t>
            </a:r>
            <a:r>
              <a:rPr lang="de-DE" sz="1049" dirty="0" err="1">
                <a:ea typeface="Arial Unicode MS" panose="020B0604020202020204" pitchFamily="34" charset="-128"/>
                <a:cs typeface="Arial Unicode MS" panose="020B0604020202020204" pitchFamily="34" charset="-128"/>
              </a:rPr>
              <a:t>ownsership</a:t>
            </a:r>
            <a:r>
              <a:rPr lang="de-DE" sz="1049" dirty="0">
                <a:ea typeface="Arial Unicode MS" panose="020B0604020202020204" pitchFamily="34" charset="-128"/>
                <a:cs typeface="Arial Unicode MS" panose="020B0604020202020204" pitchFamily="34" charset="-128"/>
              </a:rPr>
              <a:t> </a:t>
            </a:r>
            <a:r>
              <a:rPr lang="de-DE" sz="1049" dirty="0" err="1">
                <a:ea typeface="Arial Unicode MS" panose="020B0604020202020204" pitchFamily="34" charset="-128"/>
                <a:cs typeface="Arial Unicode MS" panose="020B0604020202020204" pitchFamily="34" charset="-128"/>
              </a:rPr>
              <a:t>transferred</a:t>
            </a:r>
            <a:r>
              <a:rPr lang="de-DE" sz="1049" dirty="0">
                <a:ea typeface="Arial Unicode MS" panose="020B0604020202020204" pitchFamily="34" charset="-128"/>
                <a:cs typeface="Arial Unicode MS" panose="020B0604020202020204" pitchFamily="34" charset="-128"/>
              </a:rPr>
              <a:t> </a:t>
            </a:r>
            <a:r>
              <a:rPr lang="de-DE" sz="1049" dirty="0" err="1">
                <a:ea typeface="Arial Unicode MS" panose="020B0604020202020204" pitchFamily="34" charset="-128"/>
                <a:cs typeface="Arial Unicode MS" panose="020B0604020202020204" pitchFamily="34" charset="-128"/>
              </a:rPr>
              <a:t>to</a:t>
            </a:r>
            <a:r>
              <a:rPr lang="de-DE" sz="1049" dirty="0">
                <a:ea typeface="Arial Unicode MS" panose="020B0604020202020204" pitchFamily="34" charset="-128"/>
                <a:cs typeface="Arial Unicode MS" panose="020B0604020202020204" pitchFamily="34" charset="-128"/>
              </a:rPr>
              <a:t> DF FA SUP</a:t>
            </a:r>
            <a:endParaRPr lang="en-US" sz="1049" dirty="0">
              <a:ea typeface="Arial Unicode MS" panose="020B0604020202020204" pitchFamily="34" charset="-128"/>
              <a:cs typeface="Arial Unicode MS" panose="020B0604020202020204" pitchFamily="34" charset="-128"/>
            </a:endParaRPr>
          </a:p>
        </p:txBody>
      </p:sp>
      <p:sp>
        <p:nvSpPr>
          <p:cNvPr id="61" name="Abgerundetes Rechteck 60"/>
          <p:cNvSpPr/>
          <p:nvPr/>
        </p:nvSpPr>
        <p:spPr bwMode="auto">
          <a:xfrm>
            <a:off x="3432223" y="5644736"/>
            <a:ext cx="819547" cy="693549"/>
          </a:xfrm>
          <a:prstGeom prst="roundRect">
            <a:avLst/>
          </a:prstGeom>
          <a:solidFill>
            <a:schemeClr val="bg2">
              <a:lumMod val="40000"/>
              <a:lumOff val="60000"/>
              <a:alpha val="73000"/>
            </a:schemeClr>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2" name="Abgerundetes Rechteck 61"/>
          <p:cNvSpPr/>
          <p:nvPr/>
        </p:nvSpPr>
        <p:spPr bwMode="auto">
          <a:xfrm>
            <a:off x="1755763" y="5629651"/>
            <a:ext cx="819547" cy="693549"/>
          </a:xfrm>
          <a:prstGeom prst="roundRect">
            <a:avLst/>
          </a:prstGeom>
          <a:solidFill>
            <a:schemeClr val="bg2">
              <a:lumMod val="40000"/>
              <a:lumOff val="60000"/>
              <a:alpha val="73000"/>
            </a:schemeClr>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63" name="Gerade Verbindung mit Pfeil 156"/>
          <p:cNvCxnSpPr>
            <a:stCxn id="62" idx="0"/>
            <a:endCxn id="67" idx="2"/>
          </p:cNvCxnSpPr>
          <p:nvPr/>
        </p:nvCxnSpPr>
        <p:spPr bwMode="auto">
          <a:xfrm rot="5400000" flipH="1" flipV="1">
            <a:off x="1138411" y="4182741"/>
            <a:ext cx="2474035" cy="419785"/>
          </a:xfrm>
          <a:prstGeom prst="bentConnector3">
            <a:avLst>
              <a:gd name="adj1" fmla="val 15522"/>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34063308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8" name="OTLSHAPE_TB_00000000000000000000000000000000_LeftEndCaps" hidden="1">
            <a:extLst>
              <a:ext uri="{FF2B5EF4-FFF2-40B4-BE49-F238E27FC236}">
                <a16:creationId xmlns:a16="http://schemas.microsoft.com/office/drawing/2014/main" xmlns="" id="{CAD66E36-886E-40C1-96A3-869FB700FE4E}"/>
              </a:ext>
            </a:extLst>
          </p:cNvPr>
          <p:cNvSpPr txBox="1"/>
          <p:nvPr>
            <p:custDataLst>
              <p:tags r:id="rId2"/>
            </p:custDataLst>
          </p:nvPr>
        </p:nvSpPr>
        <p:spPr>
          <a:xfrm>
            <a:off x="253868" y="5130481"/>
            <a:ext cx="467833" cy="304540"/>
          </a:xfrm>
          <a:prstGeom prst="rect">
            <a:avLst/>
          </a:prstGeom>
          <a:noFill/>
        </p:spPr>
        <p:txBody>
          <a:bodyPr vert="horz" wrap="none" lIns="0" tIns="0" rIns="0" bIns="0" rtlCol="0" anchor="ctr" anchorCtr="0">
            <a:spAutoFit/>
          </a:bodyPr>
          <a:lstStyle/>
          <a:p>
            <a:pPr algn="ctr">
              <a:lnSpc>
                <a:spcPct val="110000"/>
              </a:lnSpc>
            </a:pPr>
            <a:r>
              <a:rPr lang="en-US" sz="1799" b="1">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017</a:t>
            </a:r>
            <a:endParaRPr lang="en-US" sz="1799" b="1"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2" name="OTLSHAPE_T_9d0697827ba548778f994b1f89e29d9d_ShapePercentage" hidden="1">
            <a:extLst>
              <a:ext uri="{FF2B5EF4-FFF2-40B4-BE49-F238E27FC236}">
                <a16:creationId xmlns:a16="http://schemas.microsoft.com/office/drawing/2014/main" xmlns="" id="{175543EF-07AF-450A-A1B1-0816EAC43753}"/>
              </a:ext>
            </a:extLst>
          </p:cNvPr>
          <p:cNvSpPr/>
          <p:nvPr>
            <p:custDataLst>
              <p:tags r:id="rId3"/>
            </p:custDataLst>
          </p:nvPr>
        </p:nvSpPr>
        <p:spPr bwMode="auto">
          <a:xfrm>
            <a:off x="1276287" y="951308"/>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03" name="OTLSHAPE_T_9d0697827ba548778f994b1f89e29d9d_Duration" hidden="1">
            <a:extLst>
              <a:ext uri="{FF2B5EF4-FFF2-40B4-BE49-F238E27FC236}">
                <a16:creationId xmlns:a16="http://schemas.microsoft.com/office/drawing/2014/main" xmlns="" id="{F83D7EE8-47CA-4ED7-9A36-011CD1326471}"/>
              </a:ext>
            </a:extLst>
          </p:cNvPr>
          <p:cNvSpPr txBox="1"/>
          <p:nvPr>
            <p:custDataLst>
              <p:tags r:id="rId4"/>
            </p:custDataLst>
          </p:nvPr>
        </p:nvSpPr>
        <p:spPr>
          <a:xfrm>
            <a:off x="0" y="1371714"/>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4" name="OTLSHAPE_T_9d0697827ba548778f994b1f89e29d9d_TextPercentage" hidden="1">
            <a:extLst>
              <a:ext uri="{FF2B5EF4-FFF2-40B4-BE49-F238E27FC236}">
                <a16:creationId xmlns:a16="http://schemas.microsoft.com/office/drawing/2014/main" xmlns="" id="{DC02D616-2FEE-4F1A-9CE1-1B32B565441D}"/>
              </a:ext>
            </a:extLst>
          </p:cNvPr>
          <p:cNvSpPr txBox="1"/>
          <p:nvPr>
            <p:custDataLst>
              <p:tags r:id="rId5"/>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5" name="OTLSHAPE_T_9d0697827ba548778f994b1f89e29d9d_StartDate" hidden="1">
            <a:extLst>
              <a:ext uri="{FF2B5EF4-FFF2-40B4-BE49-F238E27FC236}">
                <a16:creationId xmlns:a16="http://schemas.microsoft.com/office/drawing/2014/main" xmlns="" id="{07867082-9FF8-47F6-A724-11CA6350905A}"/>
              </a:ext>
            </a:extLst>
          </p:cNvPr>
          <p:cNvSpPr txBox="1"/>
          <p:nvPr>
            <p:custDataLst>
              <p:tags r:id="rId6"/>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6" name="OTLSHAPE_T_9d0697827ba548778f994b1f89e29d9d_EndDate" hidden="1">
            <a:extLst>
              <a:ext uri="{FF2B5EF4-FFF2-40B4-BE49-F238E27FC236}">
                <a16:creationId xmlns:a16="http://schemas.microsoft.com/office/drawing/2014/main" xmlns="" id="{12193562-8CAB-4200-BFA8-E884875D6782}"/>
              </a:ext>
            </a:extLst>
          </p:cNvPr>
          <p:cNvSpPr txBox="1"/>
          <p:nvPr>
            <p:custDataLst>
              <p:tags r:id="rId7"/>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0" name="OTLSHAPE_T_1866601afc0b4c8ab57a01d059174bf3_ShapePercentage" hidden="1">
            <a:extLst>
              <a:ext uri="{FF2B5EF4-FFF2-40B4-BE49-F238E27FC236}">
                <a16:creationId xmlns:a16="http://schemas.microsoft.com/office/drawing/2014/main" xmlns="" id="{13D858C0-4729-4824-B647-C7753C815DFA}"/>
              </a:ext>
            </a:extLst>
          </p:cNvPr>
          <p:cNvSpPr/>
          <p:nvPr>
            <p:custDataLst>
              <p:tags r:id="rId8"/>
            </p:custDataLst>
          </p:nvPr>
        </p:nvSpPr>
        <p:spPr bwMode="auto">
          <a:xfrm>
            <a:off x="2184035" y="137281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1" name="OTLSHAPE_T_1866601afc0b4c8ab57a01d059174bf3_Duration" hidden="1">
            <a:extLst>
              <a:ext uri="{FF2B5EF4-FFF2-40B4-BE49-F238E27FC236}">
                <a16:creationId xmlns:a16="http://schemas.microsoft.com/office/drawing/2014/main" xmlns="" id="{B7C242EA-E44B-43C9-99B4-07847899D1F2}"/>
              </a:ext>
            </a:extLst>
          </p:cNvPr>
          <p:cNvSpPr txBox="1"/>
          <p:nvPr>
            <p:custDataLst>
              <p:tags r:id="rId9"/>
            </p:custDataLst>
          </p:nvPr>
        </p:nvSpPr>
        <p:spPr>
          <a:xfrm>
            <a:off x="0" y="177604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2" name="OTLSHAPE_T_1866601afc0b4c8ab57a01d059174bf3_TextPercentage" hidden="1">
            <a:extLst>
              <a:ext uri="{FF2B5EF4-FFF2-40B4-BE49-F238E27FC236}">
                <a16:creationId xmlns:a16="http://schemas.microsoft.com/office/drawing/2014/main" xmlns="" id="{B8E19359-186B-4058-9145-EA5450EB6BFB}"/>
              </a:ext>
            </a:extLst>
          </p:cNvPr>
          <p:cNvSpPr txBox="1"/>
          <p:nvPr>
            <p:custDataLst>
              <p:tags r:id="rId10"/>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3" name="OTLSHAPE_T_1866601afc0b4c8ab57a01d059174bf3_StartDate" hidden="1">
            <a:extLst>
              <a:ext uri="{FF2B5EF4-FFF2-40B4-BE49-F238E27FC236}">
                <a16:creationId xmlns:a16="http://schemas.microsoft.com/office/drawing/2014/main" xmlns="" id="{141723DE-F7F5-4F79-8CE3-4EF5EF43B219}"/>
              </a:ext>
            </a:extLst>
          </p:cNvPr>
          <p:cNvSpPr txBox="1"/>
          <p:nvPr>
            <p:custDataLst>
              <p:tags r:id="rId11"/>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4" name="OTLSHAPE_T_1866601afc0b4c8ab57a01d059174bf3_EndDate" hidden="1">
            <a:extLst>
              <a:ext uri="{FF2B5EF4-FFF2-40B4-BE49-F238E27FC236}">
                <a16:creationId xmlns:a16="http://schemas.microsoft.com/office/drawing/2014/main" xmlns="" id="{CD2B9ED5-1AFF-403C-92D6-9B62AFDB1760}"/>
              </a:ext>
            </a:extLst>
          </p:cNvPr>
          <p:cNvSpPr txBox="1"/>
          <p:nvPr>
            <p:custDataLst>
              <p:tags r:id="rId12"/>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8" name="OTLSHAPE_T_f95f11289efe4755a25d0d47a7c238b3_ShapePercentage" hidden="1">
            <a:extLst>
              <a:ext uri="{FF2B5EF4-FFF2-40B4-BE49-F238E27FC236}">
                <a16:creationId xmlns:a16="http://schemas.microsoft.com/office/drawing/2014/main" xmlns="" id="{5EBABA58-AECA-4EAA-818A-73A3EF2F9658}"/>
              </a:ext>
            </a:extLst>
          </p:cNvPr>
          <p:cNvSpPr/>
          <p:nvPr>
            <p:custDataLst>
              <p:tags r:id="rId13"/>
            </p:custDataLst>
          </p:nvPr>
        </p:nvSpPr>
        <p:spPr bwMode="auto">
          <a:xfrm>
            <a:off x="2184035" y="1870479"/>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9" name="OTLSHAPE_T_f95f11289efe4755a25d0d47a7c238b3_Duration" hidden="1">
            <a:extLst>
              <a:ext uri="{FF2B5EF4-FFF2-40B4-BE49-F238E27FC236}">
                <a16:creationId xmlns:a16="http://schemas.microsoft.com/office/drawing/2014/main" xmlns="" id="{991A1656-E0D5-4D3F-BFE8-B71A5BCD83B8}"/>
              </a:ext>
            </a:extLst>
          </p:cNvPr>
          <p:cNvSpPr txBox="1"/>
          <p:nvPr>
            <p:custDataLst>
              <p:tags r:id="rId14"/>
            </p:custDataLst>
          </p:nvPr>
        </p:nvSpPr>
        <p:spPr>
          <a:xfrm>
            <a:off x="0" y="2180368"/>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0" name="OTLSHAPE_T_f95f11289efe4755a25d0d47a7c238b3_TextPercentage" hidden="1">
            <a:extLst>
              <a:ext uri="{FF2B5EF4-FFF2-40B4-BE49-F238E27FC236}">
                <a16:creationId xmlns:a16="http://schemas.microsoft.com/office/drawing/2014/main" xmlns="" id="{E5ED491C-D154-400F-AEB2-8D8DEFAF3140}"/>
              </a:ext>
            </a:extLst>
          </p:cNvPr>
          <p:cNvSpPr txBox="1"/>
          <p:nvPr>
            <p:custDataLst>
              <p:tags r:id="rId15"/>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1" name="OTLSHAPE_T_f95f11289efe4755a25d0d47a7c238b3_StartDate" hidden="1">
            <a:extLst>
              <a:ext uri="{FF2B5EF4-FFF2-40B4-BE49-F238E27FC236}">
                <a16:creationId xmlns:a16="http://schemas.microsoft.com/office/drawing/2014/main" xmlns="" id="{3D1CFD0A-5399-4508-A23C-23148EB58D73}"/>
              </a:ext>
            </a:extLst>
          </p:cNvPr>
          <p:cNvSpPr txBox="1"/>
          <p:nvPr>
            <p:custDataLst>
              <p:tags r:id="rId16"/>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2" name="OTLSHAPE_T_f95f11289efe4755a25d0d47a7c238b3_EndDate" hidden="1">
            <a:extLst>
              <a:ext uri="{FF2B5EF4-FFF2-40B4-BE49-F238E27FC236}">
                <a16:creationId xmlns:a16="http://schemas.microsoft.com/office/drawing/2014/main" xmlns="" id="{48760F4B-77BE-4AA0-A4BF-612553EE85FE}"/>
              </a:ext>
            </a:extLst>
          </p:cNvPr>
          <p:cNvSpPr txBox="1"/>
          <p:nvPr>
            <p:custDataLst>
              <p:tags r:id="rId17"/>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6" name="OTLSHAPE_T_789fca074aa04b08bd72d547570510cd_ShapePercentage" hidden="1">
            <a:extLst>
              <a:ext uri="{FF2B5EF4-FFF2-40B4-BE49-F238E27FC236}">
                <a16:creationId xmlns:a16="http://schemas.microsoft.com/office/drawing/2014/main" xmlns="" id="{8F9E001B-5277-4D78-805C-68429F6B04B1}"/>
              </a:ext>
            </a:extLst>
          </p:cNvPr>
          <p:cNvSpPr/>
          <p:nvPr>
            <p:custDataLst>
              <p:tags r:id="rId18"/>
            </p:custDataLst>
          </p:nvPr>
        </p:nvSpPr>
        <p:spPr bwMode="auto">
          <a:xfrm>
            <a:off x="4777604" y="229198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27" name="OTLSHAPE_T_789fca074aa04b08bd72d547570510cd_Duration" hidden="1">
            <a:extLst>
              <a:ext uri="{FF2B5EF4-FFF2-40B4-BE49-F238E27FC236}">
                <a16:creationId xmlns:a16="http://schemas.microsoft.com/office/drawing/2014/main" xmlns="" id="{8B494926-AB09-42EF-9B13-A0A0C7C92996}"/>
              </a:ext>
            </a:extLst>
          </p:cNvPr>
          <p:cNvSpPr txBox="1"/>
          <p:nvPr>
            <p:custDataLst>
              <p:tags r:id="rId19"/>
            </p:custDataLst>
          </p:nvPr>
        </p:nvSpPr>
        <p:spPr>
          <a:xfrm>
            <a:off x="0" y="2446929"/>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8" name="OTLSHAPE_T_789fca074aa04b08bd72d547570510cd_TextPercentage" hidden="1">
            <a:extLst>
              <a:ext uri="{FF2B5EF4-FFF2-40B4-BE49-F238E27FC236}">
                <a16:creationId xmlns:a16="http://schemas.microsoft.com/office/drawing/2014/main" xmlns="" id="{EBE857F7-9937-4157-8E0B-D7DC83298D2B}"/>
              </a:ext>
            </a:extLst>
          </p:cNvPr>
          <p:cNvSpPr txBox="1"/>
          <p:nvPr>
            <p:custDataLst>
              <p:tags r:id="rId20"/>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9" name="OTLSHAPE_T_789fca074aa04b08bd72d547570510cd_StartDate" hidden="1">
            <a:extLst>
              <a:ext uri="{FF2B5EF4-FFF2-40B4-BE49-F238E27FC236}">
                <a16:creationId xmlns:a16="http://schemas.microsoft.com/office/drawing/2014/main" xmlns="" id="{0E1ECA2A-7E19-4D2A-A87E-CEECBD2F14ED}"/>
              </a:ext>
            </a:extLst>
          </p:cNvPr>
          <p:cNvSpPr txBox="1"/>
          <p:nvPr>
            <p:custDataLst>
              <p:tags r:id="rId21"/>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0" name="OTLSHAPE_T_789fca074aa04b08bd72d547570510cd_EndDate" hidden="1">
            <a:extLst>
              <a:ext uri="{FF2B5EF4-FFF2-40B4-BE49-F238E27FC236}">
                <a16:creationId xmlns:a16="http://schemas.microsoft.com/office/drawing/2014/main" xmlns="" id="{61443304-197F-4941-9948-1FF0B0BF1CC1}"/>
              </a:ext>
            </a:extLst>
          </p:cNvPr>
          <p:cNvSpPr txBox="1"/>
          <p:nvPr>
            <p:custDataLst>
              <p:tags r:id="rId22"/>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4" name="OTLSHAPE_T_7dd834d9f90d41cfb3e03e3281773e1b_ShapePercentage" hidden="1">
            <a:extLst>
              <a:ext uri="{FF2B5EF4-FFF2-40B4-BE49-F238E27FC236}">
                <a16:creationId xmlns:a16="http://schemas.microsoft.com/office/drawing/2014/main" xmlns="" id="{0186C3D0-4B72-46EE-8DE3-45058BE3A0E2}"/>
              </a:ext>
            </a:extLst>
          </p:cNvPr>
          <p:cNvSpPr/>
          <p:nvPr>
            <p:custDataLst>
              <p:tags r:id="rId23"/>
            </p:custDataLst>
          </p:nvPr>
        </p:nvSpPr>
        <p:spPr bwMode="auto">
          <a:xfrm>
            <a:off x="6117614" y="2789650"/>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35" name="OTLSHAPE_T_7dd834d9f90d41cfb3e03e3281773e1b_Duration" hidden="1">
            <a:extLst>
              <a:ext uri="{FF2B5EF4-FFF2-40B4-BE49-F238E27FC236}">
                <a16:creationId xmlns:a16="http://schemas.microsoft.com/office/drawing/2014/main" xmlns="" id="{BCE040C3-39D8-43E6-965A-801D8867EC38}"/>
              </a:ext>
            </a:extLst>
          </p:cNvPr>
          <p:cNvSpPr txBox="1"/>
          <p:nvPr>
            <p:custDataLst>
              <p:tags r:id="rId24"/>
            </p:custDataLst>
          </p:nvPr>
        </p:nvSpPr>
        <p:spPr>
          <a:xfrm>
            <a:off x="0" y="278965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6" name="OTLSHAPE_T_7dd834d9f90d41cfb3e03e3281773e1b_TextPercentage" hidden="1">
            <a:extLst>
              <a:ext uri="{FF2B5EF4-FFF2-40B4-BE49-F238E27FC236}">
                <a16:creationId xmlns:a16="http://schemas.microsoft.com/office/drawing/2014/main" xmlns="" id="{9E02F0CF-02E2-4091-88B5-B881C71B3437}"/>
              </a:ext>
            </a:extLst>
          </p:cNvPr>
          <p:cNvSpPr txBox="1"/>
          <p:nvPr>
            <p:custDataLst>
              <p:tags r:id="rId25"/>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7" name="OTLSHAPE_T_7dd834d9f90d41cfb3e03e3281773e1b_StartDate" hidden="1">
            <a:extLst>
              <a:ext uri="{FF2B5EF4-FFF2-40B4-BE49-F238E27FC236}">
                <a16:creationId xmlns:a16="http://schemas.microsoft.com/office/drawing/2014/main" xmlns="" id="{8DB6329B-3E42-4191-BCA3-789C5BAAFA2D}"/>
              </a:ext>
            </a:extLst>
          </p:cNvPr>
          <p:cNvSpPr txBox="1"/>
          <p:nvPr>
            <p:custDataLst>
              <p:tags r:id="rId26"/>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8" name="OTLSHAPE_T_7dd834d9f90d41cfb3e03e3281773e1b_EndDate" hidden="1">
            <a:extLst>
              <a:ext uri="{FF2B5EF4-FFF2-40B4-BE49-F238E27FC236}">
                <a16:creationId xmlns:a16="http://schemas.microsoft.com/office/drawing/2014/main" xmlns="" id="{4E37F0DF-B540-4652-B51C-221C20F8BB43}"/>
              </a:ext>
            </a:extLst>
          </p:cNvPr>
          <p:cNvSpPr txBox="1"/>
          <p:nvPr>
            <p:custDataLst>
              <p:tags r:id="rId27"/>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2" name="OTLSHAPE_T_ffbb008dfe224b5eb1a30d6676e2b7f2_ShapePercentage" hidden="1">
            <a:extLst>
              <a:ext uri="{FF2B5EF4-FFF2-40B4-BE49-F238E27FC236}">
                <a16:creationId xmlns:a16="http://schemas.microsoft.com/office/drawing/2014/main" xmlns="" id="{CFE5D07F-B24C-4408-A60D-6D14B0C7DC31}"/>
              </a:ext>
            </a:extLst>
          </p:cNvPr>
          <p:cNvSpPr/>
          <p:nvPr>
            <p:custDataLst>
              <p:tags r:id="rId28"/>
            </p:custDataLst>
          </p:nvPr>
        </p:nvSpPr>
        <p:spPr bwMode="auto">
          <a:xfrm>
            <a:off x="8754407" y="3257443"/>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3" name="OTLSHAPE_T_ffbb008dfe224b5eb1a30d6676e2b7f2_Duration" hidden="1">
            <a:extLst>
              <a:ext uri="{FF2B5EF4-FFF2-40B4-BE49-F238E27FC236}">
                <a16:creationId xmlns:a16="http://schemas.microsoft.com/office/drawing/2014/main" xmlns="" id="{962BFCAB-F946-4475-A9C6-465342C208DA}"/>
              </a:ext>
            </a:extLst>
          </p:cNvPr>
          <p:cNvSpPr txBox="1"/>
          <p:nvPr>
            <p:custDataLst>
              <p:tags r:id="rId29"/>
            </p:custDataLst>
          </p:nvPr>
        </p:nvSpPr>
        <p:spPr>
          <a:xfrm>
            <a:off x="0" y="3056212"/>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0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4" name="OTLSHAPE_T_ffbb008dfe224b5eb1a30d6676e2b7f2_TextPercentage" hidden="1">
            <a:extLst>
              <a:ext uri="{FF2B5EF4-FFF2-40B4-BE49-F238E27FC236}">
                <a16:creationId xmlns:a16="http://schemas.microsoft.com/office/drawing/2014/main" xmlns="" id="{D97B88FA-7371-4E3E-A646-8DADB8D73B3A}"/>
              </a:ext>
            </a:extLst>
          </p:cNvPr>
          <p:cNvSpPr txBox="1"/>
          <p:nvPr>
            <p:custDataLst>
              <p:tags r:id="rId30"/>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5" name="OTLSHAPE_T_ffbb008dfe224b5eb1a30d6676e2b7f2_StartDate" hidden="1">
            <a:extLst>
              <a:ext uri="{FF2B5EF4-FFF2-40B4-BE49-F238E27FC236}">
                <a16:creationId xmlns:a16="http://schemas.microsoft.com/office/drawing/2014/main" xmlns="" id="{E78BD665-3C9E-48E8-99E2-06DDEC5388CC}"/>
              </a:ext>
            </a:extLst>
          </p:cNvPr>
          <p:cNvSpPr txBox="1"/>
          <p:nvPr>
            <p:custDataLst>
              <p:tags r:id="rId31"/>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6" name="OTLSHAPE_T_ffbb008dfe224b5eb1a30d6676e2b7f2_EndDate" hidden="1">
            <a:extLst>
              <a:ext uri="{FF2B5EF4-FFF2-40B4-BE49-F238E27FC236}">
                <a16:creationId xmlns:a16="http://schemas.microsoft.com/office/drawing/2014/main" xmlns="" id="{A28DFC9A-802B-42DD-A5A5-894012663C7E}"/>
              </a:ext>
            </a:extLst>
          </p:cNvPr>
          <p:cNvSpPr txBox="1"/>
          <p:nvPr>
            <p:custDataLst>
              <p:tags r:id="rId32"/>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84" name="Textfeld 83"/>
          <p:cNvSpPr txBox="1"/>
          <p:nvPr/>
        </p:nvSpPr>
        <p:spPr>
          <a:xfrm>
            <a:off x="49268" y="5858475"/>
            <a:ext cx="3122574" cy="1203333"/>
          </a:xfrm>
          <a:prstGeom prst="rect">
            <a:avLst/>
          </a:prstGeom>
          <a:noFill/>
        </p:spPr>
        <p:txBody>
          <a:bodyPr wrap="square" lIns="0" tIns="0" rIns="0" bIns="0" rtlCol="0">
            <a:noAutofit/>
          </a:bodyPr>
          <a:lstStyle/>
          <a:p>
            <a:pPr>
              <a:lnSpc>
                <a:spcPct val="110000"/>
              </a:lnSpc>
            </a:pPr>
            <a:endParaRPr lang="de-DE" sz="1199" dirty="0">
              <a:ea typeface="Arial Unicode MS" panose="020B0604020202020204" pitchFamily="34" charset="-128"/>
              <a:cs typeface="Arial Unicode MS" panose="020B0604020202020204" pitchFamily="34" charset="-128"/>
            </a:endParaRPr>
          </a:p>
        </p:txBody>
      </p:sp>
      <p:sp>
        <p:nvSpPr>
          <p:cNvPr id="87" name="Textfeld 86"/>
          <p:cNvSpPr txBox="1"/>
          <p:nvPr/>
        </p:nvSpPr>
        <p:spPr>
          <a:xfrm>
            <a:off x="624515" y="427489"/>
            <a:ext cx="9174781" cy="738755"/>
          </a:xfrm>
          <a:prstGeom prst="rect">
            <a:avLst/>
          </a:prstGeom>
          <a:noFill/>
        </p:spPr>
        <p:txBody>
          <a:bodyPr wrap="square" lIns="0" tIns="0" rIns="0" bIns="0" rtlCol="0">
            <a:noAutofit/>
          </a:bodyPr>
          <a:lstStyle/>
          <a:p>
            <a:pPr>
              <a:lnSpc>
                <a:spcPct val="110000"/>
              </a:lnSpc>
              <a:spcBef>
                <a:spcPct val="0"/>
              </a:spcBef>
            </a:pPr>
            <a:r>
              <a:rPr lang="de-DE" sz="2199" b="1" dirty="0" err="1">
                <a:solidFill>
                  <a:srgbClr val="00646E"/>
                </a:solidFill>
                <a:cs typeface="Arial" pitchFamily="34" charset="0"/>
              </a:rPr>
              <a:t>Architecture</a:t>
            </a:r>
            <a:r>
              <a:rPr lang="de-DE" sz="2199" b="1" dirty="0">
                <a:solidFill>
                  <a:srgbClr val="00646E"/>
                </a:solidFill>
                <a:cs typeface="Arial" pitchFamily="34" charset="0"/>
              </a:rPr>
              <a:t> </a:t>
            </a:r>
            <a:r>
              <a:rPr lang="de-DE" sz="2199" b="1" dirty="0" err="1">
                <a:solidFill>
                  <a:srgbClr val="00646E"/>
                </a:solidFill>
                <a:cs typeface="Arial" pitchFamily="34" charset="0"/>
              </a:rPr>
              <a:t>MindConnect</a:t>
            </a:r>
            <a:r>
              <a:rPr lang="de-DE" sz="2199" b="1" dirty="0">
                <a:solidFill>
                  <a:srgbClr val="00646E"/>
                </a:solidFill>
                <a:cs typeface="Arial" pitchFamily="34" charset="0"/>
              </a:rPr>
              <a:t> Integration &amp; </a:t>
            </a:r>
            <a:r>
              <a:rPr lang="de-DE" sz="2199" b="1" dirty="0" err="1">
                <a:solidFill>
                  <a:srgbClr val="00646E"/>
                </a:solidFill>
                <a:cs typeface="Arial" pitchFamily="34" charset="0"/>
              </a:rPr>
              <a:t>IoT</a:t>
            </a:r>
            <a:r>
              <a:rPr lang="de-DE" sz="2199" b="1" dirty="0">
                <a:solidFill>
                  <a:srgbClr val="00646E"/>
                </a:solidFill>
                <a:cs typeface="Arial" pitchFamily="34" charset="0"/>
              </a:rPr>
              <a:t> Extension</a:t>
            </a:r>
          </a:p>
          <a:p>
            <a:pPr>
              <a:lnSpc>
                <a:spcPct val="110000"/>
              </a:lnSpc>
              <a:spcBef>
                <a:spcPct val="0"/>
              </a:spcBef>
            </a:pPr>
            <a:r>
              <a:rPr lang="de-DE" sz="2199" dirty="0" err="1">
                <a:solidFill>
                  <a:srgbClr val="00646E"/>
                </a:solidFill>
                <a:cs typeface="Arial" pitchFamily="34" charset="0"/>
              </a:rPr>
              <a:t>Whitelable</a:t>
            </a:r>
            <a:r>
              <a:rPr lang="de-DE" sz="2199" dirty="0">
                <a:solidFill>
                  <a:srgbClr val="00646E"/>
                </a:solidFill>
                <a:cs typeface="Arial" pitchFamily="34" charset="0"/>
              </a:rPr>
              <a:t> </a:t>
            </a:r>
            <a:r>
              <a:rPr lang="de-DE" sz="2199" dirty="0" err="1">
                <a:solidFill>
                  <a:srgbClr val="00646E"/>
                </a:solidFill>
                <a:cs typeface="Arial" pitchFamily="34" charset="0"/>
              </a:rPr>
              <a:t>Overview</a:t>
            </a:r>
            <a:endParaRPr lang="de-DE" sz="2199" dirty="0">
              <a:solidFill>
                <a:srgbClr val="00646E"/>
              </a:solidFill>
              <a:cs typeface="Arial" pitchFamily="34" charset="0"/>
            </a:endParaRPr>
          </a:p>
        </p:txBody>
      </p:sp>
      <p:sp>
        <p:nvSpPr>
          <p:cNvPr id="86" name="Rechteck 85"/>
          <p:cNvSpPr/>
          <p:nvPr/>
        </p:nvSpPr>
        <p:spPr>
          <a:xfrm>
            <a:off x="1394473" y="1773307"/>
            <a:ext cx="10321841" cy="2006190"/>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399" b="1" dirty="0">
              <a:solidFill>
                <a:prstClr val="white"/>
              </a:solidFill>
            </a:endParaRPr>
          </a:p>
        </p:txBody>
      </p:sp>
      <p:sp>
        <p:nvSpPr>
          <p:cNvPr id="88" name="Rechteck 87"/>
          <p:cNvSpPr/>
          <p:nvPr/>
        </p:nvSpPr>
        <p:spPr>
          <a:xfrm>
            <a:off x="1853866" y="1923637"/>
            <a:ext cx="9485168" cy="73240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Sphere Core Platform</a:t>
            </a:r>
          </a:p>
        </p:txBody>
      </p:sp>
      <p:sp>
        <p:nvSpPr>
          <p:cNvPr id="89" name="Rechteck 88"/>
          <p:cNvSpPr/>
          <p:nvPr/>
        </p:nvSpPr>
        <p:spPr>
          <a:xfrm>
            <a:off x="1853865" y="2740225"/>
            <a:ext cx="9485169" cy="42522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Connect Integration</a:t>
            </a:r>
          </a:p>
        </p:txBody>
      </p:sp>
      <p:sp>
        <p:nvSpPr>
          <p:cNvPr id="72" name="Rechteck 71"/>
          <p:cNvSpPr/>
          <p:nvPr/>
        </p:nvSpPr>
        <p:spPr bwMode="auto">
          <a:xfrm>
            <a:off x="6450209" y="4136499"/>
            <a:ext cx="3586306" cy="2147719"/>
          </a:xfrm>
          <a:prstGeom prst="rect">
            <a:avLst/>
          </a:prstGeom>
          <a:noFill/>
          <a:ln>
            <a:solidFill>
              <a:schemeClr val="accent2">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algn="ctr"/>
            <a:r>
              <a:rPr lang="de-DE" sz="1399" b="1" dirty="0">
                <a:solidFill>
                  <a:schemeClr val="bg2">
                    <a:lumMod val="50000"/>
                  </a:schemeClr>
                </a:solidFill>
              </a:rPr>
              <a:t>On </a:t>
            </a:r>
            <a:r>
              <a:rPr lang="de-DE" sz="1399" b="1" dirty="0" err="1">
                <a:solidFill>
                  <a:schemeClr val="bg2">
                    <a:lumMod val="50000"/>
                  </a:schemeClr>
                </a:solidFill>
              </a:rPr>
              <a:t>Premise</a:t>
            </a:r>
            <a:endParaRPr lang="de-DE" sz="1399" b="1" dirty="0">
              <a:solidFill>
                <a:schemeClr val="bg2">
                  <a:lumMod val="50000"/>
                </a:schemeClr>
              </a:solidFill>
            </a:endParaRPr>
          </a:p>
        </p:txBody>
      </p:sp>
      <p:sp>
        <p:nvSpPr>
          <p:cNvPr id="135" name="Rechteck 134"/>
          <p:cNvSpPr/>
          <p:nvPr/>
        </p:nvSpPr>
        <p:spPr>
          <a:xfrm>
            <a:off x="1853866" y="3235586"/>
            <a:ext cx="2083623" cy="42522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Connect IoT Extension</a:t>
            </a:r>
          </a:p>
        </p:txBody>
      </p:sp>
      <p:sp>
        <p:nvSpPr>
          <p:cNvPr id="138" name="Rechteck 13"/>
          <p:cNvSpPr>
            <a:spLocks noChangeAspect="1"/>
          </p:cNvSpPr>
          <p:nvPr/>
        </p:nvSpPr>
        <p:spPr>
          <a:xfrm>
            <a:off x="1387809" y="4126499"/>
            <a:ext cx="2549680" cy="2157719"/>
          </a:xfrm>
          <a:prstGeom prst="rect">
            <a:avLst/>
          </a:prstGeom>
          <a:solidFill>
            <a:srgbClr val="08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399" b="1" dirty="0">
                <a:solidFill>
                  <a:prstClr val="white"/>
                </a:solidFill>
              </a:rPr>
              <a:t>3</a:t>
            </a:r>
            <a:r>
              <a:rPr lang="en-US" sz="1399" b="1" baseline="30000" dirty="0">
                <a:solidFill>
                  <a:prstClr val="white"/>
                </a:solidFill>
              </a:rPr>
              <a:t>rd</a:t>
            </a:r>
            <a:r>
              <a:rPr lang="en-US" sz="1399" b="1" dirty="0">
                <a:solidFill>
                  <a:prstClr val="white"/>
                </a:solidFill>
              </a:rPr>
              <a:t> Party IoT Devices &amp; sensors</a:t>
            </a:r>
          </a:p>
          <a:p>
            <a:pPr marL="285607" indent="-285607">
              <a:buFontTx/>
              <a:buChar char="-"/>
            </a:pPr>
            <a:r>
              <a:rPr lang="en-US" sz="1399" b="1" dirty="0">
                <a:solidFill>
                  <a:prstClr val="white"/>
                </a:solidFill>
              </a:rPr>
              <a:t>Agent SDKs</a:t>
            </a:r>
          </a:p>
          <a:p>
            <a:pPr marL="285607" indent="-285607">
              <a:buFontTx/>
              <a:buChar char="-"/>
            </a:pPr>
            <a:r>
              <a:rPr lang="en-US" sz="1399" b="1" dirty="0">
                <a:solidFill>
                  <a:prstClr val="white"/>
                </a:solidFill>
              </a:rPr>
              <a:t>Agent references</a:t>
            </a:r>
          </a:p>
          <a:p>
            <a:pPr marL="285607" indent="-285607">
              <a:buFontTx/>
              <a:buChar char="-"/>
            </a:pPr>
            <a:r>
              <a:rPr lang="en-US" sz="1399" b="1" dirty="0" err="1">
                <a:solidFill>
                  <a:prstClr val="white"/>
                </a:solidFill>
              </a:rPr>
              <a:t>Cumulocity</a:t>
            </a:r>
            <a:r>
              <a:rPr lang="en-US" sz="1399" b="1" dirty="0">
                <a:solidFill>
                  <a:prstClr val="white"/>
                </a:solidFill>
              </a:rPr>
              <a:t> certified devices</a:t>
            </a:r>
          </a:p>
        </p:txBody>
      </p:sp>
      <p:cxnSp>
        <p:nvCxnSpPr>
          <p:cNvPr id="134" name="Gerade Verbindung mit Pfeil 156"/>
          <p:cNvCxnSpPr>
            <a:stCxn id="142" idx="0"/>
          </p:cNvCxnSpPr>
          <p:nvPr/>
        </p:nvCxnSpPr>
        <p:spPr bwMode="auto">
          <a:xfrm rot="5400000" flipH="1" flipV="1">
            <a:off x="4708614" y="3650976"/>
            <a:ext cx="971045" cy="1"/>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6" name="Flussdiagramm: Magnetplattenspeicher 135"/>
          <p:cNvSpPr/>
          <p:nvPr/>
        </p:nvSpPr>
        <p:spPr bwMode="auto">
          <a:xfrm>
            <a:off x="6789636" y="4281937"/>
            <a:ext cx="1166342" cy="1508728"/>
          </a:xfrm>
          <a:prstGeom prst="flowChartMagneticDisk">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399" b="1" dirty="0">
                <a:solidFill>
                  <a:prstClr val="white"/>
                </a:solidFill>
              </a:rPr>
              <a:t>3</a:t>
            </a:r>
            <a:r>
              <a:rPr lang="en-US" sz="1399" b="1" baseline="30000" dirty="0">
                <a:solidFill>
                  <a:prstClr val="white"/>
                </a:solidFill>
              </a:rPr>
              <a:t>rd</a:t>
            </a:r>
            <a:r>
              <a:rPr lang="de-DE" sz="1399" b="1" dirty="0">
                <a:solidFill>
                  <a:schemeClr val="bg1"/>
                </a:solidFill>
                <a:latin typeface="Arial"/>
                <a:ea typeface="Arial Unicode MS" panose="020B0604020202020204" pitchFamily="34" charset="-128"/>
                <a:cs typeface="Arial Unicode MS" panose="020B0604020202020204" pitchFamily="34" charset="-128"/>
              </a:rPr>
              <a:t> Party </a:t>
            </a:r>
          </a:p>
          <a:p>
            <a:pPr algn="ctr">
              <a:lnSpc>
                <a:spcPct val="110000"/>
              </a:lnSpc>
              <a:spcBef>
                <a:spcPct val="0"/>
              </a:spcBef>
              <a:buFont typeface="Wingdings" charset="0"/>
              <a:buNone/>
            </a:pPr>
            <a:r>
              <a:rPr lang="de-DE" sz="1399" b="1" dirty="0">
                <a:solidFill>
                  <a:schemeClr val="bg1"/>
                </a:solidFill>
                <a:latin typeface="Arial"/>
                <a:ea typeface="Arial Unicode MS" panose="020B0604020202020204" pitchFamily="34" charset="-128"/>
                <a:cs typeface="Arial Unicode MS" panose="020B0604020202020204" pitchFamily="34" charset="-128"/>
              </a:rPr>
              <a:t>IT &amp; OT Systems</a:t>
            </a:r>
          </a:p>
        </p:txBody>
      </p:sp>
      <p:sp>
        <p:nvSpPr>
          <p:cNvPr id="142" name="Rechteck 141"/>
          <p:cNvSpPr/>
          <p:nvPr/>
        </p:nvSpPr>
        <p:spPr bwMode="auto">
          <a:xfrm>
            <a:off x="4036499" y="4136498"/>
            <a:ext cx="2315274" cy="2147720"/>
          </a:xfrm>
          <a:prstGeom prst="rect">
            <a:avLst/>
          </a:prstGeom>
          <a:noFill/>
          <a:ln>
            <a:solidFill>
              <a:schemeClr val="accent2">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algn="ctr"/>
            <a:r>
              <a:rPr lang="de-DE" sz="1399" b="1" dirty="0">
                <a:solidFill>
                  <a:schemeClr val="bg2">
                    <a:lumMod val="50000"/>
                  </a:schemeClr>
                </a:solidFill>
              </a:rPr>
              <a:t>Cloud</a:t>
            </a:r>
          </a:p>
        </p:txBody>
      </p:sp>
      <p:sp>
        <p:nvSpPr>
          <p:cNvPr id="991" name="Wolke 990"/>
          <p:cNvSpPr/>
          <p:nvPr/>
        </p:nvSpPr>
        <p:spPr bwMode="auto">
          <a:xfrm>
            <a:off x="4410782" y="4544036"/>
            <a:ext cx="1622251" cy="1089093"/>
          </a:xfrm>
          <a:prstGeom prst="cloud">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399" b="1" dirty="0">
                <a:solidFill>
                  <a:prstClr val="white"/>
                </a:solidFill>
              </a:rPr>
              <a:t>3</a:t>
            </a:r>
            <a:r>
              <a:rPr lang="en-US" sz="1399" b="1" baseline="30000" dirty="0">
                <a:solidFill>
                  <a:prstClr val="white"/>
                </a:solidFill>
              </a:rPr>
              <a:t>rd</a:t>
            </a:r>
            <a:r>
              <a:rPr lang="de-DE" sz="1399" b="1" dirty="0">
                <a:solidFill>
                  <a:schemeClr val="bg1"/>
                </a:solidFill>
                <a:ea typeface="Arial Unicode MS" panose="020B0604020202020204" pitchFamily="34" charset="-128"/>
                <a:cs typeface="Arial Unicode MS" panose="020B0604020202020204" pitchFamily="34" charset="-128"/>
              </a:rPr>
              <a:t> Party Cloud Services</a:t>
            </a:r>
          </a:p>
        </p:txBody>
      </p:sp>
      <p:sp>
        <p:nvSpPr>
          <p:cNvPr id="81" name="Rechteck 13"/>
          <p:cNvSpPr>
            <a:spLocks noChangeAspect="1"/>
          </p:cNvSpPr>
          <p:nvPr/>
        </p:nvSpPr>
        <p:spPr>
          <a:xfrm>
            <a:off x="8282711" y="4305748"/>
            <a:ext cx="1456778" cy="1635749"/>
          </a:xfrm>
          <a:prstGeom prst="rect">
            <a:avLst/>
          </a:prstGeom>
          <a:solidFill>
            <a:srgbClr val="08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1399" b="1" dirty="0">
                <a:solidFill>
                  <a:prstClr val="white"/>
                </a:solidFill>
              </a:rPr>
              <a:t>Components </a:t>
            </a:r>
          </a:p>
          <a:p>
            <a:pPr marL="285607" indent="-285607">
              <a:buFontTx/>
              <a:buChar char="-"/>
            </a:pPr>
            <a:r>
              <a:rPr lang="en-US" sz="1399" b="1" dirty="0">
                <a:solidFill>
                  <a:prstClr val="white"/>
                </a:solidFill>
              </a:rPr>
              <a:t>Integration Server</a:t>
            </a:r>
          </a:p>
          <a:p>
            <a:pPr marL="285607" indent="-285607">
              <a:buFontTx/>
              <a:buChar char="-"/>
            </a:pPr>
            <a:r>
              <a:rPr lang="en-US" sz="1399" b="1" dirty="0">
                <a:solidFill>
                  <a:prstClr val="white"/>
                </a:solidFill>
              </a:rPr>
              <a:t>Designer</a:t>
            </a:r>
          </a:p>
          <a:p>
            <a:pPr marL="285607" indent="-285607">
              <a:buFontTx/>
              <a:buChar char="-"/>
            </a:pPr>
            <a:r>
              <a:rPr lang="en-US" sz="1399" b="1" dirty="0">
                <a:solidFill>
                  <a:prstClr val="white"/>
                </a:solidFill>
              </a:rPr>
              <a:t>Installer/ Updater</a:t>
            </a:r>
          </a:p>
        </p:txBody>
      </p:sp>
      <p:sp>
        <p:nvSpPr>
          <p:cNvPr id="52" name="Rechteck 51"/>
          <p:cNvSpPr/>
          <p:nvPr/>
        </p:nvSpPr>
        <p:spPr>
          <a:xfrm>
            <a:off x="590664" y="1773305"/>
            <a:ext cx="625784" cy="2006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392" tIns="45696" rIns="91392" bIns="45696" numCol="1" spcCol="0" rtlCol="0" fromWordArt="0" anchor="ctr" anchorCtr="0" forceAA="0" compatLnSpc="1">
            <a:prstTxWarp prst="textNoShape">
              <a:avLst/>
            </a:prstTxWarp>
            <a:noAutofit/>
          </a:bodyPr>
          <a:lstStyle/>
          <a:p>
            <a:pPr algn="ctr"/>
            <a:r>
              <a:rPr lang="en-US" sz="1399" b="1" dirty="0">
                <a:solidFill>
                  <a:schemeClr val="accent3"/>
                </a:solidFill>
              </a:rPr>
              <a:t>MindSphere branded</a:t>
            </a:r>
          </a:p>
          <a:p>
            <a:pPr algn="ctr"/>
            <a:r>
              <a:rPr lang="en-US" sz="1399" b="1" dirty="0">
                <a:solidFill>
                  <a:schemeClr val="accent3"/>
                </a:solidFill>
              </a:rPr>
              <a:t>Cloud Environment </a:t>
            </a:r>
          </a:p>
        </p:txBody>
      </p:sp>
      <p:sp>
        <p:nvSpPr>
          <p:cNvPr id="58" name="Rechteck 13"/>
          <p:cNvSpPr>
            <a:spLocks noChangeAspect="1"/>
          </p:cNvSpPr>
          <p:nvPr/>
        </p:nvSpPr>
        <p:spPr>
          <a:xfrm>
            <a:off x="10638843" y="5261872"/>
            <a:ext cx="1077471" cy="476466"/>
          </a:xfrm>
          <a:prstGeom prst="rect">
            <a:avLst/>
          </a:prstGeom>
          <a:solidFill>
            <a:srgbClr val="08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999" b="1" dirty="0">
                <a:solidFill>
                  <a:prstClr val="white"/>
                </a:solidFill>
              </a:rPr>
              <a:t>Software AG branded</a:t>
            </a:r>
          </a:p>
        </p:txBody>
      </p:sp>
      <p:sp>
        <p:nvSpPr>
          <p:cNvPr id="59" name="Rechteck 13"/>
          <p:cNvSpPr>
            <a:spLocks noChangeAspect="1"/>
          </p:cNvSpPr>
          <p:nvPr/>
        </p:nvSpPr>
        <p:spPr>
          <a:xfrm>
            <a:off x="10638843" y="4750555"/>
            <a:ext cx="1070808" cy="46615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999" b="1" dirty="0">
                <a:solidFill>
                  <a:prstClr val="white"/>
                </a:solidFill>
              </a:rPr>
              <a:t>MindSphere branded</a:t>
            </a:r>
          </a:p>
        </p:txBody>
      </p:sp>
      <p:cxnSp>
        <p:nvCxnSpPr>
          <p:cNvPr id="61" name="Gerade Verbindung mit Pfeil 156"/>
          <p:cNvCxnSpPr/>
          <p:nvPr/>
        </p:nvCxnSpPr>
        <p:spPr bwMode="auto">
          <a:xfrm rot="5400000" flipH="1" flipV="1">
            <a:off x="7678867" y="3660813"/>
            <a:ext cx="971045" cy="1"/>
          </a:xfrm>
          <a:prstGeom prst="bentConnector3">
            <a:avLst>
              <a:gd name="adj1" fmla="val 50000"/>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mit Pfeil 10"/>
          <p:cNvCxnSpPr/>
          <p:nvPr/>
        </p:nvCxnSpPr>
        <p:spPr bwMode="auto">
          <a:xfrm flipV="1">
            <a:off x="2895678" y="3660813"/>
            <a:ext cx="0" cy="465685"/>
          </a:xfrm>
          <a:prstGeom prst="straightConnector1">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 name="Gerade Verbindung 2"/>
          <p:cNvCxnSpPr/>
          <p:nvPr/>
        </p:nvCxnSpPr>
        <p:spPr bwMode="auto">
          <a:xfrm>
            <a:off x="1169308" y="1773305"/>
            <a:ext cx="0" cy="2006191"/>
          </a:xfrm>
          <a:prstGeom prst="line">
            <a:avLst/>
          </a:prstGeom>
          <a:solidFill>
            <a:schemeClr val="tx2"/>
          </a:solidFill>
          <a:ln w="381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p:nvCxnSpPr>
        <p:spPr bwMode="auto">
          <a:xfrm>
            <a:off x="1169308" y="4126499"/>
            <a:ext cx="0" cy="2157719"/>
          </a:xfrm>
          <a:prstGeom prst="line">
            <a:avLst/>
          </a:prstGeom>
          <a:solidFill>
            <a:schemeClr val="tx2"/>
          </a:solidFill>
          <a:ln w="381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0" name="Rechteck 13"/>
          <p:cNvSpPr>
            <a:spLocks noChangeAspect="1"/>
          </p:cNvSpPr>
          <p:nvPr/>
        </p:nvSpPr>
        <p:spPr>
          <a:xfrm>
            <a:off x="10638843" y="5778668"/>
            <a:ext cx="1077471" cy="4764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r>
              <a:rPr lang="en-US" sz="999" b="1" dirty="0">
                <a:solidFill>
                  <a:prstClr val="white"/>
                </a:solidFill>
              </a:rPr>
              <a:t>3</a:t>
            </a:r>
            <a:r>
              <a:rPr lang="en-US" sz="999" b="1" baseline="30000" dirty="0">
                <a:solidFill>
                  <a:prstClr val="white"/>
                </a:solidFill>
              </a:rPr>
              <a:t>rd</a:t>
            </a:r>
            <a:r>
              <a:rPr lang="en-US" sz="999" b="1" dirty="0">
                <a:solidFill>
                  <a:prstClr val="white"/>
                </a:solidFill>
              </a:rPr>
              <a:t> party branded</a:t>
            </a:r>
          </a:p>
        </p:txBody>
      </p:sp>
      <p:sp>
        <p:nvSpPr>
          <p:cNvPr id="62" name="Rechteck 61"/>
          <p:cNvSpPr/>
          <p:nvPr/>
        </p:nvSpPr>
        <p:spPr>
          <a:xfrm>
            <a:off x="582577" y="4163366"/>
            <a:ext cx="625784" cy="2006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392" tIns="45696" rIns="91392" bIns="45696" numCol="1" spcCol="0" rtlCol="0" fromWordArt="0" anchor="ctr" anchorCtr="0" forceAA="0" compatLnSpc="1">
            <a:prstTxWarp prst="textNoShape">
              <a:avLst/>
            </a:prstTxWarp>
            <a:noAutofit/>
          </a:bodyPr>
          <a:lstStyle/>
          <a:p>
            <a:pPr algn="ctr"/>
            <a:r>
              <a:rPr lang="en-US" sz="1399" b="1" dirty="0">
                <a:solidFill>
                  <a:schemeClr val="accent3"/>
                </a:solidFill>
              </a:rPr>
              <a:t>Partner branded</a:t>
            </a:r>
          </a:p>
          <a:p>
            <a:pPr algn="ctr"/>
            <a:r>
              <a:rPr lang="en-US" sz="1399" b="1" dirty="0">
                <a:solidFill>
                  <a:schemeClr val="accent3"/>
                </a:solidFill>
              </a:rPr>
              <a:t>Field Level</a:t>
            </a:r>
          </a:p>
        </p:txBody>
      </p:sp>
    </p:spTree>
    <p:custDataLst>
      <p:tags r:id="rId1"/>
    </p:custDataLst>
    <p:extLst>
      <p:ext uri="{BB962C8B-B14F-4D97-AF65-F5344CB8AC3E}">
        <p14:creationId xmlns:p14="http://schemas.microsoft.com/office/powerpoint/2010/main" val="17252109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 name="Picture 2" descr="107498994443.pn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320100" y="3682981"/>
            <a:ext cx="6233978" cy="3094292"/>
          </a:xfrm>
          <a:prstGeom prst="rect">
            <a:avLst/>
          </a:prstGeom>
          <a:noFill/>
          <a:extLst>
            <a:ext uri="{909E8E84-426E-40DD-AFC4-6F175D3DCCD1}">
              <a14:hiddenFill xmlns:a14="http://schemas.microsoft.com/office/drawing/2010/main">
                <a:solidFill>
                  <a:srgbClr val="FFFFFF"/>
                </a:solidFill>
              </a14:hiddenFill>
            </a:ext>
          </a:extLst>
        </p:spPr>
      </p:pic>
      <p:sp>
        <p:nvSpPr>
          <p:cNvPr id="968" name="OTLSHAPE_TB_00000000000000000000000000000000_LeftEndCaps" hidden="1">
            <a:extLst>
              <a:ext uri="{FF2B5EF4-FFF2-40B4-BE49-F238E27FC236}">
                <a16:creationId xmlns:a16="http://schemas.microsoft.com/office/drawing/2014/main" xmlns="" id="{CAD66E36-886E-40C1-96A3-869FB700FE4E}"/>
              </a:ext>
            </a:extLst>
          </p:cNvPr>
          <p:cNvSpPr txBox="1"/>
          <p:nvPr>
            <p:custDataLst>
              <p:tags r:id="rId2"/>
            </p:custDataLst>
          </p:nvPr>
        </p:nvSpPr>
        <p:spPr>
          <a:xfrm>
            <a:off x="253868" y="5130481"/>
            <a:ext cx="467833" cy="304540"/>
          </a:xfrm>
          <a:prstGeom prst="rect">
            <a:avLst/>
          </a:prstGeom>
          <a:noFill/>
        </p:spPr>
        <p:txBody>
          <a:bodyPr vert="horz" wrap="none" lIns="0" tIns="0" rIns="0" bIns="0" rtlCol="0" anchor="ctr" anchorCtr="0">
            <a:spAutoFit/>
          </a:bodyPr>
          <a:lstStyle/>
          <a:p>
            <a:pPr algn="ctr">
              <a:lnSpc>
                <a:spcPct val="110000"/>
              </a:lnSpc>
            </a:pPr>
            <a:r>
              <a:rPr lang="en-US" sz="1799" b="1">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017</a:t>
            </a:r>
            <a:endParaRPr lang="en-US" sz="1799" b="1"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2" name="OTLSHAPE_T_9d0697827ba548778f994b1f89e29d9d_ShapePercentage" hidden="1">
            <a:extLst>
              <a:ext uri="{FF2B5EF4-FFF2-40B4-BE49-F238E27FC236}">
                <a16:creationId xmlns:a16="http://schemas.microsoft.com/office/drawing/2014/main" xmlns="" id="{175543EF-07AF-450A-A1B1-0816EAC43753}"/>
              </a:ext>
            </a:extLst>
          </p:cNvPr>
          <p:cNvSpPr/>
          <p:nvPr>
            <p:custDataLst>
              <p:tags r:id="rId3"/>
            </p:custDataLst>
          </p:nvPr>
        </p:nvSpPr>
        <p:spPr bwMode="auto">
          <a:xfrm>
            <a:off x="1276287" y="951308"/>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03" name="OTLSHAPE_T_9d0697827ba548778f994b1f89e29d9d_Duration" hidden="1">
            <a:extLst>
              <a:ext uri="{FF2B5EF4-FFF2-40B4-BE49-F238E27FC236}">
                <a16:creationId xmlns:a16="http://schemas.microsoft.com/office/drawing/2014/main" xmlns="" id="{F83D7EE8-47CA-4ED7-9A36-011CD1326471}"/>
              </a:ext>
            </a:extLst>
          </p:cNvPr>
          <p:cNvSpPr txBox="1"/>
          <p:nvPr>
            <p:custDataLst>
              <p:tags r:id="rId4"/>
            </p:custDataLst>
          </p:nvPr>
        </p:nvSpPr>
        <p:spPr>
          <a:xfrm>
            <a:off x="0" y="1371714"/>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4" name="OTLSHAPE_T_9d0697827ba548778f994b1f89e29d9d_TextPercentage" hidden="1">
            <a:extLst>
              <a:ext uri="{FF2B5EF4-FFF2-40B4-BE49-F238E27FC236}">
                <a16:creationId xmlns:a16="http://schemas.microsoft.com/office/drawing/2014/main" xmlns="" id="{DC02D616-2FEE-4F1A-9CE1-1B32B565441D}"/>
              </a:ext>
            </a:extLst>
          </p:cNvPr>
          <p:cNvSpPr txBox="1"/>
          <p:nvPr>
            <p:custDataLst>
              <p:tags r:id="rId5"/>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5" name="OTLSHAPE_T_9d0697827ba548778f994b1f89e29d9d_StartDate" hidden="1">
            <a:extLst>
              <a:ext uri="{FF2B5EF4-FFF2-40B4-BE49-F238E27FC236}">
                <a16:creationId xmlns:a16="http://schemas.microsoft.com/office/drawing/2014/main" xmlns="" id="{07867082-9FF8-47F6-A724-11CA6350905A}"/>
              </a:ext>
            </a:extLst>
          </p:cNvPr>
          <p:cNvSpPr txBox="1"/>
          <p:nvPr>
            <p:custDataLst>
              <p:tags r:id="rId6"/>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6" name="OTLSHAPE_T_9d0697827ba548778f994b1f89e29d9d_EndDate" hidden="1">
            <a:extLst>
              <a:ext uri="{FF2B5EF4-FFF2-40B4-BE49-F238E27FC236}">
                <a16:creationId xmlns:a16="http://schemas.microsoft.com/office/drawing/2014/main" xmlns="" id="{12193562-8CAB-4200-BFA8-E884875D6782}"/>
              </a:ext>
            </a:extLst>
          </p:cNvPr>
          <p:cNvSpPr txBox="1"/>
          <p:nvPr>
            <p:custDataLst>
              <p:tags r:id="rId7"/>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0" name="OTLSHAPE_T_1866601afc0b4c8ab57a01d059174bf3_ShapePercentage" hidden="1">
            <a:extLst>
              <a:ext uri="{FF2B5EF4-FFF2-40B4-BE49-F238E27FC236}">
                <a16:creationId xmlns:a16="http://schemas.microsoft.com/office/drawing/2014/main" xmlns="" id="{13D858C0-4729-4824-B647-C7753C815DFA}"/>
              </a:ext>
            </a:extLst>
          </p:cNvPr>
          <p:cNvSpPr/>
          <p:nvPr>
            <p:custDataLst>
              <p:tags r:id="rId8"/>
            </p:custDataLst>
          </p:nvPr>
        </p:nvSpPr>
        <p:spPr bwMode="auto">
          <a:xfrm>
            <a:off x="2184035" y="137281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1" name="OTLSHAPE_T_1866601afc0b4c8ab57a01d059174bf3_Duration" hidden="1">
            <a:extLst>
              <a:ext uri="{FF2B5EF4-FFF2-40B4-BE49-F238E27FC236}">
                <a16:creationId xmlns:a16="http://schemas.microsoft.com/office/drawing/2014/main" xmlns="" id="{B7C242EA-E44B-43C9-99B4-07847899D1F2}"/>
              </a:ext>
            </a:extLst>
          </p:cNvPr>
          <p:cNvSpPr txBox="1"/>
          <p:nvPr>
            <p:custDataLst>
              <p:tags r:id="rId9"/>
            </p:custDataLst>
          </p:nvPr>
        </p:nvSpPr>
        <p:spPr>
          <a:xfrm>
            <a:off x="0" y="177604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2" name="OTLSHAPE_T_1866601afc0b4c8ab57a01d059174bf3_TextPercentage" hidden="1">
            <a:extLst>
              <a:ext uri="{FF2B5EF4-FFF2-40B4-BE49-F238E27FC236}">
                <a16:creationId xmlns:a16="http://schemas.microsoft.com/office/drawing/2014/main" xmlns="" id="{B8E19359-186B-4058-9145-EA5450EB6BFB}"/>
              </a:ext>
            </a:extLst>
          </p:cNvPr>
          <p:cNvSpPr txBox="1"/>
          <p:nvPr>
            <p:custDataLst>
              <p:tags r:id="rId10"/>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3" name="OTLSHAPE_T_1866601afc0b4c8ab57a01d059174bf3_StartDate" hidden="1">
            <a:extLst>
              <a:ext uri="{FF2B5EF4-FFF2-40B4-BE49-F238E27FC236}">
                <a16:creationId xmlns:a16="http://schemas.microsoft.com/office/drawing/2014/main" xmlns="" id="{141723DE-F7F5-4F79-8CE3-4EF5EF43B219}"/>
              </a:ext>
            </a:extLst>
          </p:cNvPr>
          <p:cNvSpPr txBox="1"/>
          <p:nvPr>
            <p:custDataLst>
              <p:tags r:id="rId11"/>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4" name="OTLSHAPE_T_1866601afc0b4c8ab57a01d059174bf3_EndDate" hidden="1">
            <a:extLst>
              <a:ext uri="{FF2B5EF4-FFF2-40B4-BE49-F238E27FC236}">
                <a16:creationId xmlns:a16="http://schemas.microsoft.com/office/drawing/2014/main" xmlns="" id="{CD2B9ED5-1AFF-403C-92D6-9B62AFDB1760}"/>
              </a:ext>
            </a:extLst>
          </p:cNvPr>
          <p:cNvSpPr txBox="1"/>
          <p:nvPr>
            <p:custDataLst>
              <p:tags r:id="rId12"/>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8" name="OTLSHAPE_T_f95f11289efe4755a25d0d47a7c238b3_ShapePercentage" hidden="1">
            <a:extLst>
              <a:ext uri="{FF2B5EF4-FFF2-40B4-BE49-F238E27FC236}">
                <a16:creationId xmlns:a16="http://schemas.microsoft.com/office/drawing/2014/main" xmlns="" id="{5EBABA58-AECA-4EAA-818A-73A3EF2F9658}"/>
              </a:ext>
            </a:extLst>
          </p:cNvPr>
          <p:cNvSpPr/>
          <p:nvPr>
            <p:custDataLst>
              <p:tags r:id="rId13"/>
            </p:custDataLst>
          </p:nvPr>
        </p:nvSpPr>
        <p:spPr bwMode="auto">
          <a:xfrm>
            <a:off x="2184035" y="1870479"/>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9" name="OTLSHAPE_T_f95f11289efe4755a25d0d47a7c238b3_Duration" hidden="1">
            <a:extLst>
              <a:ext uri="{FF2B5EF4-FFF2-40B4-BE49-F238E27FC236}">
                <a16:creationId xmlns:a16="http://schemas.microsoft.com/office/drawing/2014/main" xmlns="" id="{991A1656-E0D5-4D3F-BFE8-B71A5BCD83B8}"/>
              </a:ext>
            </a:extLst>
          </p:cNvPr>
          <p:cNvSpPr txBox="1"/>
          <p:nvPr>
            <p:custDataLst>
              <p:tags r:id="rId14"/>
            </p:custDataLst>
          </p:nvPr>
        </p:nvSpPr>
        <p:spPr>
          <a:xfrm>
            <a:off x="0" y="2180368"/>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0" name="OTLSHAPE_T_f95f11289efe4755a25d0d47a7c238b3_TextPercentage" hidden="1">
            <a:extLst>
              <a:ext uri="{FF2B5EF4-FFF2-40B4-BE49-F238E27FC236}">
                <a16:creationId xmlns:a16="http://schemas.microsoft.com/office/drawing/2014/main" xmlns="" id="{E5ED491C-D154-400F-AEB2-8D8DEFAF3140}"/>
              </a:ext>
            </a:extLst>
          </p:cNvPr>
          <p:cNvSpPr txBox="1"/>
          <p:nvPr>
            <p:custDataLst>
              <p:tags r:id="rId15"/>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1" name="OTLSHAPE_T_f95f11289efe4755a25d0d47a7c238b3_StartDate" hidden="1">
            <a:extLst>
              <a:ext uri="{FF2B5EF4-FFF2-40B4-BE49-F238E27FC236}">
                <a16:creationId xmlns:a16="http://schemas.microsoft.com/office/drawing/2014/main" xmlns="" id="{3D1CFD0A-5399-4508-A23C-23148EB58D73}"/>
              </a:ext>
            </a:extLst>
          </p:cNvPr>
          <p:cNvSpPr txBox="1"/>
          <p:nvPr>
            <p:custDataLst>
              <p:tags r:id="rId16"/>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2" name="OTLSHAPE_T_f95f11289efe4755a25d0d47a7c238b3_EndDate" hidden="1">
            <a:extLst>
              <a:ext uri="{FF2B5EF4-FFF2-40B4-BE49-F238E27FC236}">
                <a16:creationId xmlns:a16="http://schemas.microsoft.com/office/drawing/2014/main" xmlns="" id="{48760F4B-77BE-4AA0-A4BF-612553EE85FE}"/>
              </a:ext>
            </a:extLst>
          </p:cNvPr>
          <p:cNvSpPr txBox="1"/>
          <p:nvPr>
            <p:custDataLst>
              <p:tags r:id="rId17"/>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6" name="OTLSHAPE_T_789fca074aa04b08bd72d547570510cd_ShapePercentage" hidden="1">
            <a:extLst>
              <a:ext uri="{FF2B5EF4-FFF2-40B4-BE49-F238E27FC236}">
                <a16:creationId xmlns:a16="http://schemas.microsoft.com/office/drawing/2014/main" xmlns="" id="{8F9E001B-5277-4D78-805C-68429F6B04B1}"/>
              </a:ext>
            </a:extLst>
          </p:cNvPr>
          <p:cNvSpPr/>
          <p:nvPr>
            <p:custDataLst>
              <p:tags r:id="rId18"/>
            </p:custDataLst>
          </p:nvPr>
        </p:nvSpPr>
        <p:spPr bwMode="auto">
          <a:xfrm>
            <a:off x="4777604" y="229198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27" name="OTLSHAPE_T_789fca074aa04b08bd72d547570510cd_Duration" hidden="1">
            <a:extLst>
              <a:ext uri="{FF2B5EF4-FFF2-40B4-BE49-F238E27FC236}">
                <a16:creationId xmlns:a16="http://schemas.microsoft.com/office/drawing/2014/main" xmlns="" id="{8B494926-AB09-42EF-9B13-A0A0C7C92996}"/>
              </a:ext>
            </a:extLst>
          </p:cNvPr>
          <p:cNvSpPr txBox="1"/>
          <p:nvPr>
            <p:custDataLst>
              <p:tags r:id="rId19"/>
            </p:custDataLst>
          </p:nvPr>
        </p:nvSpPr>
        <p:spPr>
          <a:xfrm>
            <a:off x="0" y="2446929"/>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8" name="OTLSHAPE_T_789fca074aa04b08bd72d547570510cd_TextPercentage" hidden="1">
            <a:extLst>
              <a:ext uri="{FF2B5EF4-FFF2-40B4-BE49-F238E27FC236}">
                <a16:creationId xmlns:a16="http://schemas.microsoft.com/office/drawing/2014/main" xmlns="" id="{EBE857F7-9937-4157-8E0B-D7DC83298D2B}"/>
              </a:ext>
            </a:extLst>
          </p:cNvPr>
          <p:cNvSpPr txBox="1"/>
          <p:nvPr>
            <p:custDataLst>
              <p:tags r:id="rId20"/>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9" name="OTLSHAPE_T_789fca074aa04b08bd72d547570510cd_StartDate" hidden="1">
            <a:extLst>
              <a:ext uri="{FF2B5EF4-FFF2-40B4-BE49-F238E27FC236}">
                <a16:creationId xmlns:a16="http://schemas.microsoft.com/office/drawing/2014/main" xmlns="" id="{0E1ECA2A-7E19-4D2A-A87E-CEECBD2F14ED}"/>
              </a:ext>
            </a:extLst>
          </p:cNvPr>
          <p:cNvSpPr txBox="1"/>
          <p:nvPr>
            <p:custDataLst>
              <p:tags r:id="rId21"/>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0" name="OTLSHAPE_T_789fca074aa04b08bd72d547570510cd_EndDate" hidden="1">
            <a:extLst>
              <a:ext uri="{FF2B5EF4-FFF2-40B4-BE49-F238E27FC236}">
                <a16:creationId xmlns:a16="http://schemas.microsoft.com/office/drawing/2014/main" xmlns="" id="{61443304-197F-4941-9948-1FF0B0BF1CC1}"/>
              </a:ext>
            </a:extLst>
          </p:cNvPr>
          <p:cNvSpPr txBox="1"/>
          <p:nvPr>
            <p:custDataLst>
              <p:tags r:id="rId22"/>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4" name="OTLSHAPE_T_7dd834d9f90d41cfb3e03e3281773e1b_ShapePercentage" hidden="1">
            <a:extLst>
              <a:ext uri="{FF2B5EF4-FFF2-40B4-BE49-F238E27FC236}">
                <a16:creationId xmlns:a16="http://schemas.microsoft.com/office/drawing/2014/main" xmlns="" id="{0186C3D0-4B72-46EE-8DE3-45058BE3A0E2}"/>
              </a:ext>
            </a:extLst>
          </p:cNvPr>
          <p:cNvSpPr/>
          <p:nvPr>
            <p:custDataLst>
              <p:tags r:id="rId23"/>
            </p:custDataLst>
          </p:nvPr>
        </p:nvSpPr>
        <p:spPr bwMode="auto">
          <a:xfrm>
            <a:off x="6117614" y="2789650"/>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35" name="OTLSHAPE_T_7dd834d9f90d41cfb3e03e3281773e1b_Duration" hidden="1">
            <a:extLst>
              <a:ext uri="{FF2B5EF4-FFF2-40B4-BE49-F238E27FC236}">
                <a16:creationId xmlns:a16="http://schemas.microsoft.com/office/drawing/2014/main" xmlns="" id="{BCE040C3-39D8-43E6-965A-801D8867EC38}"/>
              </a:ext>
            </a:extLst>
          </p:cNvPr>
          <p:cNvSpPr txBox="1"/>
          <p:nvPr>
            <p:custDataLst>
              <p:tags r:id="rId24"/>
            </p:custDataLst>
          </p:nvPr>
        </p:nvSpPr>
        <p:spPr>
          <a:xfrm>
            <a:off x="0" y="278965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6" name="OTLSHAPE_T_7dd834d9f90d41cfb3e03e3281773e1b_TextPercentage" hidden="1">
            <a:extLst>
              <a:ext uri="{FF2B5EF4-FFF2-40B4-BE49-F238E27FC236}">
                <a16:creationId xmlns:a16="http://schemas.microsoft.com/office/drawing/2014/main" xmlns="" id="{9E02F0CF-02E2-4091-88B5-B881C71B3437}"/>
              </a:ext>
            </a:extLst>
          </p:cNvPr>
          <p:cNvSpPr txBox="1"/>
          <p:nvPr>
            <p:custDataLst>
              <p:tags r:id="rId25"/>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7" name="OTLSHAPE_T_7dd834d9f90d41cfb3e03e3281773e1b_StartDate" hidden="1">
            <a:extLst>
              <a:ext uri="{FF2B5EF4-FFF2-40B4-BE49-F238E27FC236}">
                <a16:creationId xmlns:a16="http://schemas.microsoft.com/office/drawing/2014/main" xmlns="" id="{8DB6329B-3E42-4191-BCA3-789C5BAAFA2D}"/>
              </a:ext>
            </a:extLst>
          </p:cNvPr>
          <p:cNvSpPr txBox="1"/>
          <p:nvPr>
            <p:custDataLst>
              <p:tags r:id="rId26"/>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8" name="OTLSHAPE_T_7dd834d9f90d41cfb3e03e3281773e1b_EndDate" hidden="1">
            <a:extLst>
              <a:ext uri="{FF2B5EF4-FFF2-40B4-BE49-F238E27FC236}">
                <a16:creationId xmlns:a16="http://schemas.microsoft.com/office/drawing/2014/main" xmlns="" id="{4E37F0DF-B540-4652-B51C-221C20F8BB43}"/>
              </a:ext>
            </a:extLst>
          </p:cNvPr>
          <p:cNvSpPr txBox="1"/>
          <p:nvPr>
            <p:custDataLst>
              <p:tags r:id="rId27"/>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2" name="OTLSHAPE_T_ffbb008dfe224b5eb1a30d6676e2b7f2_ShapePercentage" hidden="1">
            <a:extLst>
              <a:ext uri="{FF2B5EF4-FFF2-40B4-BE49-F238E27FC236}">
                <a16:creationId xmlns:a16="http://schemas.microsoft.com/office/drawing/2014/main" xmlns="" id="{CFE5D07F-B24C-4408-A60D-6D14B0C7DC31}"/>
              </a:ext>
            </a:extLst>
          </p:cNvPr>
          <p:cNvSpPr/>
          <p:nvPr>
            <p:custDataLst>
              <p:tags r:id="rId28"/>
            </p:custDataLst>
          </p:nvPr>
        </p:nvSpPr>
        <p:spPr bwMode="auto">
          <a:xfrm>
            <a:off x="8754407" y="3257443"/>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3" name="OTLSHAPE_T_ffbb008dfe224b5eb1a30d6676e2b7f2_Duration" hidden="1">
            <a:extLst>
              <a:ext uri="{FF2B5EF4-FFF2-40B4-BE49-F238E27FC236}">
                <a16:creationId xmlns:a16="http://schemas.microsoft.com/office/drawing/2014/main" xmlns="" id="{962BFCAB-F946-4475-A9C6-465342C208DA}"/>
              </a:ext>
            </a:extLst>
          </p:cNvPr>
          <p:cNvSpPr txBox="1"/>
          <p:nvPr>
            <p:custDataLst>
              <p:tags r:id="rId29"/>
            </p:custDataLst>
          </p:nvPr>
        </p:nvSpPr>
        <p:spPr>
          <a:xfrm>
            <a:off x="0" y="3056212"/>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0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4" name="OTLSHAPE_T_ffbb008dfe224b5eb1a30d6676e2b7f2_TextPercentage" hidden="1">
            <a:extLst>
              <a:ext uri="{FF2B5EF4-FFF2-40B4-BE49-F238E27FC236}">
                <a16:creationId xmlns:a16="http://schemas.microsoft.com/office/drawing/2014/main" xmlns="" id="{D97B88FA-7371-4E3E-A646-8DADB8D73B3A}"/>
              </a:ext>
            </a:extLst>
          </p:cNvPr>
          <p:cNvSpPr txBox="1"/>
          <p:nvPr>
            <p:custDataLst>
              <p:tags r:id="rId30"/>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5" name="OTLSHAPE_T_ffbb008dfe224b5eb1a30d6676e2b7f2_StartDate" hidden="1">
            <a:extLst>
              <a:ext uri="{FF2B5EF4-FFF2-40B4-BE49-F238E27FC236}">
                <a16:creationId xmlns:a16="http://schemas.microsoft.com/office/drawing/2014/main" xmlns="" id="{E78BD665-3C9E-48E8-99E2-06DDEC5388CC}"/>
              </a:ext>
            </a:extLst>
          </p:cNvPr>
          <p:cNvSpPr txBox="1"/>
          <p:nvPr>
            <p:custDataLst>
              <p:tags r:id="rId31"/>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6" name="OTLSHAPE_T_ffbb008dfe224b5eb1a30d6676e2b7f2_EndDate" hidden="1">
            <a:extLst>
              <a:ext uri="{FF2B5EF4-FFF2-40B4-BE49-F238E27FC236}">
                <a16:creationId xmlns:a16="http://schemas.microsoft.com/office/drawing/2014/main" xmlns="" id="{A28DFC9A-802B-42DD-A5A5-894012663C7E}"/>
              </a:ext>
            </a:extLst>
          </p:cNvPr>
          <p:cNvSpPr txBox="1"/>
          <p:nvPr>
            <p:custDataLst>
              <p:tags r:id="rId32"/>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84" name="Textfeld 83"/>
          <p:cNvSpPr txBox="1"/>
          <p:nvPr/>
        </p:nvSpPr>
        <p:spPr>
          <a:xfrm>
            <a:off x="49268" y="5858475"/>
            <a:ext cx="3122574" cy="1203333"/>
          </a:xfrm>
          <a:prstGeom prst="rect">
            <a:avLst/>
          </a:prstGeom>
          <a:noFill/>
        </p:spPr>
        <p:txBody>
          <a:bodyPr wrap="square" lIns="0" tIns="0" rIns="0" bIns="0" rtlCol="0">
            <a:noAutofit/>
          </a:bodyPr>
          <a:lstStyle/>
          <a:p>
            <a:pPr>
              <a:lnSpc>
                <a:spcPct val="110000"/>
              </a:lnSpc>
            </a:pPr>
            <a:endParaRPr lang="de-DE" sz="1199" dirty="0">
              <a:ea typeface="Arial Unicode MS" panose="020B0604020202020204" pitchFamily="34" charset="-128"/>
              <a:cs typeface="Arial Unicode MS" panose="020B0604020202020204" pitchFamily="34" charset="-128"/>
            </a:endParaRPr>
          </a:p>
        </p:txBody>
      </p:sp>
      <p:sp>
        <p:nvSpPr>
          <p:cNvPr id="87" name="Textfeld 86"/>
          <p:cNvSpPr txBox="1"/>
          <p:nvPr/>
        </p:nvSpPr>
        <p:spPr>
          <a:xfrm>
            <a:off x="624515" y="427489"/>
            <a:ext cx="9174781" cy="738755"/>
          </a:xfrm>
          <a:prstGeom prst="rect">
            <a:avLst/>
          </a:prstGeom>
          <a:noFill/>
        </p:spPr>
        <p:txBody>
          <a:bodyPr wrap="square" lIns="0" tIns="0" rIns="0" bIns="0" rtlCol="0">
            <a:noAutofit/>
          </a:bodyPr>
          <a:lstStyle/>
          <a:p>
            <a:pPr>
              <a:lnSpc>
                <a:spcPct val="110000"/>
              </a:lnSpc>
              <a:spcBef>
                <a:spcPct val="0"/>
              </a:spcBef>
            </a:pPr>
            <a:r>
              <a:rPr lang="de-DE" sz="2199" b="1" dirty="0" err="1">
                <a:solidFill>
                  <a:srgbClr val="00646E"/>
                </a:solidFill>
                <a:cs typeface="Arial" pitchFamily="34" charset="0"/>
              </a:rPr>
              <a:t>Architecture</a:t>
            </a:r>
            <a:r>
              <a:rPr lang="de-DE" sz="2199" b="1" dirty="0">
                <a:solidFill>
                  <a:srgbClr val="00646E"/>
                </a:solidFill>
                <a:cs typeface="Arial" pitchFamily="34" charset="0"/>
              </a:rPr>
              <a:t> </a:t>
            </a:r>
            <a:r>
              <a:rPr lang="de-DE" sz="2199" b="1" dirty="0" err="1">
                <a:solidFill>
                  <a:srgbClr val="00646E"/>
                </a:solidFill>
                <a:cs typeface="Arial" pitchFamily="34" charset="0"/>
              </a:rPr>
              <a:t>MindConnect</a:t>
            </a:r>
            <a:r>
              <a:rPr lang="de-DE" sz="2199" b="1" dirty="0">
                <a:solidFill>
                  <a:srgbClr val="00646E"/>
                </a:solidFill>
                <a:cs typeface="Arial" pitchFamily="34" charset="0"/>
              </a:rPr>
              <a:t> Integration &amp; </a:t>
            </a:r>
            <a:r>
              <a:rPr lang="de-DE" sz="2199" b="1" dirty="0" err="1">
                <a:solidFill>
                  <a:srgbClr val="00646E"/>
                </a:solidFill>
                <a:cs typeface="Arial" pitchFamily="34" charset="0"/>
              </a:rPr>
              <a:t>IoT</a:t>
            </a:r>
            <a:r>
              <a:rPr lang="de-DE" sz="2199" b="1" dirty="0">
                <a:solidFill>
                  <a:srgbClr val="00646E"/>
                </a:solidFill>
                <a:cs typeface="Arial" pitchFamily="34" charset="0"/>
              </a:rPr>
              <a:t> Extension</a:t>
            </a:r>
          </a:p>
          <a:p>
            <a:pPr>
              <a:lnSpc>
                <a:spcPct val="110000"/>
              </a:lnSpc>
              <a:spcBef>
                <a:spcPct val="0"/>
              </a:spcBef>
            </a:pPr>
            <a:r>
              <a:rPr lang="de-DE" sz="2199" dirty="0">
                <a:solidFill>
                  <a:srgbClr val="00646E"/>
                </a:solidFill>
                <a:cs typeface="Arial" pitchFamily="34" charset="0"/>
              </a:rPr>
              <a:t>User Journey </a:t>
            </a:r>
            <a:r>
              <a:rPr lang="de-DE" sz="2199" dirty="0" err="1">
                <a:solidFill>
                  <a:srgbClr val="00646E"/>
                </a:solidFill>
                <a:cs typeface="Arial" pitchFamily="34" charset="0"/>
              </a:rPr>
              <a:t>O</a:t>
            </a:r>
            <a:r>
              <a:rPr lang="de-DE" sz="2199" dirty="0" err="1" smtClean="0">
                <a:solidFill>
                  <a:srgbClr val="00646E"/>
                </a:solidFill>
                <a:cs typeface="Arial" pitchFamily="34" charset="0"/>
              </a:rPr>
              <a:t>verview</a:t>
            </a:r>
            <a:endParaRPr lang="de-DE" sz="2199" dirty="0">
              <a:solidFill>
                <a:srgbClr val="00646E"/>
              </a:solidFill>
              <a:cs typeface="Arial" pitchFamily="34" charset="0"/>
            </a:endParaRPr>
          </a:p>
        </p:txBody>
      </p:sp>
      <p:sp>
        <p:nvSpPr>
          <p:cNvPr id="86" name="Rechteck 85"/>
          <p:cNvSpPr/>
          <p:nvPr/>
        </p:nvSpPr>
        <p:spPr>
          <a:xfrm>
            <a:off x="626737" y="1773307"/>
            <a:ext cx="11089577" cy="200619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399" b="1" dirty="0">
              <a:solidFill>
                <a:prstClr val="white"/>
              </a:solidFill>
            </a:endParaRPr>
          </a:p>
        </p:txBody>
      </p:sp>
      <p:sp>
        <p:nvSpPr>
          <p:cNvPr id="88" name="Rechteck 87"/>
          <p:cNvSpPr/>
          <p:nvPr/>
        </p:nvSpPr>
        <p:spPr>
          <a:xfrm>
            <a:off x="1853867" y="1923637"/>
            <a:ext cx="8683423" cy="73240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Sphere Core Platform</a:t>
            </a:r>
          </a:p>
        </p:txBody>
      </p:sp>
      <p:sp>
        <p:nvSpPr>
          <p:cNvPr id="89" name="Rechteck 88"/>
          <p:cNvSpPr/>
          <p:nvPr/>
        </p:nvSpPr>
        <p:spPr>
          <a:xfrm>
            <a:off x="1853866" y="2729598"/>
            <a:ext cx="8683425" cy="42522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Connect Integration</a:t>
            </a:r>
          </a:p>
        </p:txBody>
      </p:sp>
      <p:sp>
        <p:nvSpPr>
          <p:cNvPr id="135" name="Rechteck 134"/>
          <p:cNvSpPr/>
          <p:nvPr/>
        </p:nvSpPr>
        <p:spPr>
          <a:xfrm>
            <a:off x="1853867" y="3235586"/>
            <a:ext cx="3489994" cy="42522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Connect IoT Extension</a:t>
            </a:r>
          </a:p>
        </p:txBody>
      </p:sp>
      <p:sp>
        <p:nvSpPr>
          <p:cNvPr id="138" name="Rechteck 13"/>
          <p:cNvSpPr>
            <a:spLocks noChangeAspect="1"/>
          </p:cNvSpPr>
          <p:nvPr/>
        </p:nvSpPr>
        <p:spPr>
          <a:xfrm>
            <a:off x="1853867" y="4676364"/>
            <a:ext cx="3489994" cy="1607856"/>
          </a:xfrm>
          <a:prstGeom prst="rect">
            <a:avLst/>
          </a:prstGeom>
          <a:solidFill>
            <a:srgbClr val="0899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1399" b="1" dirty="0">
                <a:solidFill>
                  <a:prstClr val="white"/>
                </a:solidFill>
              </a:rPr>
              <a:t>MindConnect IoT Extension</a:t>
            </a:r>
          </a:p>
          <a:p>
            <a:pPr algn="ctr"/>
            <a:r>
              <a:rPr lang="en-US" sz="1399" b="1" dirty="0" err="1">
                <a:solidFill>
                  <a:prstClr val="white"/>
                </a:solidFill>
              </a:rPr>
              <a:t>Rasperry</a:t>
            </a:r>
            <a:r>
              <a:rPr lang="en-US" sz="1399" b="1" dirty="0">
                <a:solidFill>
                  <a:prstClr val="white"/>
                </a:solidFill>
              </a:rPr>
              <a:t> Pie Sensor </a:t>
            </a:r>
          </a:p>
        </p:txBody>
      </p:sp>
      <p:cxnSp>
        <p:nvCxnSpPr>
          <p:cNvPr id="11" name="Gerade Verbindung mit Pfeil 10"/>
          <p:cNvCxnSpPr/>
          <p:nvPr/>
        </p:nvCxnSpPr>
        <p:spPr bwMode="auto">
          <a:xfrm flipV="1">
            <a:off x="3650228" y="3660813"/>
            <a:ext cx="0" cy="950237"/>
          </a:xfrm>
          <a:prstGeom prst="straightConnector1">
            <a:avLst/>
          </a:prstGeom>
          <a:solidFill>
            <a:schemeClr val="tx2"/>
          </a:solidFill>
          <a:ln w="44450" cap="flat" cmpd="sng" algn="ctr">
            <a:solidFill>
              <a:schemeClr val="bg1">
                <a:lumMod val="50000"/>
              </a:scheme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1" name="Rechteck 3"/>
          <p:cNvSpPr>
            <a:spLocks noChangeAspect="1"/>
          </p:cNvSpPr>
          <p:nvPr/>
        </p:nvSpPr>
        <p:spPr bwMode="auto">
          <a:xfrm>
            <a:off x="-4333533"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1</a:t>
            </a:r>
          </a:p>
        </p:txBody>
      </p:sp>
      <p:sp>
        <p:nvSpPr>
          <p:cNvPr id="42" name="Rechteck 4"/>
          <p:cNvSpPr>
            <a:spLocks noChangeAspect="1"/>
          </p:cNvSpPr>
          <p:nvPr/>
        </p:nvSpPr>
        <p:spPr bwMode="auto">
          <a:xfrm>
            <a:off x="-3912824"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2</a:t>
            </a:r>
          </a:p>
        </p:txBody>
      </p:sp>
      <p:sp>
        <p:nvSpPr>
          <p:cNvPr id="43" name="Rechteck 5"/>
          <p:cNvSpPr>
            <a:spLocks noChangeAspect="1"/>
          </p:cNvSpPr>
          <p:nvPr/>
        </p:nvSpPr>
        <p:spPr bwMode="auto">
          <a:xfrm>
            <a:off x="-3480061"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3</a:t>
            </a:r>
          </a:p>
        </p:txBody>
      </p:sp>
      <p:sp>
        <p:nvSpPr>
          <p:cNvPr id="44" name="Rechteck 6"/>
          <p:cNvSpPr>
            <a:spLocks noChangeAspect="1"/>
          </p:cNvSpPr>
          <p:nvPr/>
        </p:nvSpPr>
        <p:spPr bwMode="auto">
          <a:xfrm>
            <a:off x="-3047788"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4</a:t>
            </a:r>
          </a:p>
        </p:txBody>
      </p:sp>
      <p:sp>
        <p:nvSpPr>
          <p:cNvPr id="45" name="Rechteck 7"/>
          <p:cNvSpPr>
            <a:spLocks noChangeAspect="1"/>
          </p:cNvSpPr>
          <p:nvPr/>
        </p:nvSpPr>
        <p:spPr bwMode="auto">
          <a:xfrm>
            <a:off x="-2615514"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5</a:t>
            </a:r>
          </a:p>
        </p:txBody>
      </p:sp>
      <p:sp>
        <p:nvSpPr>
          <p:cNvPr id="46" name="Rechteck 8"/>
          <p:cNvSpPr>
            <a:spLocks noChangeAspect="1"/>
          </p:cNvSpPr>
          <p:nvPr/>
        </p:nvSpPr>
        <p:spPr bwMode="auto">
          <a:xfrm>
            <a:off x="-2175687"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6</a:t>
            </a:r>
          </a:p>
        </p:txBody>
      </p:sp>
      <p:sp>
        <p:nvSpPr>
          <p:cNvPr id="47" name="Rechteck 9"/>
          <p:cNvSpPr>
            <a:spLocks noChangeAspect="1"/>
          </p:cNvSpPr>
          <p:nvPr/>
        </p:nvSpPr>
        <p:spPr bwMode="auto">
          <a:xfrm>
            <a:off x="-1743413"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7</a:t>
            </a:r>
          </a:p>
        </p:txBody>
      </p:sp>
      <p:sp>
        <p:nvSpPr>
          <p:cNvPr id="48" name="Rechteck 10"/>
          <p:cNvSpPr>
            <a:spLocks noChangeAspect="1"/>
          </p:cNvSpPr>
          <p:nvPr/>
        </p:nvSpPr>
        <p:spPr bwMode="auto">
          <a:xfrm>
            <a:off x="-1311139"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8</a:t>
            </a:r>
          </a:p>
        </p:txBody>
      </p:sp>
      <p:sp>
        <p:nvSpPr>
          <p:cNvPr id="49" name="Rechteck 11"/>
          <p:cNvSpPr>
            <a:spLocks noChangeAspect="1"/>
          </p:cNvSpPr>
          <p:nvPr/>
        </p:nvSpPr>
        <p:spPr bwMode="auto">
          <a:xfrm>
            <a:off x="-878864"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9</a:t>
            </a:r>
          </a:p>
        </p:txBody>
      </p:sp>
      <p:sp>
        <p:nvSpPr>
          <p:cNvPr id="50" name="Rechteck 12"/>
          <p:cNvSpPr>
            <a:spLocks noChangeAspect="1"/>
          </p:cNvSpPr>
          <p:nvPr/>
        </p:nvSpPr>
        <p:spPr bwMode="auto">
          <a:xfrm>
            <a:off x="-446591" y="2245482"/>
            <a:ext cx="287850" cy="287850"/>
          </a:xfrm>
          <a:prstGeom prst="rect">
            <a:avLst/>
          </a:prstGeom>
          <a:solidFill>
            <a:srgbClr val="BECDD7"/>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0</a:t>
            </a:r>
          </a:p>
        </p:txBody>
      </p:sp>
      <p:sp>
        <p:nvSpPr>
          <p:cNvPr id="51" name="Rechteck 23"/>
          <p:cNvSpPr>
            <a:spLocks noChangeAspect="1"/>
          </p:cNvSpPr>
          <p:nvPr/>
        </p:nvSpPr>
        <p:spPr bwMode="auto">
          <a:xfrm>
            <a:off x="-4333533"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1</a:t>
            </a:r>
          </a:p>
        </p:txBody>
      </p:sp>
      <p:sp>
        <p:nvSpPr>
          <p:cNvPr id="52" name="Rechteck 24"/>
          <p:cNvSpPr>
            <a:spLocks noChangeAspect="1"/>
          </p:cNvSpPr>
          <p:nvPr/>
        </p:nvSpPr>
        <p:spPr bwMode="auto">
          <a:xfrm>
            <a:off x="-3912824"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2</a:t>
            </a:r>
          </a:p>
        </p:txBody>
      </p:sp>
      <p:sp>
        <p:nvSpPr>
          <p:cNvPr id="53" name="Rechteck 25"/>
          <p:cNvSpPr>
            <a:spLocks noChangeAspect="1"/>
          </p:cNvSpPr>
          <p:nvPr/>
        </p:nvSpPr>
        <p:spPr bwMode="auto">
          <a:xfrm>
            <a:off x="-3480061"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3</a:t>
            </a:r>
          </a:p>
        </p:txBody>
      </p:sp>
      <p:sp>
        <p:nvSpPr>
          <p:cNvPr id="54" name="Rechteck 27"/>
          <p:cNvSpPr>
            <a:spLocks noChangeAspect="1"/>
          </p:cNvSpPr>
          <p:nvPr/>
        </p:nvSpPr>
        <p:spPr bwMode="auto">
          <a:xfrm>
            <a:off x="-2615514"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5</a:t>
            </a:r>
          </a:p>
        </p:txBody>
      </p:sp>
      <p:sp>
        <p:nvSpPr>
          <p:cNvPr id="55" name="Rechteck 28"/>
          <p:cNvSpPr>
            <a:spLocks noChangeAspect="1"/>
          </p:cNvSpPr>
          <p:nvPr/>
        </p:nvSpPr>
        <p:spPr bwMode="auto">
          <a:xfrm>
            <a:off x="-2175687"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6</a:t>
            </a:r>
          </a:p>
        </p:txBody>
      </p:sp>
      <p:sp>
        <p:nvSpPr>
          <p:cNvPr id="56" name="Rechteck 29"/>
          <p:cNvSpPr>
            <a:spLocks noChangeAspect="1"/>
          </p:cNvSpPr>
          <p:nvPr/>
        </p:nvSpPr>
        <p:spPr bwMode="auto">
          <a:xfrm>
            <a:off x="-1743413"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7</a:t>
            </a:r>
          </a:p>
        </p:txBody>
      </p:sp>
      <p:sp>
        <p:nvSpPr>
          <p:cNvPr id="57" name="Rechteck 30"/>
          <p:cNvSpPr>
            <a:spLocks noChangeAspect="1"/>
          </p:cNvSpPr>
          <p:nvPr/>
        </p:nvSpPr>
        <p:spPr bwMode="auto">
          <a:xfrm>
            <a:off x="-1311139"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8</a:t>
            </a:r>
          </a:p>
        </p:txBody>
      </p:sp>
      <p:sp>
        <p:nvSpPr>
          <p:cNvPr id="58" name="Rechteck 31"/>
          <p:cNvSpPr>
            <a:spLocks noChangeAspect="1"/>
          </p:cNvSpPr>
          <p:nvPr/>
        </p:nvSpPr>
        <p:spPr bwMode="auto">
          <a:xfrm>
            <a:off x="-878864"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9</a:t>
            </a:r>
          </a:p>
        </p:txBody>
      </p:sp>
      <p:sp>
        <p:nvSpPr>
          <p:cNvPr id="59" name="Rechteck 32"/>
          <p:cNvSpPr>
            <a:spLocks noChangeAspect="1"/>
          </p:cNvSpPr>
          <p:nvPr/>
        </p:nvSpPr>
        <p:spPr bwMode="auto">
          <a:xfrm>
            <a:off x="-446591"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0</a:t>
            </a:r>
          </a:p>
        </p:txBody>
      </p:sp>
      <p:sp>
        <p:nvSpPr>
          <p:cNvPr id="60" name="Rechteck 43"/>
          <p:cNvSpPr>
            <a:spLocks noChangeAspect="1"/>
          </p:cNvSpPr>
          <p:nvPr/>
        </p:nvSpPr>
        <p:spPr bwMode="auto">
          <a:xfrm>
            <a:off x="-4333533"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1</a:t>
            </a:r>
          </a:p>
        </p:txBody>
      </p:sp>
      <p:sp>
        <p:nvSpPr>
          <p:cNvPr id="61" name="Rechteck 44"/>
          <p:cNvSpPr>
            <a:spLocks noChangeAspect="1"/>
          </p:cNvSpPr>
          <p:nvPr/>
        </p:nvSpPr>
        <p:spPr bwMode="auto">
          <a:xfrm>
            <a:off x="-3912824"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2</a:t>
            </a:r>
          </a:p>
        </p:txBody>
      </p:sp>
      <p:sp>
        <p:nvSpPr>
          <p:cNvPr id="62" name="Rechteck 45"/>
          <p:cNvSpPr>
            <a:spLocks noChangeAspect="1"/>
          </p:cNvSpPr>
          <p:nvPr/>
        </p:nvSpPr>
        <p:spPr bwMode="auto">
          <a:xfrm>
            <a:off x="-3480061"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3</a:t>
            </a:r>
          </a:p>
        </p:txBody>
      </p:sp>
      <p:sp>
        <p:nvSpPr>
          <p:cNvPr id="63" name="Rechteck 46"/>
          <p:cNvSpPr>
            <a:spLocks noChangeAspect="1"/>
          </p:cNvSpPr>
          <p:nvPr/>
        </p:nvSpPr>
        <p:spPr bwMode="auto">
          <a:xfrm>
            <a:off x="-3047788"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4</a:t>
            </a:r>
          </a:p>
        </p:txBody>
      </p:sp>
      <p:sp>
        <p:nvSpPr>
          <p:cNvPr id="64" name="Rechteck 47"/>
          <p:cNvSpPr>
            <a:spLocks noChangeAspect="1"/>
          </p:cNvSpPr>
          <p:nvPr/>
        </p:nvSpPr>
        <p:spPr bwMode="auto">
          <a:xfrm>
            <a:off x="-2615514"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5</a:t>
            </a:r>
          </a:p>
        </p:txBody>
      </p:sp>
      <p:sp>
        <p:nvSpPr>
          <p:cNvPr id="65" name="Rechteck 48"/>
          <p:cNvSpPr>
            <a:spLocks noChangeAspect="1"/>
          </p:cNvSpPr>
          <p:nvPr/>
        </p:nvSpPr>
        <p:spPr bwMode="auto">
          <a:xfrm>
            <a:off x="-2175687"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6</a:t>
            </a:r>
          </a:p>
        </p:txBody>
      </p:sp>
      <p:sp>
        <p:nvSpPr>
          <p:cNvPr id="66" name="Rechteck 49"/>
          <p:cNvSpPr>
            <a:spLocks noChangeAspect="1"/>
          </p:cNvSpPr>
          <p:nvPr/>
        </p:nvSpPr>
        <p:spPr bwMode="auto">
          <a:xfrm>
            <a:off x="-1743413"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7</a:t>
            </a:r>
          </a:p>
        </p:txBody>
      </p:sp>
      <p:sp>
        <p:nvSpPr>
          <p:cNvPr id="67" name="Rechteck 50"/>
          <p:cNvSpPr>
            <a:spLocks noChangeAspect="1"/>
          </p:cNvSpPr>
          <p:nvPr/>
        </p:nvSpPr>
        <p:spPr bwMode="auto">
          <a:xfrm>
            <a:off x="-1311139"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8</a:t>
            </a:r>
          </a:p>
        </p:txBody>
      </p:sp>
      <p:sp>
        <p:nvSpPr>
          <p:cNvPr id="68" name="Rechteck 51"/>
          <p:cNvSpPr>
            <a:spLocks noChangeAspect="1"/>
          </p:cNvSpPr>
          <p:nvPr/>
        </p:nvSpPr>
        <p:spPr bwMode="auto">
          <a:xfrm>
            <a:off x="-878864"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9</a:t>
            </a:r>
          </a:p>
        </p:txBody>
      </p:sp>
      <p:sp>
        <p:nvSpPr>
          <p:cNvPr id="69" name="Rechteck 52"/>
          <p:cNvSpPr>
            <a:spLocks noChangeAspect="1"/>
          </p:cNvSpPr>
          <p:nvPr/>
        </p:nvSpPr>
        <p:spPr bwMode="auto">
          <a:xfrm>
            <a:off x="-446591" y="3819353"/>
            <a:ext cx="287850" cy="287850"/>
          </a:xfrm>
          <a:prstGeom prst="rect">
            <a:avLst/>
          </a:prstGeom>
          <a:solidFill>
            <a:srgbClr val="FFB900"/>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0</a:t>
            </a:r>
          </a:p>
        </p:txBody>
      </p:sp>
      <p:sp>
        <p:nvSpPr>
          <p:cNvPr id="70" name="Rechteck 63"/>
          <p:cNvSpPr>
            <a:spLocks noChangeAspect="1"/>
          </p:cNvSpPr>
          <p:nvPr/>
        </p:nvSpPr>
        <p:spPr bwMode="auto">
          <a:xfrm>
            <a:off x="2013854" y="4793970"/>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1</a:t>
            </a:r>
          </a:p>
        </p:txBody>
      </p:sp>
      <p:sp>
        <p:nvSpPr>
          <p:cNvPr id="71" name="Rechteck 64"/>
          <p:cNvSpPr>
            <a:spLocks noChangeAspect="1"/>
          </p:cNvSpPr>
          <p:nvPr/>
        </p:nvSpPr>
        <p:spPr bwMode="auto">
          <a:xfrm>
            <a:off x="-3912824" y="353905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2</a:t>
            </a:r>
          </a:p>
        </p:txBody>
      </p:sp>
      <p:sp>
        <p:nvSpPr>
          <p:cNvPr id="72" name="Rechteck 65"/>
          <p:cNvSpPr>
            <a:spLocks noChangeAspect="1"/>
          </p:cNvSpPr>
          <p:nvPr/>
        </p:nvSpPr>
        <p:spPr bwMode="auto">
          <a:xfrm>
            <a:off x="-3480061" y="353905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3</a:t>
            </a:r>
          </a:p>
        </p:txBody>
      </p:sp>
      <p:sp>
        <p:nvSpPr>
          <p:cNvPr id="73" name="Rechteck 66"/>
          <p:cNvSpPr>
            <a:spLocks noChangeAspect="1"/>
          </p:cNvSpPr>
          <p:nvPr/>
        </p:nvSpPr>
        <p:spPr bwMode="auto">
          <a:xfrm>
            <a:off x="2013854" y="214591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4</a:t>
            </a:r>
          </a:p>
        </p:txBody>
      </p:sp>
      <p:sp>
        <p:nvSpPr>
          <p:cNvPr id="74" name="Rechteck 67"/>
          <p:cNvSpPr>
            <a:spLocks noChangeAspect="1"/>
          </p:cNvSpPr>
          <p:nvPr/>
        </p:nvSpPr>
        <p:spPr bwMode="auto">
          <a:xfrm>
            <a:off x="-2615514" y="353905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5</a:t>
            </a:r>
          </a:p>
        </p:txBody>
      </p:sp>
      <p:sp>
        <p:nvSpPr>
          <p:cNvPr id="75" name="Rechteck 68"/>
          <p:cNvSpPr>
            <a:spLocks noChangeAspect="1"/>
          </p:cNvSpPr>
          <p:nvPr/>
        </p:nvSpPr>
        <p:spPr bwMode="auto">
          <a:xfrm>
            <a:off x="-2175687" y="353905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6</a:t>
            </a:r>
          </a:p>
        </p:txBody>
      </p:sp>
      <p:sp>
        <p:nvSpPr>
          <p:cNvPr id="76" name="Rechteck 69"/>
          <p:cNvSpPr>
            <a:spLocks noChangeAspect="1"/>
          </p:cNvSpPr>
          <p:nvPr/>
        </p:nvSpPr>
        <p:spPr bwMode="auto">
          <a:xfrm>
            <a:off x="-1743413" y="353905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7</a:t>
            </a:r>
          </a:p>
        </p:txBody>
      </p:sp>
      <p:sp>
        <p:nvSpPr>
          <p:cNvPr id="77" name="Rechteck 70"/>
          <p:cNvSpPr>
            <a:spLocks noChangeAspect="1"/>
          </p:cNvSpPr>
          <p:nvPr/>
        </p:nvSpPr>
        <p:spPr bwMode="auto">
          <a:xfrm>
            <a:off x="-1311139" y="353905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8</a:t>
            </a:r>
          </a:p>
        </p:txBody>
      </p:sp>
      <p:sp>
        <p:nvSpPr>
          <p:cNvPr id="78" name="Rechteck 71"/>
          <p:cNvSpPr>
            <a:spLocks noChangeAspect="1"/>
          </p:cNvSpPr>
          <p:nvPr/>
        </p:nvSpPr>
        <p:spPr bwMode="auto">
          <a:xfrm>
            <a:off x="-878864" y="353905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9</a:t>
            </a:r>
          </a:p>
        </p:txBody>
      </p:sp>
      <p:sp>
        <p:nvSpPr>
          <p:cNvPr id="79" name="Rechteck 72"/>
          <p:cNvSpPr>
            <a:spLocks noChangeAspect="1"/>
          </p:cNvSpPr>
          <p:nvPr/>
        </p:nvSpPr>
        <p:spPr bwMode="auto">
          <a:xfrm>
            <a:off x="-446591" y="353905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0</a:t>
            </a:r>
          </a:p>
        </p:txBody>
      </p:sp>
      <p:sp>
        <p:nvSpPr>
          <p:cNvPr id="80" name="Rechteck 73"/>
          <p:cNvSpPr>
            <a:spLocks noChangeAspect="1"/>
          </p:cNvSpPr>
          <p:nvPr/>
        </p:nvSpPr>
        <p:spPr bwMode="auto">
          <a:xfrm>
            <a:off x="-4333533"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1</a:t>
            </a:r>
          </a:p>
        </p:txBody>
      </p:sp>
      <p:sp>
        <p:nvSpPr>
          <p:cNvPr id="81" name="Rechteck 74"/>
          <p:cNvSpPr>
            <a:spLocks noChangeAspect="1"/>
          </p:cNvSpPr>
          <p:nvPr/>
        </p:nvSpPr>
        <p:spPr bwMode="auto">
          <a:xfrm>
            <a:off x="-3912824"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2</a:t>
            </a:r>
          </a:p>
        </p:txBody>
      </p:sp>
      <p:sp>
        <p:nvSpPr>
          <p:cNvPr id="82" name="Rechteck 75"/>
          <p:cNvSpPr>
            <a:spLocks noChangeAspect="1"/>
          </p:cNvSpPr>
          <p:nvPr/>
        </p:nvSpPr>
        <p:spPr bwMode="auto">
          <a:xfrm>
            <a:off x="-3480061"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3</a:t>
            </a:r>
          </a:p>
        </p:txBody>
      </p:sp>
      <p:sp>
        <p:nvSpPr>
          <p:cNvPr id="83" name="Rechteck 76"/>
          <p:cNvSpPr>
            <a:spLocks noChangeAspect="1"/>
          </p:cNvSpPr>
          <p:nvPr/>
        </p:nvSpPr>
        <p:spPr bwMode="auto">
          <a:xfrm>
            <a:off x="-3047788"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4</a:t>
            </a:r>
          </a:p>
        </p:txBody>
      </p:sp>
      <p:sp>
        <p:nvSpPr>
          <p:cNvPr id="85" name="Rechteck 77"/>
          <p:cNvSpPr>
            <a:spLocks noChangeAspect="1"/>
          </p:cNvSpPr>
          <p:nvPr/>
        </p:nvSpPr>
        <p:spPr bwMode="auto">
          <a:xfrm>
            <a:off x="-2615514"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5</a:t>
            </a:r>
          </a:p>
        </p:txBody>
      </p:sp>
      <p:sp>
        <p:nvSpPr>
          <p:cNvPr id="90" name="Rechteck 78"/>
          <p:cNvSpPr>
            <a:spLocks noChangeAspect="1"/>
          </p:cNvSpPr>
          <p:nvPr/>
        </p:nvSpPr>
        <p:spPr bwMode="auto">
          <a:xfrm>
            <a:off x="-2175687"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6</a:t>
            </a:r>
          </a:p>
        </p:txBody>
      </p:sp>
      <p:sp>
        <p:nvSpPr>
          <p:cNvPr id="91" name="Rechteck 79"/>
          <p:cNvSpPr>
            <a:spLocks noChangeAspect="1"/>
          </p:cNvSpPr>
          <p:nvPr/>
        </p:nvSpPr>
        <p:spPr bwMode="auto">
          <a:xfrm>
            <a:off x="-1743413"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7</a:t>
            </a:r>
          </a:p>
        </p:txBody>
      </p:sp>
      <p:sp>
        <p:nvSpPr>
          <p:cNvPr id="92" name="Rechteck 80"/>
          <p:cNvSpPr>
            <a:spLocks noChangeAspect="1"/>
          </p:cNvSpPr>
          <p:nvPr/>
        </p:nvSpPr>
        <p:spPr bwMode="auto">
          <a:xfrm>
            <a:off x="-1311139"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8</a:t>
            </a:r>
          </a:p>
        </p:txBody>
      </p:sp>
      <p:sp>
        <p:nvSpPr>
          <p:cNvPr id="93" name="Rechteck 81"/>
          <p:cNvSpPr>
            <a:spLocks noChangeAspect="1"/>
          </p:cNvSpPr>
          <p:nvPr/>
        </p:nvSpPr>
        <p:spPr bwMode="auto">
          <a:xfrm>
            <a:off x="-878864"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9</a:t>
            </a:r>
          </a:p>
        </p:txBody>
      </p:sp>
      <p:sp>
        <p:nvSpPr>
          <p:cNvPr id="94" name="Rechteck 82"/>
          <p:cNvSpPr>
            <a:spLocks noChangeAspect="1"/>
          </p:cNvSpPr>
          <p:nvPr/>
        </p:nvSpPr>
        <p:spPr bwMode="auto">
          <a:xfrm>
            <a:off x="-446591" y="4388513"/>
            <a:ext cx="287850" cy="287850"/>
          </a:xfrm>
          <a:prstGeom prst="rect">
            <a:avLst/>
          </a:prstGeom>
          <a:solidFill>
            <a:srgbClr val="AF235F"/>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0</a:t>
            </a:r>
          </a:p>
        </p:txBody>
      </p:sp>
      <p:sp>
        <p:nvSpPr>
          <p:cNvPr id="95" name="Rechteck 93"/>
          <p:cNvSpPr>
            <a:spLocks noChangeAspect="1"/>
          </p:cNvSpPr>
          <p:nvPr/>
        </p:nvSpPr>
        <p:spPr bwMode="auto">
          <a:xfrm>
            <a:off x="-4333533" y="4107203"/>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1</a:t>
            </a:r>
          </a:p>
        </p:txBody>
      </p:sp>
      <p:sp>
        <p:nvSpPr>
          <p:cNvPr id="96" name="Rechteck 94"/>
          <p:cNvSpPr>
            <a:spLocks noChangeAspect="1"/>
          </p:cNvSpPr>
          <p:nvPr/>
        </p:nvSpPr>
        <p:spPr bwMode="auto">
          <a:xfrm>
            <a:off x="-3912824"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2</a:t>
            </a:r>
          </a:p>
        </p:txBody>
      </p:sp>
      <p:sp>
        <p:nvSpPr>
          <p:cNvPr id="97" name="Rechteck 95"/>
          <p:cNvSpPr>
            <a:spLocks noChangeAspect="1"/>
          </p:cNvSpPr>
          <p:nvPr/>
        </p:nvSpPr>
        <p:spPr bwMode="auto">
          <a:xfrm>
            <a:off x="-3480061"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3</a:t>
            </a:r>
          </a:p>
        </p:txBody>
      </p:sp>
      <p:sp>
        <p:nvSpPr>
          <p:cNvPr id="98" name="Rechteck 96"/>
          <p:cNvSpPr>
            <a:spLocks noChangeAspect="1"/>
          </p:cNvSpPr>
          <p:nvPr/>
        </p:nvSpPr>
        <p:spPr bwMode="auto">
          <a:xfrm>
            <a:off x="-3047788"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4</a:t>
            </a:r>
          </a:p>
        </p:txBody>
      </p:sp>
      <p:sp>
        <p:nvSpPr>
          <p:cNvPr id="99" name="Rechteck 97"/>
          <p:cNvSpPr>
            <a:spLocks noChangeAspect="1"/>
          </p:cNvSpPr>
          <p:nvPr/>
        </p:nvSpPr>
        <p:spPr bwMode="auto">
          <a:xfrm>
            <a:off x="-2615514"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5</a:t>
            </a:r>
          </a:p>
        </p:txBody>
      </p:sp>
      <p:sp>
        <p:nvSpPr>
          <p:cNvPr id="100" name="Rechteck 98"/>
          <p:cNvSpPr>
            <a:spLocks noChangeAspect="1"/>
          </p:cNvSpPr>
          <p:nvPr/>
        </p:nvSpPr>
        <p:spPr bwMode="auto">
          <a:xfrm>
            <a:off x="-2175687"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6</a:t>
            </a:r>
          </a:p>
        </p:txBody>
      </p:sp>
      <p:sp>
        <p:nvSpPr>
          <p:cNvPr id="101" name="Rechteck 99"/>
          <p:cNvSpPr>
            <a:spLocks noChangeAspect="1"/>
          </p:cNvSpPr>
          <p:nvPr/>
        </p:nvSpPr>
        <p:spPr bwMode="auto">
          <a:xfrm>
            <a:off x="-1743413"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7</a:t>
            </a:r>
          </a:p>
        </p:txBody>
      </p:sp>
      <p:sp>
        <p:nvSpPr>
          <p:cNvPr id="102" name="Rechteck 100"/>
          <p:cNvSpPr>
            <a:spLocks noChangeAspect="1"/>
          </p:cNvSpPr>
          <p:nvPr/>
        </p:nvSpPr>
        <p:spPr bwMode="auto">
          <a:xfrm>
            <a:off x="-1311139"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8</a:t>
            </a:r>
          </a:p>
        </p:txBody>
      </p:sp>
      <p:sp>
        <p:nvSpPr>
          <p:cNvPr id="103" name="Rechteck 101"/>
          <p:cNvSpPr>
            <a:spLocks noChangeAspect="1"/>
          </p:cNvSpPr>
          <p:nvPr/>
        </p:nvSpPr>
        <p:spPr bwMode="auto">
          <a:xfrm>
            <a:off x="-878864"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9</a:t>
            </a:r>
          </a:p>
        </p:txBody>
      </p:sp>
      <p:sp>
        <p:nvSpPr>
          <p:cNvPr id="104" name="Rechteck 102"/>
          <p:cNvSpPr>
            <a:spLocks noChangeAspect="1"/>
          </p:cNvSpPr>
          <p:nvPr/>
        </p:nvSpPr>
        <p:spPr bwMode="auto">
          <a:xfrm>
            <a:off x="-446591"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0</a:t>
            </a:r>
          </a:p>
        </p:txBody>
      </p:sp>
      <p:sp>
        <p:nvSpPr>
          <p:cNvPr id="105" name="Rechteck 103"/>
          <p:cNvSpPr>
            <a:spLocks noChangeAspect="1"/>
          </p:cNvSpPr>
          <p:nvPr/>
        </p:nvSpPr>
        <p:spPr bwMode="auto">
          <a:xfrm>
            <a:off x="-4333533"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1</a:t>
            </a:r>
          </a:p>
        </p:txBody>
      </p:sp>
      <p:sp>
        <p:nvSpPr>
          <p:cNvPr id="106" name="Rechteck 104"/>
          <p:cNvSpPr>
            <a:spLocks noChangeAspect="1"/>
          </p:cNvSpPr>
          <p:nvPr/>
        </p:nvSpPr>
        <p:spPr bwMode="auto">
          <a:xfrm>
            <a:off x="-3912824"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2</a:t>
            </a:r>
          </a:p>
        </p:txBody>
      </p:sp>
      <p:sp>
        <p:nvSpPr>
          <p:cNvPr id="107" name="Rechteck 105"/>
          <p:cNvSpPr>
            <a:spLocks noChangeAspect="1"/>
          </p:cNvSpPr>
          <p:nvPr/>
        </p:nvSpPr>
        <p:spPr bwMode="auto">
          <a:xfrm>
            <a:off x="-3480061"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3</a:t>
            </a:r>
          </a:p>
        </p:txBody>
      </p:sp>
      <p:sp>
        <p:nvSpPr>
          <p:cNvPr id="108" name="Rechteck 106"/>
          <p:cNvSpPr>
            <a:spLocks noChangeAspect="1"/>
          </p:cNvSpPr>
          <p:nvPr/>
        </p:nvSpPr>
        <p:spPr bwMode="auto">
          <a:xfrm>
            <a:off x="-3047788"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4</a:t>
            </a:r>
          </a:p>
        </p:txBody>
      </p:sp>
      <p:sp>
        <p:nvSpPr>
          <p:cNvPr id="109" name="Rechteck 107"/>
          <p:cNvSpPr>
            <a:spLocks noChangeAspect="1"/>
          </p:cNvSpPr>
          <p:nvPr/>
        </p:nvSpPr>
        <p:spPr bwMode="auto">
          <a:xfrm>
            <a:off x="-2615514"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5</a:t>
            </a:r>
          </a:p>
        </p:txBody>
      </p:sp>
      <p:sp>
        <p:nvSpPr>
          <p:cNvPr id="110" name="Rechteck 108"/>
          <p:cNvSpPr>
            <a:spLocks noChangeAspect="1"/>
          </p:cNvSpPr>
          <p:nvPr/>
        </p:nvSpPr>
        <p:spPr bwMode="auto">
          <a:xfrm>
            <a:off x="-2175687"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6</a:t>
            </a:r>
          </a:p>
        </p:txBody>
      </p:sp>
      <p:sp>
        <p:nvSpPr>
          <p:cNvPr id="111" name="Rechteck 109"/>
          <p:cNvSpPr>
            <a:spLocks noChangeAspect="1"/>
          </p:cNvSpPr>
          <p:nvPr/>
        </p:nvSpPr>
        <p:spPr bwMode="auto">
          <a:xfrm>
            <a:off x="-1743413"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7</a:t>
            </a:r>
          </a:p>
        </p:txBody>
      </p:sp>
      <p:sp>
        <p:nvSpPr>
          <p:cNvPr id="112" name="Rechteck 110"/>
          <p:cNvSpPr>
            <a:spLocks noChangeAspect="1"/>
          </p:cNvSpPr>
          <p:nvPr/>
        </p:nvSpPr>
        <p:spPr bwMode="auto">
          <a:xfrm>
            <a:off x="-1311139"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8</a:t>
            </a:r>
          </a:p>
        </p:txBody>
      </p:sp>
      <p:sp>
        <p:nvSpPr>
          <p:cNvPr id="113" name="Rechteck 111"/>
          <p:cNvSpPr>
            <a:spLocks noChangeAspect="1"/>
          </p:cNvSpPr>
          <p:nvPr/>
        </p:nvSpPr>
        <p:spPr bwMode="auto">
          <a:xfrm>
            <a:off x="-878864"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9</a:t>
            </a:r>
          </a:p>
        </p:txBody>
      </p:sp>
      <p:sp>
        <p:nvSpPr>
          <p:cNvPr id="114" name="Rechteck 112"/>
          <p:cNvSpPr>
            <a:spLocks noChangeAspect="1"/>
          </p:cNvSpPr>
          <p:nvPr/>
        </p:nvSpPr>
        <p:spPr bwMode="auto">
          <a:xfrm>
            <a:off x="-446591" y="4676363"/>
            <a:ext cx="287850" cy="287850"/>
          </a:xfrm>
          <a:prstGeom prst="rect">
            <a:avLst/>
          </a:prstGeom>
          <a:solidFill>
            <a:srgbClr val="005F8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0</a:t>
            </a:r>
          </a:p>
        </p:txBody>
      </p:sp>
      <p:sp>
        <p:nvSpPr>
          <p:cNvPr id="115" name="Rechteck 170"/>
          <p:cNvSpPr>
            <a:spLocks noChangeAspect="1"/>
          </p:cNvSpPr>
          <p:nvPr/>
        </p:nvSpPr>
        <p:spPr bwMode="auto">
          <a:xfrm>
            <a:off x="-3047788" y="2809489"/>
            <a:ext cx="287850" cy="287850"/>
          </a:xfrm>
          <a:prstGeom prst="rect">
            <a:avLst/>
          </a:prstGeom>
          <a:solidFill>
            <a:srgbClr val="D7D7CD"/>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4</a:t>
            </a:r>
          </a:p>
        </p:txBody>
      </p:sp>
      <p:sp>
        <p:nvSpPr>
          <p:cNvPr id="116" name="Rechteck 94"/>
          <p:cNvSpPr>
            <a:spLocks noChangeAspect="1"/>
          </p:cNvSpPr>
          <p:nvPr/>
        </p:nvSpPr>
        <p:spPr bwMode="auto">
          <a:xfrm>
            <a:off x="-4333533" y="4107203"/>
            <a:ext cx="287850" cy="287850"/>
          </a:xfrm>
          <a:prstGeom prst="rect">
            <a:avLst/>
          </a:prstGeom>
          <a:solidFill>
            <a:srgbClr val="64194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1</a:t>
            </a:r>
          </a:p>
        </p:txBody>
      </p:sp>
      <p:sp>
        <p:nvSpPr>
          <p:cNvPr id="117" name="Rechteck 23"/>
          <p:cNvSpPr>
            <a:spLocks noChangeAspect="1"/>
          </p:cNvSpPr>
          <p:nvPr/>
        </p:nvSpPr>
        <p:spPr bwMode="auto">
          <a:xfrm>
            <a:off x="-4333533"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1</a:t>
            </a:r>
          </a:p>
        </p:txBody>
      </p:sp>
      <p:sp>
        <p:nvSpPr>
          <p:cNvPr id="118" name="Rechteck 24"/>
          <p:cNvSpPr>
            <a:spLocks noChangeAspect="1"/>
          </p:cNvSpPr>
          <p:nvPr/>
        </p:nvSpPr>
        <p:spPr bwMode="auto">
          <a:xfrm>
            <a:off x="-3912824"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2</a:t>
            </a:r>
          </a:p>
        </p:txBody>
      </p:sp>
      <p:sp>
        <p:nvSpPr>
          <p:cNvPr id="119" name="Rechteck 25"/>
          <p:cNvSpPr>
            <a:spLocks noChangeAspect="1"/>
          </p:cNvSpPr>
          <p:nvPr/>
        </p:nvSpPr>
        <p:spPr bwMode="auto">
          <a:xfrm>
            <a:off x="-3480061"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3</a:t>
            </a:r>
          </a:p>
        </p:txBody>
      </p:sp>
      <p:sp>
        <p:nvSpPr>
          <p:cNvPr id="120" name="Rechteck 27"/>
          <p:cNvSpPr>
            <a:spLocks noChangeAspect="1"/>
          </p:cNvSpPr>
          <p:nvPr/>
        </p:nvSpPr>
        <p:spPr bwMode="auto">
          <a:xfrm>
            <a:off x="-2615514"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5</a:t>
            </a:r>
          </a:p>
        </p:txBody>
      </p:sp>
      <p:sp>
        <p:nvSpPr>
          <p:cNvPr id="121" name="Rechteck 28"/>
          <p:cNvSpPr>
            <a:spLocks noChangeAspect="1"/>
          </p:cNvSpPr>
          <p:nvPr/>
        </p:nvSpPr>
        <p:spPr bwMode="auto">
          <a:xfrm>
            <a:off x="-2175687"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6</a:t>
            </a:r>
          </a:p>
        </p:txBody>
      </p:sp>
      <p:sp>
        <p:nvSpPr>
          <p:cNvPr id="122" name="Rechteck 29"/>
          <p:cNvSpPr>
            <a:spLocks noChangeAspect="1"/>
          </p:cNvSpPr>
          <p:nvPr/>
        </p:nvSpPr>
        <p:spPr bwMode="auto">
          <a:xfrm>
            <a:off x="-1743413"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7</a:t>
            </a:r>
          </a:p>
        </p:txBody>
      </p:sp>
      <p:sp>
        <p:nvSpPr>
          <p:cNvPr id="123" name="Rechteck 30"/>
          <p:cNvSpPr>
            <a:spLocks noChangeAspect="1"/>
          </p:cNvSpPr>
          <p:nvPr/>
        </p:nvSpPr>
        <p:spPr bwMode="auto">
          <a:xfrm>
            <a:off x="-1311139"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8</a:t>
            </a:r>
          </a:p>
        </p:txBody>
      </p:sp>
      <p:sp>
        <p:nvSpPr>
          <p:cNvPr id="124" name="Rechteck 31"/>
          <p:cNvSpPr>
            <a:spLocks noChangeAspect="1"/>
          </p:cNvSpPr>
          <p:nvPr/>
        </p:nvSpPr>
        <p:spPr bwMode="auto">
          <a:xfrm>
            <a:off x="-878864"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9</a:t>
            </a:r>
          </a:p>
        </p:txBody>
      </p:sp>
      <p:sp>
        <p:nvSpPr>
          <p:cNvPr id="125" name="Rechteck 32"/>
          <p:cNvSpPr>
            <a:spLocks noChangeAspect="1"/>
          </p:cNvSpPr>
          <p:nvPr/>
        </p:nvSpPr>
        <p:spPr bwMode="auto">
          <a:xfrm>
            <a:off x="-446591"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0</a:t>
            </a:r>
          </a:p>
        </p:txBody>
      </p:sp>
      <p:sp>
        <p:nvSpPr>
          <p:cNvPr id="126" name="Rechteck 170"/>
          <p:cNvSpPr>
            <a:spLocks noChangeAspect="1"/>
          </p:cNvSpPr>
          <p:nvPr/>
        </p:nvSpPr>
        <p:spPr bwMode="auto">
          <a:xfrm>
            <a:off x="-3047788" y="2531054"/>
            <a:ext cx="287850" cy="287850"/>
          </a:xfrm>
          <a:prstGeom prst="rect">
            <a:avLst/>
          </a:prstGeom>
          <a:solidFill>
            <a:srgbClr val="AAAA96"/>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4</a:t>
            </a:r>
          </a:p>
        </p:txBody>
      </p:sp>
      <p:sp>
        <p:nvSpPr>
          <p:cNvPr id="127" name="Rechteck 103"/>
          <p:cNvSpPr>
            <a:spLocks noChangeAspect="1"/>
          </p:cNvSpPr>
          <p:nvPr/>
        </p:nvSpPr>
        <p:spPr bwMode="auto">
          <a:xfrm>
            <a:off x="-4333533"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1</a:t>
            </a:r>
          </a:p>
        </p:txBody>
      </p:sp>
      <p:sp>
        <p:nvSpPr>
          <p:cNvPr id="128" name="Rechteck 104"/>
          <p:cNvSpPr>
            <a:spLocks noChangeAspect="1"/>
          </p:cNvSpPr>
          <p:nvPr/>
        </p:nvSpPr>
        <p:spPr bwMode="auto">
          <a:xfrm>
            <a:off x="-3912824"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2</a:t>
            </a:r>
          </a:p>
        </p:txBody>
      </p:sp>
      <p:sp>
        <p:nvSpPr>
          <p:cNvPr id="129" name="Rechteck 105"/>
          <p:cNvSpPr>
            <a:spLocks noChangeAspect="1"/>
          </p:cNvSpPr>
          <p:nvPr/>
        </p:nvSpPr>
        <p:spPr bwMode="auto">
          <a:xfrm>
            <a:off x="-3480061"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3</a:t>
            </a:r>
          </a:p>
        </p:txBody>
      </p:sp>
      <p:sp>
        <p:nvSpPr>
          <p:cNvPr id="130" name="Rechteck 106"/>
          <p:cNvSpPr>
            <a:spLocks noChangeAspect="1"/>
          </p:cNvSpPr>
          <p:nvPr/>
        </p:nvSpPr>
        <p:spPr bwMode="auto">
          <a:xfrm>
            <a:off x="-3047788"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4</a:t>
            </a:r>
          </a:p>
        </p:txBody>
      </p:sp>
      <p:sp>
        <p:nvSpPr>
          <p:cNvPr id="131" name="Rechteck 107"/>
          <p:cNvSpPr>
            <a:spLocks noChangeAspect="1"/>
          </p:cNvSpPr>
          <p:nvPr/>
        </p:nvSpPr>
        <p:spPr bwMode="auto">
          <a:xfrm>
            <a:off x="-2615514"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5</a:t>
            </a:r>
          </a:p>
        </p:txBody>
      </p:sp>
      <p:sp>
        <p:nvSpPr>
          <p:cNvPr id="132" name="Rechteck 108"/>
          <p:cNvSpPr>
            <a:spLocks noChangeAspect="1"/>
          </p:cNvSpPr>
          <p:nvPr/>
        </p:nvSpPr>
        <p:spPr bwMode="auto">
          <a:xfrm>
            <a:off x="-2175687"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6</a:t>
            </a:r>
          </a:p>
        </p:txBody>
      </p:sp>
      <p:sp>
        <p:nvSpPr>
          <p:cNvPr id="133" name="Rechteck 109"/>
          <p:cNvSpPr>
            <a:spLocks noChangeAspect="1"/>
          </p:cNvSpPr>
          <p:nvPr/>
        </p:nvSpPr>
        <p:spPr bwMode="auto">
          <a:xfrm>
            <a:off x="-1743413"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7</a:t>
            </a:r>
          </a:p>
        </p:txBody>
      </p:sp>
      <p:sp>
        <p:nvSpPr>
          <p:cNvPr id="134" name="Rechteck 110"/>
          <p:cNvSpPr>
            <a:spLocks noChangeAspect="1"/>
          </p:cNvSpPr>
          <p:nvPr/>
        </p:nvSpPr>
        <p:spPr bwMode="auto">
          <a:xfrm>
            <a:off x="-1311139"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8</a:t>
            </a:r>
          </a:p>
        </p:txBody>
      </p:sp>
      <p:sp>
        <p:nvSpPr>
          <p:cNvPr id="136" name="Rechteck 111"/>
          <p:cNvSpPr>
            <a:spLocks noChangeAspect="1"/>
          </p:cNvSpPr>
          <p:nvPr/>
        </p:nvSpPr>
        <p:spPr bwMode="auto">
          <a:xfrm>
            <a:off x="-878864"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9</a:t>
            </a:r>
          </a:p>
        </p:txBody>
      </p:sp>
      <p:sp>
        <p:nvSpPr>
          <p:cNvPr id="137" name="Rechteck 112"/>
          <p:cNvSpPr>
            <a:spLocks noChangeAspect="1"/>
          </p:cNvSpPr>
          <p:nvPr/>
        </p:nvSpPr>
        <p:spPr bwMode="auto">
          <a:xfrm>
            <a:off x="-446591" y="5521840"/>
            <a:ext cx="287850" cy="287850"/>
          </a:xfrm>
          <a:prstGeom prst="rect">
            <a:avLst/>
          </a:prstGeom>
          <a:solidFill>
            <a:srgbClr val="AAB414"/>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0</a:t>
            </a:r>
          </a:p>
        </p:txBody>
      </p:sp>
      <p:sp>
        <p:nvSpPr>
          <p:cNvPr id="139" name="Rechteck 13"/>
          <p:cNvSpPr>
            <a:spLocks noChangeAspect="1"/>
          </p:cNvSpPr>
          <p:nvPr/>
        </p:nvSpPr>
        <p:spPr bwMode="auto">
          <a:xfrm>
            <a:off x="-4333533"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1</a:t>
            </a:r>
          </a:p>
        </p:txBody>
      </p:sp>
      <p:sp>
        <p:nvSpPr>
          <p:cNvPr id="140" name="Rechteck 14"/>
          <p:cNvSpPr>
            <a:spLocks noChangeAspect="1"/>
          </p:cNvSpPr>
          <p:nvPr/>
        </p:nvSpPr>
        <p:spPr bwMode="auto">
          <a:xfrm>
            <a:off x="-3912824"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2</a:t>
            </a:r>
          </a:p>
        </p:txBody>
      </p:sp>
      <p:sp>
        <p:nvSpPr>
          <p:cNvPr id="141" name="Rechteck 15"/>
          <p:cNvSpPr>
            <a:spLocks noChangeAspect="1"/>
          </p:cNvSpPr>
          <p:nvPr/>
        </p:nvSpPr>
        <p:spPr bwMode="auto">
          <a:xfrm>
            <a:off x="-3480061"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3</a:t>
            </a:r>
          </a:p>
        </p:txBody>
      </p:sp>
      <p:sp>
        <p:nvSpPr>
          <p:cNvPr id="142" name="Rechteck 16"/>
          <p:cNvSpPr>
            <a:spLocks noChangeAspect="1"/>
          </p:cNvSpPr>
          <p:nvPr/>
        </p:nvSpPr>
        <p:spPr bwMode="auto">
          <a:xfrm>
            <a:off x="-3047788"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4</a:t>
            </a:r>
          </a:p>
        </p:txBody>
      </p:sp>
      <p:sp>
        <p:nvSpPr>
          <p:cNvPr id="143" name="Rechteck 17"/>
          <p:cNvSpPr>
            <a:spLocks noChangeAspect="1"/>
          </p:cNvSpPr>
          <p:nvPr/>
        </p:nvSpPr>
        <p:spPr bwMode="auto">
          <a:xfrm>
            <a:off x="-2615514"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5</a:t>
            </a:r>
          </a:p>
        </p:txBody>
      </p:sp>
      <p:sp>
        <p:nvSpPr>
          <p:cNvPr id="144" name="Rechteck 18"/>
          <p:cNvSpPr>
            <a:spLocks noChangeAspect="1"/>
          </p:cNvSpPr>
          <p:nvPr/>
        </p:nvSpPr>
        <p:spPr bwMode="auto">
          <a:xfrm>
            <a:off x="-2175687"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6</a:t>
            </a:r>
          </a:p>
        </p:txBody>
      </p:sp>
      <p:sp>
        <p:nvSpPr>
          <p:cNvPr id="145" name="Rechteck 19"/>
          <p:cNvSpPr>
            <a:spLocks noChangeAspect="1"/>
          </p:cNvSpPr>
          <p:nvPr/>
        </p:nvSpPr>
        <p:spPr bwMode="auto">
          <a:xfrm>
            <a:off x="-1743413"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7</a:t>
            </a:r>
          </a:p>
        </p:txBody>
      </p:sp>
      <p:sp>
        <p:nvSpPr>
          <p:cNvPr id="146" name="Rechteck 20"/>
          <p:cNvSpPr>
            <a:spLocks noChangeAspect="1"/>
          </p:cNvSpPr>
          <p:nvPr/>
        </p:nvSpPr>
        <p:spPr bwMode="auto">
          <a:xfrm>
            <a:off x="-1311139"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8</a:t>
            </a:r>
          </a:p>
        </p:txBody>
      </p:sp>
      <p:sp>
        <p:nvSpPr>
          <p:cNvPr id="147" name="Rechteck 21"/>
          <p:cNvSpPr>
            <a:spLocks noChangeAspect="1"/>
          </p:cNvSpPr>
          <p:nvPr/>
        </p:nvSpPr>
        <p:spPr bwMode="auto">
          <a:xfrm>
            <a:off x="-878864"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9</a:t>
            </a:r>
          </a:p>
        </p:txBody>
      </p:sp>
      <p:sp>
        <p:nvSpPr>
          <p:cNvPr id="148" name="Rechteck 22"/>
          <p:cNvSpPr>
            <a:spLocks noChangeAspect="1"/>
          </p:cNvSpPr>
          <p:nvPr/>
        </p:nvSpPr>
        <p:spPr bwMode="auto">
          <a:xfrm>
            <a:off x="-446591" y="1989830"/>
            <a:ext cx="287850" cy="287850"/>
          </a:xfrm>
          <a:prstGeom prst="rect">
            <a:avLst/>
          </a:prstGeom>
          <a:solidFill>
            <a:srgbClr val="879BA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0</a:t>
            </a:r>
          </a:p>
        </p:txBody>
      </p:sp>
      <p:sp>
        <p:nvSpPr>
          <p:cNvPr id="149" name="Rechteck 103"/>
          <p:cNvSpPr>
            <a:spLocks noChangeAspect="1"/>
          </p:cNvSpPr>
          <p:nvPr/>
        </p:nvSpPr>
        <p:spPr bwMode="auto">
          <a:xfrm>
            <a:off x="-4333533"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1</a:t>
            </a:r>
          </a:p>
        </p:txBody>
      </p:sp>
      <p:sp>
        <p:nvSpPr>
          <p:cNvPr id="150" name="Rechteck 104"/>
          <p:cNvSpPr>
            <a:spLocks noChangeAspect="1"/>
          </p:cNvSpPr>
          <p:nvPr/>
        </p:nvSpPr>
        <p:spPr bwMode="auto">
          <a:xfrm>
            <a:off x="-3912824"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2</a:t>
            </a:r>
          </a:p>
        </p:txBody>
      </p:sp>
      <p:sp>
        <p:nvSpPr>
          <p:cNvPr id="151" name="Rechteck 105"/>
          <p:cNvSpPr>
            <a:spLocks noChangeAspect="1"/>
          </p:cNvSpPr>
          <p:nvPr/>
        </p:nvSpPr>
        <p:spPr bwMode="auto">
          <a:xfrm>
            <a:off x="-3480061"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3</a:t>
            </a:r>
          </a:p>
        </p:txBody>
      </p:sp>
      <p:sp>
        <p:nvSpPr>
          <p:cNvPr id="152" name="Rechteck 106"/>
          <p:cNvSpPr>
            <a:spLocks noChangeAspect="1"/>
          </p:cNvSpPr>
          <p:nvPr/>
        </p:nvSpPr>
        <p:spPr bwMode="auto">
          <a:xfrm>
            <a:off x="-3047788"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4</a:t>
            </a:r>
          </a:p>
        </p:txBody>
      </p:sp>
      <p:sp>
        <p:nvSpPr>
          <p:cNvPr id="153" name="Rechteck 107"/>
          <p:cNvSpPr>
            <a:spLocks noChangeAspect="1"/>
          </p:cNvSpPr>
          <p:nvPr/>
        </p:nvSpPr>
        <p:spPr bwMode="auto">
          <a:xfrm>
            <a:off x="-2615514"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5</a:t>
            </a:r>
          </a:p>
        </p:txBody>
      </p:sp>
      <p:sp>
        <p:nvSpPr>
          <p:cNvPr id="154" name="Rechteck 108"/>
          <p:cNvSpPr>
            <a:spLocks noChangeAspect="1"/>
          </p:cNvSpPr>
          <p:nvPr/>
        </p:nvSpPr>
        <p:spPr bwMode="auto">
          <a:xfrm>
            <a:off x="-2175687"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6</a:t>
            </a:r>
          </a:p>
        </p:txBody>
      </p:sp>
      <p:sp>
        <p:nvSpPr>
          <p:cNvPr id="155" name="Rechteck 109"/>
          <p:cNvSpPr>
            <a:spLocks noChangeAspect="1"/>
          </p:cNvSpPr>
          <p:nvPr/>
        </p:nvSpPr>
        <p:spPr bwMode="auto">
          <a:xfrm>
            <a:off x="-1743413"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7</a:t>
            </a:r>
          </a:p>
        </p:txBody>
      </p:sp>
      <p:sp>
        <p:nvSpPr>
          <p:cNvPr id="156" name="Rechteck 110"/>
          <p:cNvSpPr>
            <a:spLocks noChangeAspect="1"/>
          </p:cNvSpPr>
          <p:nvPr/>
        </p:nvSpPr>
        <p:spPr bwMode="auto">
          <a:xfrm>
            <a:off x="-1311139"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8</a:t>
            </a:r>
          </a:p>
        </p:txBody>
      </p:sp>
      <p:sp>
        <p:nvSpPr>
          <p:cNvPr id="157" name="Rechteck 111"/>
          <p:cNvSpPr>
            <a:spLocks noChangeAspect="1"/>
          </p:cNvSpPr>
          <p:nvPr/>
        </p:nvSpPr>
        <p:spPr bwMode="auto">
          <a:xfrm>
            <a:off x="-878864"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9</a:t>
            </a:r>
          </a:p>
        </p:txBody>
      </p:sp>
      <p:sp>
        <p:nvSpPr>
          <p:cNvPr id="158" name="Rechteck 112"/>
          <p:cNvSpPr>
            <a:spLocks noChangeAspect="1"/>
          </p:cNvSpPr>
          <p:nvPr/>
        </p:nvSpPr>
        <p:spPr bwMode="auto">
          <a:xfrm>
            <a:off x="-446591" y="4964172"/>
            <a:ext cx="287850" cy="287850"/>
          </a:xfrm>
          <a:prstGeom prst="rect">
            <a:avLst/>
          </a:prstGeom>
          <a:solidFill>
            <a:srgbClr val="50BED7">
              <a:lumMod val="100000"/>
            </a:srgbClr>
          </a:solidFill>
          <a:ln>
            <a:noFill/>
          </a:ln>
          <a:effectLst/>
          <a:extLst/>
        </p:spPr>
        <p:txBody>
          <a:bodyPr wrap="square" lIns="0" tIns="0" rIns="0" bIns="0" numCol="1" spcCol="72000" rtlCol="0" anchor="ctr">
            <a:noAutofit/>
          </a:bodyPr>
          <a:lstStyle/>
          <a:p>
            <a:pPr algn="ctr">
              <a:defRPr/>
            </a:pPr>
            <a:r>
              <a:rPr lang="en-US" sz="1199" b="1" kern="0" dirty="0">
                <a:solidFill>
                  <a:srgbClr val="000000"/>
                </a:solidFill>
              </a:rPr>
              <a:t>0</a:t>
            </a:r>
          </a:p>
        </p:txBody>
      </p:sp>
      <p:sp>
        <p:nvSpPr>
          <p:cNvPr id="159" name="Rechteck 103"/>
          <p:cNvSpPr>
            <a:spLocks noChangeAspect="1"/>
          </p:cNvSpPr>
          <p:nvPr/>
        </p:nvSpPr>
        <p:spPr bwMode="auto">
          <a:xfrm>
            <a:off x="-4333533"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1</a:t>
            </a:r>
          </a:p>
        </p:txBody>
      </p:sp>
      <p:sp>
        <p:nvSpPr>
          <p:cNvPr id="160" name="Rechteck 104"/>
          <p:cNvSpPr>
            <a:spLocks noChangeAspect="1"/>
          </p:cNvSpPr>
          <p:nvPr/>
        </p:nvSpPr>
        <p:spPr bwMode="auto">
          <a:xfrm>
            <a:off x="-3912823"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2</a:t>
            </a:r>
          </a:p>
        </p:txBody>
      </p:sp>
      <p:sp>
        <p:nvSpPr>
          <p:cNvPr id="161" name="Rechteck 105"/>
          <p:cNvSpPr>
            <a:spLocks noChangeAspect="1"/>
          </p:cNvSpPr>
          <p:nvPr/>
        </p:nvSpPr>
        <p:spPr bwMode="auto">
          <a:xfrm>
            <a:off x="-3480060"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3</a:t>
            </a:r>
          </a:p>
        </p:txBody>
      </p:sp>
      <p:sp>
        <p:nvSpPr>
          <p:cNvPr id="162" name="Rechteck 106"/>
          <p:cNvSpPr>
            <a:spLocks noChangeAspect="1"/>
          </p:cNvSpPr>
          <p:nvPr/>
        </p:nvSpPr>
        <p:spPr bwMode="auto">
          <a:xfrm>
            <a:off x="-3047787"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4</a:t>
            </a:r>
          </a:p>
        </p:txBody>
      </p:sp>
      <p:sp>
        <p:nvSpPr>
          <p:cNvPr id="163" name="Rechteck 107"/>
          <p:cNvSpPr>
            <a:spLocks noChangeAspect="1"/>
          </p:cNvSpPr>
          <p:nvPr/>
        </p:nvSpPr>
        <p:spPr bwMode="auto">
          <a:xfrm>
            <a:off x="-2615513"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5</a:t>
            </a:r>
          </a:p>
        </p:txBody>
      </p:sp>
      <p:sp>
        <p:nvSpPr>
          <p:cNvPr id="164" name="Rechteck 108"/>
          <p:cNvSpPr>
            <a:spLocks noChangeAspect="1"/>
          </p:cNvSpPr>
          <p:nvPr/>
        </p:nvSpPr>
        <p:spPr bwMode="auto">
          <a:xfrm>
            <a:off x="-2175686"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6</a:t>
            </a:r>
          </a:p>
        </p:txBody>
      </p:sp>
      <p:sp>
        <p:nvSpPr>
          <p:cNvPr id="165" name="Rechteck 109"/>
          <p:cNvSpPr>
            <a:spLocks noChangeAspect="1"/>
          </p:cNvSpPr>
          <p:nvPr/>
        </p:nvSpPr>
        <p:spPr bwMode="auto">
          <a:xfrm>
            <a:off x="-1743412"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7</a:t>
            </a:r>
          </a:p>
        </p:txBody>
      </p:sp>
      <p:sp>
        <p:nvSpPr>
          <p:cNvPr id="166" name="Rechteck 110"/>
          <p:cNvSpPr>
            <a:spLocks noChangeAspect="1"/>
          </p:cNvSpPr>
          <p:nvPr/>
        </p:nvSpPr>
        <p:spPr bwMode="auto">
          <a:xfrm>
            <a:off x="-1311138"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8</a:t>
            </a:r>
          </a:p>
        </p:txBody>
      </p:sp>
      <p:sp>
        <p:nvSpPr>
          <p:cNvPr id="167" name="Rechteck 111"/>
          <p:cNvSpPr>
            <a:spLocks noChangeAspect="1"/>
          </p:cNvSpPr>
          <p:nvPr/>
        </p:nvSpPr>
        <p:spPr bwMode="auto">
          <a:xfrm>
            <a:off x="-878864"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9</a:t>
            </a:r>
          </a:p>
        </p:txBody>
      </p:sp>
      <p:sp>
        <p:nvSpPr>
          <p:cNvPr id="168" name="Rechteck 112"/>
          <p:cNvSpPr>
            <a:spLocks noChangeAspect="1"/>
          </p:cNvSpPr>
          <p:nvPr/>
        </p:nvSpPr>
        <p:spPr bwMode="auto">
          <a:xfrm>
            <a:off x="-446590" y="5241543"/>
            <a:ext cx="287850" cy="287850"/>
          </a:xfrm>
          <a:prstGeom prst="rect">
            <a:avLst/>
          </a:prstGeom>
          <a:solidFill>
            <a:srgbClr val="647D2D"/>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0</a:t>
            </a:r>
          </a:p>
        </p:txBody>
      </p:sp>
      <p:sp>
        <p:nvSpPr>
          <p:cNvPr id="170" name="Rechteck 64"/>
          <p:cNvSpPr>
            <a:spLocks noChangeAspect="1"/>
          </p:cNvSpPr>
          <p:nvPr/>
        </p:nvSpPr>
        <p:spPr bwMode="auto">
          <a:xfrm>
            <a:off x="2031459" y="3304274"/>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2</a:t>
            </a:r>
          </a:p>
        </p:txBody>
      </p:sp>
      <p:sp>
        <p:nvSpPr>
          <p:cNvPr id="171" name="Rechteck 65"/>
          <p:cNvSpPr>
            <a:spLocks noChangeAspect="1"/>
          </p:cNvSpPr>
          <p:nvPr/>
        </p:nvSpPr>
        <p:spPr bwMode="auto">
          <a:xfrm>
            <a:off x="2031459" y="2798286"/>
            <a:ext cx="287850" cy="287850"/>
          </a:xfrm>
          <a:prstGeom prst="rect">
            <a:avLst/>
          </a:prstGeom>
          <a:solidFill>
            <a:srgbClr val="EB780A"/>
          </a:solidFill>
          <a:ln>
            <a:noFill/>
          </a:ln>
          <a:effectLst/>
          <a:extLst/>
        </p:spPr>
        <p:txBody>
          <a:bodyPr wrap="square" lIns="0" tIns="0" rIns="0" bIns="0" numCol="1" spcCol="72000" rtlCol="0" anchor="ctr">
            <a:noAutofit/>
          </a:bodyPr>
          <a:lstStyle/>
          <a:p>
            <a:pPr algn="ctr">
              <a:defRPr/>
            </a:pPr>
            <a:r>
              <a:rPr lang="en-US" sz="1199" b="1" kern="0" dirty="0">
                <a:solidFill>
                  <a:srgbClr val="FFFFFF"/>
                </a:solidFill>
              </a:rPr>
              <a:t>3</a:t>
            </a:r>
          </a:p>
        </p:txBody>
      </p:sp>
    </p:spTree>
    <p:custDataLst>
      <p:tags r:id="rId1"/>
    </p:custDataLst>
    <p:extLst>
      <p:ext uri="{BB962C8B-B14F-4D97-AF65-F5344CB8AC3E}">
        <p14:creationId xmlns:p14="http://schemas.microsoft.com/office/powerpoint/2010/main" val="8512471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8" name="OTLSHAPE_TB_00000000000000000000000000000000_LeftEndCaps" hidden="1">
            <a:extLst>
              <a:ext uri="{FF2B5EF4-FFF2-40B4-BE49-F238E27FC236}">
                <a16:creationId xmlns:a16="http://schemas.microsoft.com/office/drawing/2014/main" xmlns="" id="{CAD66E36-886E-40C1-96A3-869FB700FE4E}"/>
              </a:ext>
            </a:extLst>
          </p:cNvPr>
          <p:cNvSpPr txBox="1"/>
          <p:nvPr>
            <p:custDataLst>
              <p:tags r:id="rId2"/>
            </p:custDataLst>
          </p:nvPr>
        </p:nvSpPr>
        <p:spPr>
          <a:xfrm>
            <a:off x="253868" y="5130481"/>
            <a:ext cx="467833" cy="304540"/>
          </a:xfrm>
          <a:prstGeom prst="rect">
            <a:avLst/>
          </a:prstGeom>
          <a:noFill/>
        </p:spPr>
        <p:txBody>
          <a:bodyPr vert="horz" wrap="none" lIns="0" tIns="0" rIns="0" bIns="0" rtlCol="0" anchor="ctr" anchorCtr="0">
            <a:spAutoFit/>
          </a:bodyPr>
          <a:lstStyle/>
          <a:p>
            <a:pPr algn="ctr">
              <a:lnSpc>
                <a:spcPct val="110000"/>
              </a:lnSpc>
            </a:pPr>
            <a:r>
              <a:rPr lang="en-US" sz="1799" b="1">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017</a:t>
            </a:r>
            <a:endParaRPr lang="en-US" sz="1799" b="1"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2" name="OTLSHAPE_T_9d0697827ba548778f994b1f89e29d9d_ShapePercentage" hidden="1">
            <a:extLst>
              <a:ext uri="{FF2B5EF4-FFF2-40B4-BE49-F238E27FC236}">
                <a16:creationId xmlns:a16="http://schemas.microsoft.com/office/drawing/2014/main" xmlns="" id="{175543EF-07AF-450A-A1B1-0816EAC43753}"/>
              </a:ext>
            </a:extLst>
          </p:cNvPr>
          <p:cNvSpPr/>
          <p:nvPr>
            <p:custDataLst>
              <p:tags r:id="rId3"/>
            </p:custDataLst>
          </p:nvPr>
        </p:nvSpPr>
        <p:spPr bwMode="auto">
          <a:xfrm>
            <a:off x="1276287" y="951308"/>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03" name="OTLSHAPE_T_9d0697827ba548778f994b1f89e29d9d_Duration" hidden="1">
            <a:extLst>
              <a:ext uri="{FF2B5EF4-FFF2-40B4-BE49-F238E27FC236}">
                <a16:creationId xmlns:a16="http://schemas.microsoft.com/office/drawing/2014/main" xmlns="" id="{F83D7EE8-47CA-4ED7-9A36-011CD1326471}"/>
              </a:ext>
            </a:extLst>
          </p:cNvPr>
          <p:cNvSpPr txBox="1"/>
          <p:nvPr>
            <p:custDataLst>
              <p:tags r:id="rId4"/>
            </p:custDataLst>
          </p:nvPr>
        </p:nvSpPr>
        <p:spPr>
          <a:xfrm>
            <a:off x="0" y="1371714"/>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2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4" name="OTLSHAPE_T_9d0697827ba548778f994b1f89e29d9d_TextPercentage" hidden="1">
            <a:extLst>
              <a:ext uri="{FF2B5EF4-FFF2-40B4-BE49-F238E27FC236}">
                <a16:creationId xmlns:a16="http://schemas.microsoft.com/office/drawing/2014/main" xmlns="" id="{DC02D616-2FEE-4F1A-9CE1-1B32B565441D}"/>
              </a:ext>
            </a:extLst>
          </p:cNvPr>
          <p:cNvSpPr txBox="1"/>
          <p:nvPr>
            <p:custDataLst>
              <p:tags r:id="rId5"/>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5" name="OTLSHAPE_T_9d0697827ba548778f994b1f89e29d9d_StartDate" hidden="1">
            <a:extLst>
              <a:ext uri="{FF2B5EF4-FFF2-40B4-BE49-F238E27FC236}">
                <a16:creationId xmlns:a16="http://schemas.microsoft.com/office/drawing/2014/main" xmlns="" id="{07867082-9FF8-47F6-A724-11CA6350905A}"/>
              </a:ext>
            </a:extLst>
          </p:cNvPr>
          <p:cNvSpPr txBox="1"/>
          <p:nvPr>
            <p:custDataLst>
              <p:tags r:id="rId6"/>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06" name="OTLSHAPE_T_9d0697827ba548778f994b1f89e29d9d_EndDate" hidden="1">
            <a:extLst>
              <a:ext uri="{FF2B5EF4-FFF2-40B4-BE49-F238E27FC236}">
                <a16:creationId xmlns:a16="http://schemas.microsoft.com/office/drawing/2014/main" xmlns="" id="{12193562-8CAB-4200-BFA8-E884875D6782}"/>
              </a:ext>
            </a:extLst>
          </p:cNvPr>
          <p:cNvSpPr txBox="1"/>
          <p:nvPr>
            <p:custDataLst>
              <p:tags r:id="rId7"/>
            </p:custDataLst>
          </p:nvPr>
        </p:nvSpPr>
        <p:spPr>
          <a:xfrm>
            <a:off x="0" y="1526658"/>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0" name="OTLSHAPE_T_1866601afc0b4c8ab57a01d059174bf3_ShapePercentage" hidden="1">
            <a:extLst>
              <a:ext uri="{FF2B5EF4-FFF2-40B4-BE49-F238E27FC236}">
                <a16:creationId xmlns:a16="http://schemas.microsoft.com/office/drawing/2014/main" xmlns="" id="{13D858C0-4729-4824-B647-C7753C815DFA}"/>
              </a:ext>
            </a:extLst>
          </p:cNvPr>
          <p:cNvSpPr/>
          <p:nvPr>
            <p:custDataLst>
              <p:tags r:id="rId8"/>
            </p:custDataLst>
          </p:nvPr>
        </p:nvSpPr>
        <p:spPr bwMode="auto">
          <a:xfrm>
            <a:off x="2184035" y="137281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1" name="OTLSHAPE_T_1866601afc0b4c8ab57a01d059174bf3_Duration" hidden="1">
            <a:extLst>
              <a:ext uri="{FF2B5EF4-FFF2-40B4-BE49-F238E27FC236}">
                <a16:creationId xmlns:a16="http://schemas.microsoft.com/office/drawing/2014/main" xmlns="" id="{B7C242EA-E44B-43C9-99B4-07847899D1F2}"/>
              </a:ext>
            </a:extLst>
          </p:cNvPr>
          <p:cNvSpPr txBox="1"/>
          <p:nvPr>
            <p:custDataLst>
              <p:tags r:id="rId9"/>
            </p:custDataLst>
          </p:nvPr>
        </p:nvSpPr>
        <p:spPr>
          <a:xfrm>
            <a:off x="0" y="177604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2" name="OTLSHAPE_T_1866601afc0b4c8ab57a01d059174bf3_TextPercentage" hidden="1">
            <a:extLst>
              <a:ext uri="{FF2B5EF4-FFF2-40B4-BE49-F238E27FC236}">
                <a16:creationId xmlns:a16="http://schemas.microsoft.com/office/drawing/2014/main" xmlns="" id="{B8E19359-186B-4058-9145-EA5450EB6BFB}"/>
              </a:ext>
            </a:extLst>
          </p:cNvPr>
          <p:cNvSpPr txBox="1"/>
          <p:nvPr>
            <p:custDataLst>
              <p:tags r:id="rId10"/>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3" name="OTLSHAPE_T_1866601afc0b4c8ab57a01d059174bf3_StartDate" hidden="1">
            <a:extLst>
              <a:ext uri="{FF2B5EF4-FFF2-40B4-BE49-F238E27FC236}">
                <a16:creationId xmlns:a16="http://schemas.microsoft.com/office/drawing/2014/main" xmlns="" id="{141723DE-F7F5-4F79-8CE3-4EF5EF43B219}"/>
              </a:ext>
            </a:extLst>
          </p:cNvPr>
          <p:cNvSpPr txBox="1"/>
          <p:nvPr>
            <p:custDataLst>
              <p:tags r:id="rId11"/>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4" name="OTLSHAPE_T_1866601afc0b4c8ab57a01d059174bf3_EndDate" hidden="1">
            <a:extLst>
              <a:ext uri="{FF2B5EF4-FFF2-40B4-BE49-F238E27FC236}">
                <a16:creationId xmlns:a16="http://schemas.microsoft.com/office/drawing/2014/main" xmlns="" id="{CD2B9ED5-1AFF-403C-92D6-9B62AFDB1760}"/>
              </a:ext>
            </a:extLst>
          </p:cNvPr>
          <p:cNvSpPr txBox="1"/>
          <p:nvPr>
            <p:custDataLst>
              <p:tags r:id="rId12"/>
            </p:custDataLst>
          </p:nvPr>
        </p:nvSpPr>
        <p:spPr>
          <a:xfrm>
            <a:off x="0" y="193098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18" name="OTLSHAPE_T_f95f11289efe4755a25d0d47a7c238b3_ShapePercentage" hidden="1">
            <a:extLst>
              <a:ext uri="{FF2B5EF4-FFF2-40B4-BE49-F238E27FC236}">
                <a16:creationId xmlns:a16="http://schemas.microsoft.com/office/drawing/2014/main" xmlns="" id="{5EBABA58-AECA-4EAA-818A-73A3EF2F9658}"/>
              </a:ext>
            </a:extLst>
          </p:cNvPr>
          <p:cNvSpPr/>
          <p:nvPr>
            <p:custDataLst>
              <p:tags r:id="rId13"/>
            </p:custDataLst>
          </p:nvPr>
        </p:nvSpPr>
        <p:spPr bwMode="auto">
          <a:xfrm>
            <a:off x="2184035" y="1870479"/>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19" name="OTLSHAPE_T_f95f11289efe4755a25d0d47a7c238b3_Duration" hidden="1">
            <a:extLst>
              <a:ext uri="{FF2B5EF4-FFF2-40B4-BE49-F238E27FC236}">
                <a16:creationId xmlns:a16="http://schemas.microsoft.com/office/drawing/2014/main" xmlns="" id="{991A1656-E0D5-4D3F-BFE8-B71A5BCD83B8}"/>
              </a:ext>
            </a:extLst>
          </p:cNvPr>
          <p:cNvSpPr txBox="1"/>
          <p:nvPr>
            <p:custDataLst>
              <p:tags r:id="rId14"/>
            </p:custDataLst>
          </p:nvPr>
        </p:nvSpPr>
        <p:spPr>
          <a:xfrm>
            <a:off x="0" y="2180368"/>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1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0" name="OTLSHAPE_T_f95f11289efe4755a25d0d47a7c238b3_TextPercentage" hidden="1">
            <a:extLst>
              <a:ext uri="{FF2B5EF4-FFF2-40B4-BE49-F238E27FC236}">
                <a16:creationId xmlns:a16="http://schemas.microsoft.com/office/drawing/2014/main" xmlns="" id="{E5ED491C-D154-400F-AEB2-8D8DEFAF3140}"/>
              </a:ext>
            </a:extLst>
          </p:cNvPr>
          <p:cNvSpPr txBox="1"/>
          <p:nvPr>
            <p:custDataLst>
              <p:tags r:id="rId15"/>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1" name="OTLSHAPE_T_f95f11289efe4755a25d0d47a7c238b3_StartDate" hidden="1">
            <a:extLst>
              <a:ext uri="{FF2B5EF4-FFF2-40B4-BE49-F238E27FC236}">
                <a16:creationId xmlns:a16="http://schemas.microsoft.com/office/drawing/2014/main" xmlns="" id="{3D1CFD0A-5399-4508-A23C-23148EB58D73}"/>
              </a:ext>
            </a:extLst>
          </p:cNvPr>
          <p:cNvSpPr txBox="1"/>
          <p:nvPr>
            <p:custDataLst>
              <p:tags r:id="rId16"/>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2" name="OTLSHAPE_T_f95f11289efe4755a25d0d47a7c238b3_EndDate" hidden="1">
            <a:extLst>
              <a:ext uri="{FF2B5EF4-FFF2-40B4-BE49-F238E27FC236}">
                <a16:creationId xmlns:a16="http://schemas.microsoft.com/office/drawing/2014/main" xmlns="" id="{48760F4B-77BE-4AA0-A4BF-612553EE85FE}"/>
              </a:ext>
            </a:extLst>
          </p:cNvPr>
          <p:cNvSpPr txBox="1"/>
          <p:nvPr>
            <p:custDataLst>
              <p:tags r:id="rId17"/>
            </p:custDataLst>
          </p:nvPr>
        </p:nvSpPr>
        <p:spPr>
          <a:xfrm>
            <a:off x="0" y="2335311"/>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6" name="OTLSHAPE_T_789fca074aa04b08bd72d547570510cd_ShapePercentage" hidden="1">
            <a:extLst>
              <a:ext uri="{FF2B5EF4-FFF2-40B4-BE49-F238E27FC236}">
                <a16:creationId xmlns:a16="http://schemas.microsoft.com/office/drawing/2014/main" xmlns="" id="{8F9E001B-5277-4D78-805C-68429F6B04B1}"/>
              </a:ext>
            </a:extLst>
          </p:cNvPr>
          <p:cNvSpPr/>
          <p:nvPr>
            <p:custDataLst>
              <p:tags r:id="rId18"/>
            </p:custDataLst>
          </p:nvPr>
        </p:nvSpPr>
        <p:spPr bwMode="auto">
          <a:xfrm>
            <a:off x="4777604" y="2291984"/>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27" name="OTLSHAPE_T_789fca074aa04b08bd72d547570510cd_Duration" hidden="1">
            <a:extLst>
              <a:ext uri="{FF2B5EF4-FFF2-40B4-BE49-F238E27FC236}">
                <a16:creationId xmlns:a16="http://schemas.microsoft.com/office/drawing/2014/main" xmlns="" id="{8B494926-AB09-42EF-9B13-A0A0C7C92996}"/>
              </a:ext>
            </a:extLst>
          </p:cNvPr>
          <p:cNvSpPr txBox="1"/>
          <p:nvPr>
            <p:custDataLst>
              <p:tags r:id="rId19"/>
            </p:custDataLst>
          </p:nvPr>
        </p:nvSpPr>
        <p:spPr>
          <a:xfrm>
            <a:off x="0" y="2446929"/>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8" name="OTLSHAPE_T_789fca074aa04b08bd72d547570510cd_TextPercentage" hidden="1">
            <a:extLst>
              <a:ext uri="{FF2B5EF4-FFF2-40B4-BE49-F238E27FC236}">
                <a16:creationId xmlns:a16="http://schemas.microsoft.com/office/drawing/2014/main" xmlns="" id="{EBE857F7-9937-4157-8E0B-D7DC83298D2B}"/>
              </a:ext>
            </a:extLst>
          </p:cNvPr>
          <p:cNvSpPr txBox="1"/>
          <p:nvPr>
            <p:custDataLst>
              <p:tags r:id="rId20"/>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29" name="OTLSHAPE_T_789fca074aa04b08bd72d547570510cd_StartDate" hidden="1">
            <a:extLst>
              <a:ext uri="{FF2B5EF4-FFF2-40B4-BE49-F238E27FC236}">
                <a16:creationId xmlns:a16="http://schemas.microsoft.com/office/drawing/2014/main" xmlns="" id="{0E1ECA2A-7E19-4D2A-A87E-CEECBD2F14ED}"/>
              </a:ext>
            </a:extLst>
          </p:cNvPr>
          <p:cNvSpPr txBox="1"/>
          <p:nvPr>
            <p:custDataLst>
              <p:tags r:id="rId21"/>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0" name="OTLSHAPE_T_789fca074aa04b08bd72d547570510cd_EndDate" hidden="1">
            <a:extLst>
              <a:ext uri="{FF2B5EF4-FFF2-40B4-BE49-F238E27FC236}">
                <a16:creationId xmlns:a16="http://schemas.microsoft.com/office/drawing/2014/main" xmlns="" id="{61443304-197F-4941-9948-1FF0B0BF1CC1}"/>
              </a:ext>
            </a:extLst>
          </p:cNvPr>
          <p:cNvSpPr txBox="1"/>
          <p:nvPr>
            <p:custDataLst>
              <p:tags r:id="rId22"/>
            </p:custDataLst>
          </p:nvPr>
        </p:nvSpPr>
        <p:spPr>
          <a:xfrm>
            <a:off x="0" y="2601872"/>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4" name="OTLSHAPE_T_7dd834d9f90d41cfb3e03e3281773e1b_ShapePercentage" hidden="1">
            <a:extLst>
              <a:ext uri="{FF2B5EF4-FFF2-40B4-BE49-F238E27FC236}">
                <a16:creationId xmlns:a16="http://schemas.microsoft.com/office/drawing/2014/main" xmlns="" id="{0186C3D0-4B72-46EE-8DE3-45058BE3A0E2}"/>
              </a:ext>
            </a:extLst>
          </p:cNvPr>
          <p:cNvSpPr/>
          <p:nvPr>
            <p:custDataLst>
              <p:tags r:id="rId23"/>
            </p:custDataLst>
          </p:nvPr>
        </p:nvSpPr>
        <p:spPr bwMode="auto">
          <a:xfrm>
            <a:off x="6117614" y="2789650"/>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35" name="OTLSHAPE_T_7dd834d9f90d41cfb3e03e3281773e1b_Duration" hidden="1">
            <a:extLst>
              <a:ext uri="{FF2B5EF4-FFF2-40B4-BE49-F238E27FC236}">
                <a16:creationId xmlns:a16="http://schemas.microsoft.com/office/drawing/2014/main" xmlns="" id="{BCE040C3-39D8-43E6-965A-801D8867EC38}"/>
              </a:ext>
            </a:extLst>
          </p:cNvPr>
          <p:cNvSpPr txBox="1"/>
          <p:nvPr>
            <p:custDataLst>
              <p:tags r:id="rId24"/>
            </p:custDataLst>
          </p:nvPr>
        </p:nvSpPr>
        <p:spPr>
          <a:xfrm>
            <a:off x="0" y="2789650"/>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2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6" name="OTLSHAPE_T_7dd834d9f90d41cfb3e03e3281773e1b_TextPercentage" hidden="1">
            <a:extLst>
              <a:ext uri="{FF2B5EF4-FFF2-40B4-BE49-F238E27FC236}">
                <a16:creationId xmlns:a16="http://schemas.microsoft.com/office/drawing/2014/main" xmlns="" id="{9E02F0CF-02E2-4091-88B5-B881C71B3437}"/>
              </a:ext>
            </a:extLst>
          </p:cNvPr>
          <p:cNvSpPr txBox="1"/>
          <p:nvPr>
            <p:custDataLst>
              <p:tags r:id="rId25"/>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7" name="OTLSHAPE_T_7dd834d9f90d41cfb3e03e3281773e1b_StartDate" hidden="1">
            <a:extLst>
              <a:ext uri="{FF2B5EF4-FFF2-40B4-BE49-F238E27FC236}">
                <a16:creationId xmlns:a16="http://schemas.microsoft.com/office/drawing/2014/main" xmlns="" id="{8DB6329B-3E42-4191-BCA3-789C5BAAFA2D}"/>
              </a:ext>
            </a:extLst>
          </p:cNvPr>
          <p:cNvSpPr txBox="1"/>
          <p:nvPr>
            <p:custDataLst>
              <p:tags r:id="rId26"/>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38" name="OTLSHAPE_T_7dd834d9f90d41cfb3e03e3281773e1b_EndDate" hidden="1">
            <a:extLst>
              <a:ext uri="{FF2B5EF4-FFF2-40B4-BE49-F238E27FC236}">
                <a16:creationId xmlns:a16="http://schemas.microsoft.com/office/drawing/2014/main" xmlns="" id="{4E37F0DF-B540-4652-B51C-221C20F8BB43}"/>
              </a:ext>
            </a:extLst>
          </p:cNvPr>
          <p:cNvSpPr txBox="1"/>
          <p:nvPr>
            <p:custDataLst>
              <p:tags r:id="rId27"/>
            </p:custDataLst>
          </p:nvPr>
        </p:nvSpPr>
        <p:spPr>
          <a:xfrm>
            <a:off x="0" y="2944594"/>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dk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2" name="OTLSHAPE_T_ffbb008dfe224b5eb1a30d6676e2b7f2_ShapePercentage" hidden="1">
            <a:extLst>
              <a:ext uri="{FF2B5EF4-FFF2-40B4-BE49-F238E27FC236}">
                <a16:creationId xmlns:a16="http://schemas.microsoft.com/office/drawing/2014/main" xmlns="" id="{CFE5D07F-B24C-4408-A60D-6D14B0C7DC31}"/>
              </a:ext>
            </a:extLst>
          </p:cNvPr>
          <p:cNvSpPr/>
          <p:nvPr>
            <p:custDataLst>
              <p:tags r:id="rId28"/>
            </p:custDataLst>
          </p:nvPr>
        </p:nvSpPr>
        <p:spPr bwMode="auto">
          <a:xfrm>
            <a:off x="8754407" y="3257443"/>
            <a:ext cx="0" cy="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3" name="OTLSHAPE_T_ffbb008dfe224b5eb1a30d6676e2b7f2_Duration" hidden="1">
            <a:extLst>
              <a:ext uri="{FF2B5EF4-FFF2-40B4-BE49-F238E27FC236}">
                <a16:creationId xmlns:a16="http://schemas.microsoft.com/office/drawing/2014/main" xmlns="" id="{962BFCAB-F946-4475-A9C6-465342C208DA}"/>
              </a:ext>
            </a:extLst>
          </p:cNvPr>
          <p:cNvSpPr txBox="1"/>
          <p:nvPr>
            <p:custDataLst>
              <p:tags r:id="rId29"/>
            </p:custDataLst>
          </p:nvPr>
        </p:nvSpPr>
        <p:spPr>
          <a:xfrm>
            <a:off x="0" y="3056212"/>
            <a:ext cx="393495" cy="169189"/>
          </a:xfrm>
          <a:prstGeom prst="rect">
            <a:avLst/>
          </a:prstGeom>
          <a:noFill/>
        </p:spPr>
        <p:txBody>
          <a:bodyPr vert="horz" wrap="square" lIns="0" tIns="0" rIns="0" bIns="0" rtlCol="0" anchor="ctr" anchorCtr="0">
            <a:spAutoFit/>
          </a:bodyPr>
          <a:lstStyle/>
          <a:p>
            <a:pPr algn="ctr">
              <a:lnSpc>
                <a:spcPct val="110000"/>
              </a:lnSpc>
            </a:pPr>
            <a:r>
              <a:rPr lang="en-US" sz="999">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rPr>
              <a:t>60 days</a:t>
            </a:r>
            <a:endParaRPr lang="en-US" sz="999" dirty="0">
              <a:solidFill>
                <a:schemeClr val="accent2"/>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4" name="OTLSHAPE_T_ffbb008dfe224b5eb1a30d6676e2b7f2_TextPercentage" hidden="1">
            <a:extLst>
              <a:ext uri="{FF2B5EF4-FFF2-40B4-BE49-F238E27FC236}">
                <a16:creationId xmlns:a16="http://schemas.microsoft.com/office/drawing/2014/main" xmlns="" id="{D97B88FA-7371-4E3E-A646-8DADB8D73B3A}"/>
              </a:ext>
            </a:extLst>
          </p:cNvPr>
          <p:cNvSpPr txBox="1"/>
          <p:nvPr>
            <p:custDataLst>
              <p:tags r:id="rId30"/>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rgbClr val="C0504D"/>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5" name="OTLSHAPE_T_ffbb008dfe224b5eb1a30d6676e2b7f2_StartDate" hidden="1">
            <a:extLst>
              <a:ext uri="{FF2B5EF4-FFF2-40B4-BE49-F238E27FC236}">
                <a16:creationId xmlns:a16="http://schemas.microsoft.com/office/drawing/2014/main" xmlns="" id="{E78BD665-3C9E-48E8-99E2-06DDEC5388CC}"/>
              </a:ext>
            </a:extLst>
          </p:cNvPr>
          <p:cNvSpPr txBox="1"/>
          <p:nvPr>
            <p:custDataLst>
              <p:tags r:id="rId31"/>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1046" name="OTLSHAPE_T_ffbb008dfe224b5eb1a30d6676e2b7f2_EndDate" hidden="1">
            <a:extLst>
              <a:ext uri="{FF2B5EF4-FFF2-40B4-BE49-F238E27FC236}">
                <a16:creationId xmlns:a16="http://schemas.microsoft.com/office/drawing/2014/main" xmlns="" id="{A28DFC9A-802B-42DD-A5A5-894012663C7E}"/>
              </a:ext>
            </a:extLst>
          </p:cNvPr>
          <p:cNvSpPr txBox="1"/>
          <p:nvPr>
            <p:custDataLst>
              <p:tags r:id="rId32"/>
            </p:custDataLst>
          </p:nvPr>
        </p:nvSpPr>
        <p:spPr>
          <a:xfrm>
            <a:off x="0" y="3211155"/>
            <a:ext cx="0" cy="169189"/>
          </a:xfrm>
          <a:prstGeom prst="rect">
            <a:avLst/>
          </a:prstGeom>
          <a:noFill/>
        </p:spPr>
        <p:txBody>
          <a:bodyPr vert="horz" wrap="square" lIns="0" tIns="0" rIns="0" bIns="0" rtlCol="0" anchor="ctr" anchorCtr="0">
            <a:spAutoFit/>
          </a:bodyPr>
          <a:lstStyle/>
          <a:p>
            <a:pPr algn="ctr">
              <a:lnSpc>
                <a:spcPct val="110000"/>
              </a:lnSpc>
            </a:pPr>
            <a:endParaRPr lang="en-US" sz="999" dirty="0">
              <a:solidFill>
                <a:schemeClr val="lt1"/>
              </a:solidFill>
              <a:latin typeface="Calibri" panose="020F0502020204030204" pitchFamily="34" charset="0"/>
              <a:ea typeface="Arial Unicode MS" panose="020B0604020202020204" pitchFamily="34" charset="-128"/>
              <a:cs typeface="Arial Unicode MS" panose="020B0604020202020204" pitchFamily="34" charset="-128"/>
            </a:endParaRPr>
          </a:p>
        </p:txBody>
      </p:sp>
      <p:sp>
        <p:nvSpPr>
          <p:cNvPr id="84" name="Textfeld 83"/>
          <p:cNvSpPr txBox="1"/>
          <p:nvPr/>
        </p:nvSpPr>
        <p:spPr>
          <a:xfrm>
            <a:off x="49268" y="5858475"/>
            <a:ext cx="3122574" cy="1203333"/>
          </a:xfrm>
          <a:prstGeom prst="rect">
            <a:avLst/>
          </a:prstGeom>
          <a:noFill/>
        </p:spPr>
        <p:txBody>
          <a:bodyPr wrap="square" lIns="0" tIns="0" rIns="0" bIns="0" rtlCol="0">
            <a:noAutofit/>
          </a:bodyPr>
          <a:lstStyle/>
          <a:p>
            <a:pPr>
              <a:lnSpc>
                <a:spcPct val="110000"/>
              </a:lnSpc>
            </a:pPr>
            <a:endParaRPr lang="de-DE" sz="1199" dirty="0">
              <a:ea typeface="Arial Unicode MS" panose="020B0604020202020204" pitchFamily="34" charset="-128"/>
              <a:cs typeface="Arial Unicode MS" panose="020B0604020202020204" pitchFamily="34" charset="-128"/>
            </a:endParaRPr>
          </a:p>
        </p:txBody>
      </p:sp>
      <p:sp>
        <p:nvSpPr>
          <p:cNvPr id="87" name="Textfeld 86"/>
          <p:cNvSpPr txBox="1"/>
          <p:nvPr/>
        </p:nvSpPr>
        <p:spPr>
          <a:xfrm>
            <a:off x="624515" y="427489"/>
            <a:ext cx="9174781" cy="738755"/>
          </a:xfrm>
          <a:prstGeom prst="rect">
            <a:avLst/>
          </a:prstGeom>
          <a:noFill/>
        </p:spPr>
        <p:txBody>
          <a:bodyPr wrap="square" lIns="0" tIns="0" rIns="0" bIns="0" rtlCol="0">
            <a:noAutofit/>
          </a:bodyPr>
          <a:lstStyle/>
          <a:p>
            <a:pPr>
              <a:lnSpc>
                <a:spcPct val="110000"/>
              </a:lnSpc>
              <a:spcBef>
                <a:spcPct val="0"/>
              </a:spcBef>
            </a:pPr>
            <a:r>
              <a:rPr lang="de-DE" sz="2199" b="1" dirty="0" err="1">
                <a:solidFill>
                  <a:srgbClr val="00646E"/>
                </a:solidFill>
                <a:cs typeface="Arial" pitchFamily="34" charset="0"/>
              </a:rPr>
              <a:t>MindConnect</a:t>
            </a:r>
            <a:r>
              <a:rPr lang="de-DE" sz="2199" b="1" dirty="0">
                <a:solidFill>
                  <a:srgbClr val="00646E"/>
                </a:solidFill>
                <a:cs typeface="Arial" pitchFamily="34" charset="0"/>
              </a:rPr>
              <a:t> Integration &amp; </a:t>
            </a:r>
            <a:r>
              <a:rPr lang="de-DE" sz="2199" b="1" dirty="0" err="1">
                <a:solidFill>
                  <a:srgbClr val="00646E"/>
                </a:solidFill>
                <a:cs typeface="Arial" pitchFamily="34" charset="0"/>
              </a:rPr>
              <a:t>IoT</a:t>
            </a:r>
            <a:r>
              <a:rPr lang="de-DE" sz="2199" b="1" dirty="0">
                <a:solidFill>
                  <a:srgbClr val="00646E"/>
                </a:solidFill>
                <a:cs typeface="Arial" pitchFamily="34" charset="0"/>
              </a:rPr>
              <a:t> Extension</a:t>
            </a:r>
          </a:p>
          <a:p>
            <a:pPr>
              <a:lnSpc>
                <a:spcPct val="110000"/>
              </a:lnSpc>
              <a:spcBef>
                <a:spcPct val="0"/>
              </a:spcBef>
            </a:pPr>
            <a:r>
              <a:rPr lang="de-DE" sz="2199" dirty="0" err="1">
                <a:solidFill>
                  <a:srgbClr val="00646E"/>
                </a:solidFill>
                <a:cs typeface="Arial" pitchFamily="34" charset="0"/>
              </a:rPr>
              <a:t>Whitelabeling</a:t>
            </a:r>
            <a:r>
              <a:rPr lang="de-DE" sz="2199" dirty="0">
                <a:solidFill>
                  <a:srgbClr val="00646E"/>
                </a:solidFill>
                <a:cs typeface="Arial" pitchFamily="34" charset="0"/>
              </a:rPr>
              <a:t> </a:t>
            </a:r>
            <a:r>
              <a:rPr lang="de-DE" sz="2199" dirty="0" err="1">
                <a:solidFill>
                  <a:srgbClr val="00646E"/>
                </a:solidFill>
                <a:cs typeface="Arial" pitchFamily="34" charset="0"/>
              </a:rPr>
              <a:t>Aspects</a:t>
            </a:r>
            <a:endParaRPr lang="de-DE" sz="2199" dirty="0">
              <a:solidFill>
                <a:srgbClr val="00646E"/>
              </a:solidFill>
              <a:cs typeface="Arial" pitchFamily="34" charset="0"/>
            </a:endParaRPr>
          </a:p>
        </p:txBody>
      </p:sp>
      <p:sp>
        <p:nvSpPr>
          <p:cNvPr id="52" name="Rechteck 51"/>
          <p:cNvSpPr/>
          <p:nvPr/>
        </p:nvSpPr>
        <p:spPr>
          <a:xfrm>
            <a:off x="626737" y="1765690"/>
            <a:ext cx="11082914" cy="451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285607" indent="-285607">
              <a:buFont typeface="Arial" panose="020B0604020202020204" pitchFamily="34" charset="0"/>
              <a:buChar char="•"/>
            </a:pPr>
            <a:r>
              <a:rPr lang="en-US" sz="1599" b="1" dirty="0">
                <a:solidFill>
                  <a:srgbClr val="00646E"/>
                </a:solidFill>
              </a:rPr>
              <a:t>The complete customer journey on cloud side is white labeled</a:t>
            </a:r>
          </a:p>
          <a:p>
            <a:pPr marL="829652" lvl="1" indent="-285607">
              <a:buFont typeface="Wingdings" panose="05000000000000000000" pitchFamily="2" charset="2"/>
              <a:buChar char="§"/>
            </a:pPr>
            <a:r>
              <a:rPr lang="en-US" sz="1599" b="1" dirty="0">
                <a:solidFill>
                  <a:srgbClr val="00646E"/>
                </a:solidFill>
              </a:rPr>
              <a:t>Allow seamless MindSphere experience between all cloud services </a:t>
            </a:r>
          </a:p>
          <a:p>
            <a:endParaRPr lang="en-US" sz="1599" b="1" dirty="0">
              <a:solidFill>
                <a:srgbClr val="00646E"/>
              </a:solidFill>
            </a:endParaRPr>
          </a:p>
          <a:p>
            <a:pPr marL="285607" indent="-285607">
              <a:buFont typeface="Arial" panose="020B0604020202020204" pitchFamily="34" charset="0"/>
              <a:buChar char="•"/>
            </a:pPr>
            <a:r>
              <a:rPr lang="en-US" sz="1599" b="1" dirty="0">
                <a:solidFill>
                  <a:srgbClr val="00646E"/>
                </a:solidFill>
              </a:rPr>
              <a:t>Everything needed on field level is branded as Software AG/</a:t>
            </a:r>
            <a:r>
              <a:rPr lang="en-US" sz="1599" b="1" dirty="0" err="1">
                <a:solidFill>
                  <a:srgbClr val="00646E"/>
                </a:solidFill>
              </a:rPr>
              <a:t>Cumulocity</a:t>
            </a:r>
            <a:r>
              <a:rPr lang="en-US" sz="1599" b="1" dirty="0">
                <a:solidFill>
                  <a:srgbClr val="00646E"/>
                </a:solidFill>
              </a:rPr>
              <a:t>/3</a:t>
            </a:r>
            <a:r>
              <a:rPr lang="en-US" sz="1599" b="1" baseline="30000" dirty="0">
                <a:solidFill>
                  <a:srgbClr val="00646E"/>
                </a:solidFill>
              </a:rPr>
              <a:t>rd</a:t>
            </a:r>
            <a:r>
              <a:rPr lang="en-US" sz="1599" b="1" dirty="0">
                <a:solidFill>
                  <a:srgbClr val="00646E"/>
                </a:solidFill>
              </a:rPr>
              <a:t> party</a:t>
            </a:r>
          </a:p>
          <a:p>
            <a:pPr marL="829652" lvl="1" indent="-285607">
              <a:buFont typeface="Wingdings" panose="05000000000000000000" pitchFamily="2" charset="2"/>
              <a:buChar char="§"/>
            </a:pPr>
            <a:r>
              <a:rPr lang="en-US" sz="1599" b="1" dirty="0">
                <a:solidFill>
                  <a:srgbClr val="00646E"/>
                </a:solidFill>
              </a:rPr>
              <a:t>Cumulocity is a huge, established ecosystem including SDKs, forums and communities which we </a:t>
            </a:r>
            <a:br>
              <a:rPr lang="en-US" sz="1599" b="1" dirty="0">
                <a:solidFill>
                  <a:srgbClr val="00646E"/>
                </a:solidFill>
              </a:rPr>
            </a:br>
            <a:r>
              <a:rPr lang="en-US" sz="1599" b="1" dirty="0">
                <a:solidFill>
                  <a:srgbClr val="00646E"/>
                </a:solidFill>
              </a:rPr>
              <a:t>need to leverage</a:t>
            </a:r>
          </a:p>
          <a:p>
            <a:pPr marL="829652" lvl="1" indent="-285607">
              <a:buFont typeface="Wingdings" panose="05000000000000000000" pitchFamily="2" charset="2"/>
              <a:buChar char="§"/>
            </a:pPr>
            <a:r>
              <a:rPr lang="en-US" sz="1599" b="1" dirty="0">
                <a:solidFill>
                  <a:srgbClr val="00646E"/>
                </a:solidFill>
              </a:rPr>
              <a:t>Agent &amp; on premise adapter development environment is very dynamic und would cause continuous white labeling  efforts</a:t>
            </a:r>
          </a:p>
          <a:p>
            <a:pPr marL="829652" lvl="1" indent="-285607">
              <a:buFont typeface="Wingdings" panose="05000000000000000000" pitchFamily="2" charset="2"/>
              <a:buChar char="§"/>
            </a:pPr>
            <a:r>
              <a:rPr lang="en-US" sz="1599" b="1" dirty="0">
                <a:solidFill>
                  <a:srgbClr val="00646E"/>
                </a:solidFill>
              </a:rPr>
              <a:t>Software AG is domain expert in </a:t>
            </a:r>
            <a:r>
              <a:rPr lang="en-US" sz="1599" b="1" dirty="0" err="1">
                <a:solidFill>
                  <a:srgbClr val="00646E"/>
                </a:solidFill>
              </a:rPr>
              <a:t>on-premise</a:t>
            </a:r>
            <a:r>
              <a:rPr lang="en-US" sz="1599" b="1" dirty="0">
                <a:solidFill>
                  <a:srgbClr val="00646E"/>
                </a:solidFill>
              </a:rPr>
              <a:t> integration scenarios</a:t>
            </a:r>
          </a:p>
          <a:p>
            <a:pPr marL="829652" lvl="1" indent="-285607">
              <a:buFont typeface="Wingdings" panose="05000000000000000000" pitchFamily="2" charset="2"/>
              <a:buChar char="ü"/>
            </a:pPr>
            <a:endParaRPr lang="en-US" sz="1599" b="1" dirty="0">
              <a:solidFill>
                <a:srgbClr val="00646E"/>
              </a:solidFill>
            </a:endParaRPr>
          </a:p>
          <a:p>
            <a:pPr lvl="1"/>
            <a:endParaRPr lang="en-US" sz="1599" b="1" dirty="0">
              <a:solidFill>
                <a:srgbClr val="00646E"/>
              </a:solidFill>
            </a:endParaRPr>
          </a:p>
          <a:p>
            <a:pPr marL="285607" lvl="1" indent="-285607">
              <a:buFont typeface="Wingdings" panose="05000000000000000000" pitchFamily="2" charset="2"/>
              <a:buChar char="Ø"/>
            </a:pPr>
            <a:r>
              <a:rPr lang="en-US" sz="1599" b="1" dirty="0">
                <a:solidFill>
                  <a:srgbClr val="00646E"/>
                </a:solidFill>
              </a:rPr>
              <a:t>To get access to installer, designer, on premise adapters, SDKs and agent references for field level the customer leaves the MindSphere branded environment and uses </a:t>
            </a:r>
            <a:r>
              <a:rPr lang="en-US" sz="1599" b="1" dirty="0">
                <a:solidFill>
                  <a:srgbClr val="00646E"/>
                </a:solidFill>
                <a:hlinkClick r:id="rId34"/>
              </a:rPr>
              <a:t>Software AG/ Cumulocity </a:t>
            </a:r>
            <a:r>
              <a:rPr lang="en-US" sz="1599" b="1" dirty="0">
                <a:solidFill>
                  <a:srgbClr val="00646E"/>
                </a:solidFill>
              </a:rPr>
              <a:t>branded content.  </a:t>
            </a:r>
          </a:p>
          <a:p>
            <a:endParaRPr lang="en-US" sz="1599" b="1" dirty="0">
              <a:solidFill>
                <a:srgbClr val="00646E"/>
              </a:solidFill>
            </a:endParaRPr>
          </a:p>
          <a:p>
            <a:endParaRPr lang="en-US" sz="1399" b="1" dirty="0">
              <a:solidFill>
                <a:prstClr val="white"/>
              </a:solidFill>
            </a:endParaRPr>
          </a:p>
          <a:p>
            <a:pPr marL="829649" lvl="3" indent="-285607">
              <a:buFont typeface="Arial" panose="020B0604020202020204" pitchFamily="34" charset="0"/>
              <a:buChar char="•"/>
            </a:pPr>
            <a:endParaRPr lang="en-US" sz="1399" b="1" dirty="0">
              <a:solidFill>
                <a:prstClr val="white"/>
              </a:solidFill>
            </a:endParaRPr>
          </a:p>
        </p:txBody>
      </p:sp>
      <p:sp>
        <p:nvSpPr>
          <p:cNvPr id="36" name="Rechteck 35"/>
          <p:cNvSpPr/>
          <p:nvPr/>
        </p:nvSpPr>
        <p:spPr>
          <a:xfrm>
            <a:off x="626738" y="1790673"/>
            <a:ext cx="284252" cy="284252"/>
          </a:xfrm>
          <a:prstGeom prst="rect">
            <a:avLst/>
          </a:prstGeom>
          <a:solidFill>
            <a:srgbClr val="AAB414"/>
          </a:solidFill>
          <a:ln w="9525" algn="ctr">
            <a:noFill/>
            <a:miter lim="800000"/>
            <a:headEnd/>
            <a:tailEnd/>
          </a:ln>
          <a:effectLst/>
        </p:spPr>
        <p:txBody>
          <a:bodyPr wrap="none" lIns="107944" tIns="53972" rIns="107944" bIns="53972" anchor="ctr">
            <a:noAutofit/>
          </a:bodyPr>
          <a:lstStyle/>
          <a:p>
            <a:pPr algn="ctr"/>
            <a:r>
              <a:rPr lang="en-US" sz="1399" b="1" kern="0" dirty="0">
                <a:solidFill>
                  <a:srgbClr val="FFFFFF"/>
                </a:solidFill>
                <a:sym typeface="Wingdings"/>
              </a:rPr>
              <a:t></a:t>
            </a:r>
            <a:endParaRPr lang="en-US" sz="1399" b="1" kern="0" dirty="0">
              <a:solidFill>
                <a:srgbClr val="FFFFFF"/>
              </a:solidFill>
            </a:endParaRPr>
          </a:p>
        </p:txBody>
      </p:sp>
      <p:sp>
        <p:nvSpPr>
          <p:cNvPr id="37" name="Rechteck 36"/>
          <p:cNvSpPr/>
          <p:nvPr/>
        </p:nvSpPr>
        <p:spPr>
          <a:xfrm>
            <a:off x="626738" y="2898705"/>
            <a:ext cx="284252" cy="284252"/>
          </a:xfrm>
          <a:prstGeom prst="rect">
            <a:avLst/>
          </a:prstGeom>
          <a:solidFill>
            <a:srgbClr val="AAB414"/>
          </a:solidFill>
          <a:ln w="9525" algn="ctr">
            <a:noFill/>
            <a:miter lim="800000"/>
            <a:headEnd/>
            <a:tailEnd/>
          </a:ln>
          <a:effectLst/>
        </p:spPr>
        <p:txBody>
          <a:bodyPr wrap="none" lIns="107944" tIns="53972" rIns="107944" bIns="53972" anchor="ctr">
            <a:noAutofit/>
          </a:bodyPr>
          <a:lstStyle/>
          <a:p>
            <a:pPr algn="ctr"/>
            <a:r>
              <a:rPr lang="en-US" sz="1399" b="1" kern="0" dirty="0">
                <a:solidFill>
                  <a:srgbClr val="FFFFFF"/>
                </a:solidFill>
                <a:sym typeface="Wingdings"/>
              </a:rPr>
              <a:t></a:t>
            </a:r>
            <a:endParaRPr lang="en-US" sz="1399" b="1" kern="0" dirty="0">
              <a:solidFill>
                <a:srgbClr val="FFFFFF"/>
              </a:solidFill>
            </a:endParaRPr>
          </a:p>
        </p:txBody>
      </p:sp>
    </p:spTree>
    <p:custDataLst>
      <p:tags r:id="rId1"/>
    </p:custDataLst>
    <p:extLst>
      <p:ext uri="{BB962C8B-B14F-4D97-AF65-F5344CB8AC3E}">
        <p14:creationId xmlns:p14="http://schemas.microsoft.com/office/powerpoint/2010/main" val="795951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9263"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3373"/>
                        <a:ext cx="1586" cy="158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Connectivity </a:t>
            </a:r>
            <a:br>
              <a:rPr lang="en-US" dirty="0" smtClean="0"/>
            </a:br>
            <a:r>
              <a:rPr lang="en-US" dirty="0" smtClean="0"/>
              <a:t>MindConnect IoT Extension</a:t>
            </a:r>
            <a:endParaRPr lang="en-US" dirty="0"/>
          </a:p>
        </p:txBody>
      </p:sp>
      <p:sp>
        <p:nvSpPr>
          <p:cNvPr id="10" name="Rechteck 9"/>
          <p:cNvSpPr>
            <a:spLocks/>
          </p:cNvSpPr>
          <p:nvPr>
            <p:custDataLst>
              <p:tags r:id="rId3"/>
            </p:custDataLst>
          </p:nvPr>
        </p:nvSpPr>
        <p:spPr bwMode="gray">
          <a:xfrm>
            <a:off x="6959647" y="1269538"/>
            <a:ext cx="4750005" cy="5038283"/>
          </a:xfrm>
          <a:prstGeom prst="rect">
            <a:avLst/>
          </a:prstGeom>
          <a:solidFill>
            <a:srgbClr val="EBF0F5"/>
          </a:solidFill>
          <a:ln>
            <a:noFill/>
          </a:ln>
          <a:effectLst/>
          <a:extLst/>
        </p:spPr>
        <p:txBody>
          <a:bodyPr wrap="square" lIns="107944" tIns="71963" rIns="107944" bIns="71963" numCol="1" spcCol="72000" rtlCol="0" anchor="t">
            <a:noAutofit/>
          </a:bodyPr>
          <a:lstStyle>
            <a:lvl1pPr marL="179388" indent="-177800" algn="l" rtl="0" fontAlgn="base">
              <a:buClr>
                <a:schemeClr val="accent1"/>
              </a:buClr>
              <a:buChar char="•"/>
            </a:lvl1pPr>
            <a:lvl2pPr marL="179388" indent="-177800" algn="l" rtl="0" fontAlgn="base">
              <a:buClr>
                <a:schemeClr val="accent1"/>
              </a:buClr>
              <a:buChar char="•"/>
            </a:lvl2pPr>
            <a:lvl3pPr marL="358775" indent="-177800" algn="l" rtl="0" fontAlgn="base">
              <a:buClr>
                <a:schemeClr val="accent1"/>
              </a:buClr>
              <a:buChar char="•"/>
            </a:lvl3pPr>
            <a:lvl4pPr marL="538163" indent="-177800" algn="l" rtl="0" fontAlgn="base">
              <a:buClr>
                <a:schemeClr val="accent1"/>
              </a:buClr>
              <a:buChar char="•"/>
            </a:lvl4pPr>
            <a:lvl5pPr marL="717550" indent="-177800" algn="l" rtl="0" fontAlgn="base">
              <a:buClr>
                <a:schemeClr val="accent1"/>
              </a:buClr>
              <a:buChar char="•"/>
            </a:lvl5pPr>
            <a:lvl6pPr marL="1220788" indent="-188913" algn="l" rtl="0" eaLnBrk="1" fontAlgn="base" hangingPunct="1">
              <a:buClr>
                <a:schemeClr val="accent1"/>
              </a:buClr>
              <a:buFont typeface="Wingdings" charset="0"/>
              <a:buChar char="§"/>
            </a:lvl6pPr>
            <a:lvl7pPr marL="1677988" indent="-188913" algn="l" rtl="0" eaLnBrk="1" fontAlgn="base" hangingPunct="1">
              <a:buClr>
                <a:schemeClr val="accent1"/>
              </a:buClr>
              <a:buFont typeface="Wingdings" charset="0"/>
              <a:buChar char="§"/>
            </a:lvl7pPr>
            <a:lvl8pPr marL="2135188" indent="-188913" algn="l" rtl="0" eaLnBrk="1" fontAlgn="base" hangingPunct="1">
              <a:buClr>
                <a:schemeClr val="accent1"/>
              </a:buClr>
              <a:buFont typeface="Wingdings" charset="0"/>
              <a:buChar char="§"/>
            </a:lvl8pPr>
            <a:lvl9pPr marL="2592388" indent="-188913" algn="l" rtl="0" eaLnBrk="1" fontAlgn="base" hangingPunct="1">
              <a:buClr>
                <a:schemeClr val="accent1"/>
              </a:buClr>
              <a:buFont typeface="Wingdings" charset="0"/>
              <a:buChar char="§"/>
            </a:lvl9pPr>
          </a:lstStyle>
          <a:p>
            <a:pPr>
              <a:spcBef>
                <a:spcPts val="300"/>
              </a:spcBef>
              <a:buClr>
                <a:srgbClr val="3C464B"/>
              </a:buClr>
              <a:buNone/>
            </a:pPr>
            <a:r>
              <a:rPr lang="en-US" sz="1399" b="1" dirty="0" err="1">
                <a:ea typeface="Arial Unicode MS"/>
              </a:rPr>
              <a:t>MindConnect</a:t>
            </a:r>
            <a:r>
              <a:rPr lang="en-US" sz="1399" b="1" dirty="0">
                <a:ea typeface="Arial Unicode MS"/>
              </a:rPr>
              <a:t> </a:t>
            </a:r>
            <a:r>
              <a:rPr lang="en-US" sz="1399" b="1" dirty="0" err="1">
                <a:ea typeface="Arial Unicode MS"/>
              </a:rPr>
              <a:t>IoT</a:t>
            </a:r>
            <a:r>
              <a:rPr lang="en-US" sz="1399" b="1" dirty="0">
                <a:ea typeface="Arial Unicode MS"/>
              </a:rPr>
              <a:t> Extension</a:t>
            </a:r>
            <a:r>
              <a:rPr lang="en-US" sz="1399" b="1" baseline="30000" dirty="0">
                <a:ea typeface="Arial Unicode MS" panose="020B0604020202020204" pitchFamily="34" charset="-128"/>
                <a:cs typeface="Arial Unicode MS" panose="020B0604020202020204" pitchFamily="34" charset="-128"/>
              </a:rPr>
              <a:t>1)</a:t>
            </a:r>
            <a:r>
              <a:rPr lang="en-US" sz="1399" dirty="0">
                <a:ea typeface="Arial Unicode MS"/>
              </a:rPr>
              <a:t/>
            </a:r>
            <a:br>
              <a:rPr lang="en-US" sz="1399" dirty="0">
                <a:ea typeface="Arial Unicode MS"/>
              </a:rPr>
            </a:br>
            <a:r>
              <a:rPr lang="en-US" sz="1399" dirty="0">
                <a:ea typeface="Arial Unicode MS"/>
              </a:rPr>
              <a:t/>
            </a:r>
            <a:br>
              <a:rPr lang="en-US" sz="1399" dirty="0">
                <a:ea typeface="Arial Unicode MS"/>
              </a:rPr>
            </a:br>
            <a:r>
              <a:rPr lang="en-US" sz="1399" i="1" dirty="0">
                <a:ea typeface="Arial Unicode MS"/>
              </a:rPr>
              <a:t>Expand MindSphere connectivity to all machines across the production floor</a:t>
            </a:r>
          </a:p>
          <a:p>
            <a:pPr marL="285607" indent="-285607">
              <a:buFont typeface="Arial" panose="020B0604020202020204" pitchFamily="34" charset="0"/>
              <a:buChar char="•"/>
            </a:pPr>
            <a:r>
              <a:rPr lang="en-US" sz="1399" b="1" dirty="0">
                <a:ea typeface="Arial Unicode MS" panose="020B0604020202020204" pitchFamily="34" charset="-128"/>
                <a:cs typeface="Arial Unicode MS" panose="020B0604020202020204" pitchFamily="34" charset="-128"/>
              </a:rPr>
              <a:t>SW Agents</a:t>
            </a:r>
            <a:r>
              <a:rPr lang="en-US" sz="1399" dirty="0">
                <a:ea typeface="Arial Unicode MS" panose="020B0604020202020204" pitchFamily="34" charset="-128"/>
                <a:cs typeface="Arial Unicode MS" panose="020B0604020202020204" pitchFamily="34" charset="-128"/>
              </a:rPr>
              <a:t>: </a:t>
            </a:r>
            <a:r>
              <a:rPr lang="en-US" sz="1399" dirty="0"/>
              <a:t>MQTT Agent, Java Agent, C++ Agent</a:t>
            </a:r>
          </a:p>
          <a:p>
            <a:pPr marL="285607" indent="-285607">
              <a:buFont typeface="Arial" panose="020B0604020202020204" pitchFamily="34" charset="0"/>
              <a:buChar char="•"/>
            </a:pPr>
            <a:r>
              <a:rPr lang="en-US" sz="1399" b="1" dirty="0"/>
              <a:t>Agent Development</a:t>
            </a:r>
            <a:r>
              <a:rPr lang="en-US" sz="1399" dirty="0"/>
              <a:t>: REST API</a:t>
            </a:r>
          </a:p>
          <a:p>
            <a:pPr marL="285607" indent="-285607">
              <a:buFont typeface="Arial" panose="020B0604020202020204" pitchFamily="34" charset="0"/>
              <a:buChar char="•"/>
            </a:pPr>
            <a:r>
              <a:rPr lang="en-US" sz="1399" b="1" dirty="0"/>
              <a:t>Field protocols</a:t>
            </a:r>
            <a:r>
              <a:rPr lang="en-US" sz="1399" dirty="0"/>
              <a:t>: HTTP/HTTPS, TCP, VNC, MQTT / MQTT+TLS, REST, SmartRest 1.0 / 2.0, OPC-UA, Modbus/RTU, Modbus/TCP, CAN bus,</a:t>
            </a:r>
            <a:r>
              <a:rPr lang="en-US" sz="1399" dirty="0">
                <a:solidFill>
                  <a:srgbClr val="031315"/>
                </a:solidFill>
                <a:latin typeface="Helvetica"/>
                <a:ea typeface="Calibri"/>
              </a:rPr>
              <a:t> MMC, SPI, I2C, McASP, device specific protocols </a:t>
            </a:r>
            <a:endParaRPr lang="en-US" sz="1399" dirty="0"/>
          </a:p>
          <a:p>
            <a:pPr marL="285607" indent="-285607">
              <a:buFont typeface="Arial" panose="020B0604020202020204" pitchFamily="34" charset="0"/>
              <a:buChar char="•"/>
            </a:pPr>
            <a:r>
              <a:rPr lang="en-US" sz="1399" b="1" dirty="0"/>
              <a:t>Devices</a:t>
            </a:r>
            <a:r>
              <a:rPr lang="en-US" sz="1399" dirty="0"/>
              <a:t>: Adeunis LoRAWAN, BeagleBone Black, Cinterion Java Modules, CloudGate, Dell Edge Gateway, INSYS Smart Devices – INSYS OS, INSYS Smart Devices – icom OS, Janz Tec emPC A/RPI, Libelium-Mesehlium, Mbed u-blox C027, Meitrack, Netcomm, PCUA Java Gateway, OWA3x, QuecLink, RaspberryPi, Red Lion RAM, SMARTBox, Robustel, SIGFOX, SMARTBox IO, SMARTBox Mini, TC3G, Telic, TinkerForge, Tixi</a:t>
            </a:r>
          </a:p>
          <a:p>
            <a:pPr marL="285607" indent="-285607">
              <a:buFont typeface="Arial" panose="020B0604020202020204" pitchFamily="34" charset="0"/>
              <a:buChar char="•"/>
            </a:pPr>
            <a:endParaRPr lang="en-US" sz="1399" dirty="0"/>
          </a:p>
          <a:p>
            <a:pPr marL="285607" indent="-285607">
              <a:buFont typeface="Arial" panose="020B0604020202020204" pitchFamily="34" charset="0"/>
              <a:buChar char="•"/>
            </a:pPr>
            <a:endParaRPr lang="en-US" sz="1399" dirty="0"/>
          </a:p>
          <a:p>
            <a:pPr marL="285607" indent="-285607">
              <a:buFont typeface="Arial" panose="020B0604020202020204" pitchFamily="34" charset="0"/>
              <a:buChar char="•"/>
            </a:pPr>
            <a:endParaRPr lang="en-US" sz="1399" dirty="0"/>
          </a:p>
          <a:p>
            <a:pPr marL="285607" indent="-285607">
              <a:buFont typeface="Arial" panose="020B0604020202020204" pitchFamily="34" charset="0"/>
              <a:buChar char="•"/>
            </a:pPr>
            <a:endParaRPr lang="en-US" sz="1399" dirty="0"/>
          </a:p>
          <a:p>
            <a:pPr marL="1587" indent="0">
              <a:spcBef>
                <a:spcPts val="300"/>
              </a:spcBef>
              <a:buNone/>
            </a:pPr>
            <a:endParaRPr lang="en-US" sz="1799" i="1" dirty="0">
              <a:ea typeface="Arial Unicode MS"/>
            </a:endParaRPr>
          </a:p>
          <a:p>
            <a:pPr>
              <a:spcBef>
                <a:spcPts val="300"/>
              </a:spcBef>
              <a:buClr>
                <a:srgbClr val="3C464B"/>
              </a:buClr>
              <a:buNone/>
            </a:pPr>
            <a:endParaRPr lang="en-US" sz="1799" i="1" dirty="0">
              <a:ea typeface="Arial Unicode MS"/>
            </a:endParaRPr>
          </a:p>
        </p:txBody>
      </p:sp>
      <p:pic>
        <p:nvPicPr>
          <p:cNvPr id="194576" name="Picture 1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6738" y="1269538"/>
            <a:ext cx="6188968" cy="5038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71"/>
          <p:cNvSpPr txBox="1"/>
          <p:nvPr/>
        </p:nvSpPr>
        <p:spPr>
          <a:xfrm>
            <a:off x="7355485" y="6172469"/>
            <a:ext cx="2129282" cy="135352"/>
          </a:xfrm>
          <a:prstGeom prst="rect">
            <a:avLst/>
          </a:prstGeom>
          <a:noFill/>
        </p:spPr>
        <p:txBody>
          <a:bodyPr wrap="none" lIns="0" tIns="0" rIns="0" bIns="0" rtlCol="0" anchor="ctr" anchorCtr="0">
            <a:spAutoFit/>
          </a:bodyPr>
          <a:lstStyle/>
          <a:p>
            <a:pPr>
              <a:lnSpc>
                <a:spcPct val="110000"/>
              </a:lnSpc>
            </a:pPr>
            <a:r>
              <a:rPr lang="en-US" sz="800" dirty="0">
                <a:ea typeface="Arial Unicode MS" panose="020B0604020202020204" pitchFamily="34" charset="-128"/>
                <a:cs typeface="Arial Unicode MS" panose="020B0604020202020204" pitchFamily="34" charset="-128"/>
              </a:rPr>
              <a:t>1) Limited to small files and time series  values</a:t>
            </a:r>
            <a:endParaRPr lang="en-US" sz="11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088144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1028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3373"/>
                        <a:ext cx="1586" cy="158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Connectivity</a:t>
            </a:r>
            <a:br>
              <a:rPr lang="en-US" dirty="0" smtClean="0"/>
            </a:br>
            <a:r>
              <a:rPr lang="en-US" dirty="0" smtClean="0"/>
              <a:t>MindConnect Integration</a:t>
            </a:r>
            <a:endParaRPr lang="en-US" dirty="0"/>
          </a:p>
        </p:txBody>
      </p:sp>
      <p:sp>
        <p:nvSpPr>
          <p:cNvPr id="10" name="Rechteck 9"/>
          <p:cNvSpPr>
            <a:spLocks/>
          </p:cNvSpPr>
          <p:nvPr>
            <p:custDataLst>
              <p:tags r:id="rId3"/>
            </p:custDataLst>
          </p:nvPr>
        </p:nvSpPr>
        <p:spPr bwMode="gray">
          <a:xfrm>
            <a:off x="6959647" y="1269539"/>
            <a:ext cx="4750005" cy="5034290"/>
          </a:xfrm>
          <a:prstGeom prst="rect">
            <a:avLst/>
          </a:prstGeom>
          <a:solidFill>
            <a:srgbClr val="EBF0F5"/>
          </a:solidFill>
          <a:ln>
            <a:noFill/>
          </a:ln>
          <a:effectLst/>
          <a:extLst/>
        </p:spPr>
        <p:txBody>
          <a:bodyPr wrap="square" lIns="107944" tIns="71963" rIns="107944" bIns="71963" numCol="1" spcCol="72000" rtlCol="0" anchor="t">
            <a:noAutofit/>
          </a:bodyPr>
          <a:lstStyle>
            <a:lvl1pPr marL="179388" indent="-177800" algn="l" rtl="0" fontAlgn="base">
              <a:buClr>
                <a:schemeClr val="accent1"/>
              </a:buClr>
              <a:buChar char="•"/>
            </a:lvl1pPr>
            <a:lvl2pPr marL="179388" indent="-177800" algn="l" rtl="0" fontAlgn="base">
              <a:buClr>
                <a:schemeClr val="accent1"/>
              </a:buClr>
              <a:buChar char="•"/>
            </a:lvl2pPr>
            <a:lvl3pPr marL="358775" indent="-177800" algn="l" rtl="0" fontAlgn="base">
              <a:buClr>
                <a:schemeClr val="accent1"/>
              </a:buClr>
              <a:buChar char="•"/>
            </a:lvl3pPr>
            <a:lvl4pPr marL="538163" indent="-177800" algn="l" rtl="0" fontAlgn="base">
              <a:buClr>
                <a:schemeClr val="accent1"/>
              </a:buClr>
              <a:buChar char="•"/>
            </a:lvl4pPr>
            <a:lvl5pPr marL="717550" indent="-177800" algn="l" rtl="0" fontAlgn="base">
              <a:buClr>
                <a:schemeClr val="accent1"/>
              </a:buClr>
              <a:buChar char="•"/>
            </a:lvl5pPr>
            <a:lvl6pPr marL="1220788" indent="-188913" algn="l" rtl="0" eaLnBrk="1" fontAlgn="base" hangingPunct="1">
              <a:buClr>
                <a:schemeClr val="accent1"/>
              </a:buClr>
              <a:buFont typeface="Wingdings" charset="0"/>
              <a:buChar char="§"/>
            </a:lvl6pPr>
            <a:lvl7pPr marL="1677988" indent="-188913" algn="l" rtl="0" eaLnBrk="1" fontAlgn="base" hangingPunct="1">
              <a:buClr>
                <a:schemeClr val="accent1"/>
              </a:buClr>
              <a:buFont typeface="Wingdings" charset="0"/>
              <a:buChar char="§"/>
            </a:lvl7pPr>
            <a:lvl8pPr marL="2135188" indent="-188913" algn="l" rtl="0" eaLnBrk="1" fontAlgn="base" hangingPunct="1">
              <a:buClr>
                <a:schemeClr val="accent1"/>
              </a:buClr>
              <a:buFont typeface="Wingdings" charset="0"/>
              <a:buChar char="§"/>
            </a:lvl8pPr>
            <a:lvl9pPr marL="2592388" indent="-188913" algn="l" rtl="0" eaLnBrk="1" fontAlgn="base" hangingPunct="1">
              <a:buClr>
                <a:schemeClr val="accent1"/>
              </a:buClr>
              <a:buFont typeface="Wingdings" charset="0"/>
              <a:buChar char="§"/>
            </a:lvl9pPr>
          </a:lstStyle>
          <a:p>
            <a:pPr>
              <a:spcBef>
                <a:spcPts val="300"/>
              </a:spcBef>
              <a:buClr>
                <a:srgbClr val="3C464B"/>
              </a:buClr>
              <a:buNone/>
            </a:pPr>
            <a:r>
              <a:rPr lang="en-US" sz="1399" b="1" dirty="0" err="1">
                <a:ea typeface="Arial Unicode MS"/>
              </a:rPr>
              <a:t>MindConnect</a:t>
            </a:r>
            <a:r>
              <a:rPr lang="en-US" sz="1399" b="1" dirty="0">
                <a:ea typeface="Arial Unicode MS"/>
              </a:rPr>
              <a:t> Integration</a:t>
            </a:r>
            <a:r>
              <a:rPr lang="en-US" sz="1399" b="1" baseline="30000" dirty="0">
                <a:ea typeface="Arial Unicode MS" panose="020B0604020202020204" pitchFamily="34" charset="-128"/>
                <a:cs typeface="Arial Unicode MS" panose="020B0604020202020204" pitchFamily="34" charset="-128"/>
              </a:rPr>
              <a:t>1)</a:t>
            </a:r>
            <a:r>
              <a:rPr lang="en-US" sz="1399" dirty="0">
                <a:ea typeface="Arial Unicode MS"/>
              </a:rPr>
              <a:t/>
            </a:r>
            <a:br>
              <a:rPr lang="en-US" sz="1399" dirty="0">
                <a:ea typeface="Arial Unicode MS"/>
              </a:rPr>
            </a:br>
            <a:r>
              <a:rPr lang="en-US" sz="1399" dirty="0">
                <a:ea typeface="Arial Unicode MS"/>
              </a:rPr>
              <a:t/>
            </a:r>
            <a:br>
              <a:rPr lang="en-US" sz="1399" dirty="0">
                <a:ea typeface="Arial Unicode MS"/>
              </a:rPr>
            </a:br>
            <a:r>
              <a:rPr lang="en-US" sz="1399" i="1" dirty="0">
                <a:ea typeface="Arial Unicode MS"/>
              </a:rPr>
              <a:t>Establish connectivity with existing databases and enterprise systems to open new avenues of analysis</a:t>
            </a:r>
            <a:endParaRPr lang="en-US" sz="1799" i="1" dirty="0">
              <a:ea typeface="Arial Unicode MS"/>
            </a:endParaRPr>
          </a:p>
          <a:p>
            <a:pPr marL="285607" indent="-285607">
              <a:buFont typeface="Arial" panose="020B0604020202020204" pitchFamily="34" charset="0"/>
              <a:buChar char="•"/>
            </a:pPr>
            <a:r>
              <a:rPr lang="en-US" sz="1399" b="1" dirty="0">
                <a:ea typeface="Arial Unicode MS" panose="020B0604020202020204" pitchFamily="34" charset="-128"/>
                <a:cs typeface="Arial Unicode MS" panose="020B0604020202020204" pitchFamily="34" charset="-128"/>
              </a:rPr>
              <a:t>Cloud connectors: </a:t>
            </a:r>
            <a:r>
              <a:rPr lang="en-US" sz="1399" dirty="0"/>
              <a:t>FTP(S), SOAP, REST, OData 2.0, OData 4.0,</a:t>
            </a:r>
            <a:r>
              <a:rPr lang="en-US" sz="1399" b="1" dirty="0"/>
              <a:t> </a:t>
            </a:r>
            <a:r>
              <a:rPr lang="en-US" sz="1399" dirty="0"/>
              <a:t>Alfabet, Cumulocity, Apps, BigQuery, Calendar, Cloud Storage, Contacts, Drive, Cloud Pub/Sub, Sheets,S3, SNS, SQS, Apache Solr, AvaTax, Concur, Coupa, Magento, Marketo, Microsoft Dynamics, NetSuite, SAP cloud, SAP Hana Marketing Cloud, Salesforce, Salesforce CRM, ServiceNow, Slack, StrikeIron, SuccesFactors, SugarCRM, Zendesk</a:t>
            </a:r>
            <a:endParaRPr lang="en-US" sz="1799" dirty="0">
              <a:ea typeface="Arial Unicode MS" panose="020B0604020202020204" pitchFamily="34" charset="-128"/>
              <a:cs typeface="Arial Unicode MS" panose="020B0604020202020204" pitchFamily="34" charset="-128"/>
            </a:endParaRPr>
          </a:p>
          <a:p>
            <a:pPr marL="285607" indent="-285607">
              <a:buFont typeface="Arial" panose="020B0604020202020204" pitchFamily="34" charset="0"/>
              <a:buChar char="•"/>
            </a:pPr>
            <a:r>
              <a:rPr lang="en-US" sz="1399" b="1" dirty="0">
                <a:ea typeface="Arial Unicode MS" panose="020B0604020202020204" pitchFamily="34" charset="-128"/>
                <a:cs typeface="Arial Unicode MS" panose="020B0604020202020204" pitchFamily="34" charset="-128"/>
              </a:rPr>
              <a:t>On premise connectors: </a:t>
            </a:r>
            <a:r>
              <a:rPr lang="en-US" sz="1399" dirty="0"/>
              <a:t>Ariba, OnRamp, LotusNotes, OFTP, Oracle, PeopleSoft, Remedy, SAP, SAP XI, Siebel, AS/400, JavaBeans, JDBC, Apache HIVE, MongoDB, Cassandra, HDFS, Apache Impala, Apache WebSphereMQ, Tuxedo, MSMQ,  Apache Kafka</a:t>
            </a:r>
          </a:p>
          <a:p>
            <a:pPr>
              <a:spcBef>
                <a:spcPts val="300"/>
              </a:spcBef>
            </a:pPr>
            <a:endParaRPr lang="en-US" sz="1399" b="1" i="1" dirty="0">
              <a:ea typeface="Arial Unicode MS"/>
            </a:endParaRPr>
          </a:p>
        </p:txBody>
      </p:sp>
      <p:pic>
        <p:nvPicPr>
          <p:cNvPr id="21401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7303" y="1269538"/>
            <a:ext cx="6198402" cy="50342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71"/>
          <p:cNvSpPr txBox="1"/>
          <p:nvPr/>
        </p:nvSpPr>
        <p:spPr>
          <a:xfrm>
            <a:off x="7355485" y="6172469"/>
            <a:ext cx="2129282" cy="135352"/>
          </a:xfrm>
          <a:prstGeom prst="rect">
            <a:avLst/>
          </a:prstGeom>
          <a:noFill/>
        </p:spPr>
        <p:txBody>
          <a:bodyPr wrap="none" lIns="0" tIns="0" rIns="0" bIns="0" rtlCol="0" anchor="ctr" anchorCtr="0">
            <a:spAutoFit/>
          </a:bodyPr>
          <a:lstStyle/>
          <a:p>
            <a:pPr>
              <a:lnSpc>
                <a:spcPct val="110000"/>
              </a:lnSpc>
            </a:pPr>
            <a:r>
              <a:rPr lang="en-US" sz="800" dirty="0">
                <a:ea typeface="Arial Unicode MS" panose="020B0604020202020204" pitchFamily="34" charset="-128"/>
                <a:cs typeface="Arial Unicode MS" panose="020B0604020202020204" pitchFamily="34" charset="-128"/>
              </a:rPr>
              <a:t>1) Limited to small files and time series  values</a:t>
            </a:r>
            <a:endParaRPr lang="en-US" sz="11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7751565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MindConnect</a:t>
            </a:r>
            <a:r>
              <a:rPr lang="en-US" dirty="0"/>
              <a:t> </a:t>
            </a:r>
            <a:r>
              <a:rPr lang="en-US" dirty="0" err="1"/>
              <a:t>IoT</a:t>
            </a:r>
            <a:r>
              <a:rPr lang="en-US" dirty="0"/>
              <a:t> Extension &amp; </a:t>
            </a:r>
            <a:r>
              <a:rPr lang="en-US" dirty="0" err="1"/>
              <a:t>MindConnect</a:t>
            </a:r>
            <a:r>
              <a:rPr lang="en-US" dirty="0"/>
              <a:t> Integration</a:t>
            </a:r>
            <a:r>
              <a:rPr lang="de-DE" dirty="0" smtClean="0"/>
              <a:t/>
            </a:r>
            <a:br>
              <a:rPr lang="de-DE" dirty="0" smtClean="0"/>
            </a:br>
            <a:r>
              <a:rPr lang="en-US" b="0" i="1" u="sng" dirty="0"/>
              <a:t>Hands-On Exercise 7</a:t>
            </a:r>
          </a:p>
        </p:txBody>
      </p:sp>
      <p:sp>
        <p:nvSpPr>
          <p:cNvPr id="282" name="Rechteck 281"/>
          <p:cNvSpPr>
            <a:spLocks/>
          </p:cNvSpPr>
          <p:nvPr/>
        </p:nvSpPr>
        <p:spPr bwMode="gray">
          <a:xfrm>
            <a:off x="614455" y="1439999"/>
            <a:ext cx="11093610"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err="1">
                <a:solidFill>
                  <a:schemeClr val="bg1"/>
                </a:solidFill>
              </a:rPr>
              <a:t>MindConnect</a:t>
            </a:r>
            <a:r>
              <a:rPr lang="en-US" sz="1399" b="1" dirty="0">
                <a:solidFill>
                  <a:schemeClr val="bg1"/>
                </a:solidFill>
              </a:rPr>
              <a:t> </a:t>
            </a:r>
            <a:r>
              <a:rPr lang="en-US" sz="1399" b="1" dirty="0" err="1">
                <a:solidFill>
                  <a:schemeClr val="bg1"/>
                </a:solidFill>
              </a:rPr>
              <a:t>IoT</a:t>
            </a:r>
            <a:r>
              <a:rPr lang="en-US" sz="1399" b="1" dirty="0">
                <a:solidFill>
                  <a:schemeClr val="bg1"/>
                </a:solidFill>
              </a:rPr>
              <a:t> Extension and </a:t>
            </a:r>
            <a:r>
              <a:rPr lang="en-US" sz="1399" b="1" dirty="0" err="1">
                <a:solidFill>
                  <a:schemeClr val="bg1"/>
                </a:solidFill>
              </a:rPr>
              <a:t>MindConnect</a:t>
            </a:r>
            <a:r>
              <a:rPr lang="en-US" sz="1399" b="1" dirty="0">
                <a:solidFill>
                  <a:schemeClr val="bg1"/>
                </a:solidFill>
              </a:rPr>
              <a:t> Integration</a:t>
            </a:r>
          </a:p>
        </p:txBody>
      </p:sp>
      <p:sp>
        <p:nvSpPr>
          <p:cNvPr id="10" name="Textfeld 2"/>
          <p:cNvSpPr txBox="1"/>
          <p:nvPr/>
        </p:nvSpPr>
        <p:spPr>
          <a:xfrm>
            <a:off x="614455" y="2271174"/>
            <a:ext cx="11156694" cy="3076483"/>
          </a:xfrm>
          <a:prstGeom prst="rect">
            <a:avLst/>
          </a:prstGeom>
          <a:noFill/>
        </p:spPr>
        <p:txBody>
          <a:bodyPr wrap="square" lIns="0" tIns="0" rIns="0" bIns="0" rtlCol="0">
            <a:spAutoFit/>
          </a:bodyPr>
          <a:lstStyle/>
          <a:p>
            <a:r>
              <a:rPr lang="de-DE" sz="1999" dirty="0">
                <a:hlinkClick r:id="rId3"/>
              </a:rPr>
              <a:t>https://tepusr.eu1.mindsphere.io</a:t>
            </a:r>
            <a:endParaRPr lang="de-DE" sz="1999" dirty="0"/>
          </a:p>
          <a:p>
            <a:endParaRPr lang="de-DE" sz="1999" dirty="0"/>
          </a:p>
          <a:p>
            <a:r>
              <a:rPr lang="de-DE" sz="1999" dirty="0">
                <a:hlinkClick r:id="rId4"/>
              </a:rPr>
              <a:t>https://demoprm.mcintegration.eu-central-preview.mindsphere.io/integration/login#/login</a:t>
            </a:r>
            <a:endParaRPr lang="de-DE" sz="1999" dirty="0"/>
          </a:p>
          <a:p>
            <a:endParaRPr lang="de-DE" sz="1999" dirty="0"/>
          </a:p>
          <a:p>
            <a:r>
              <a:rPr lang="de-DE" sz="1999" dirty="0">
                <a:hlinkClick r:id="rId5"/>
              </a:rPr>
              <a:t>https://demoprm.mciotextension.eu-central.mindsphere.io/apps/cockpit/index.html#/</a:t>
            </a:r>
            <a:endParaRPr lang="de-DE" sz="1999" dirty="0"/>
          </a:p>
          <a:p>
            <a:endParaRPr lang="de-DE" sz="1999" dirty="0"/>
          </a:p>
          <a:p>
            <a:endParaRPr lang="de-DE" sz="1999" dirty="0"/>
          </a:p>
          <a:p>
            <a:endParaRPr lang="de-DE" sz="1999" dirty="0"/>
          </a:p>
          <a:p>
            <a:endParaRPr lang="de-DE" sz="1999" dirty="0"/>
          </a:p>
          <a:p>
            <a:endParaRPr lang="en-US" sz="1999" dirty="0" err="1"/>
          </a:p>
        </p:txBody>
      </p:sp>
    </p:spTree>
    <p:extLst>
      <p:ext uri="{BB962C8B-B14F-4D97-AF65-F5344CB8AC3E}">
        <p14:creationId xmlns:p14="http://schemas.microsoft.com/office/powerpoint/2010/main" val="111744072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Callout 2 4"/>
          <p:cNvSpPr/>
          <p:nvPr/>
        </p:nvSpPr>
        <p:spPr bwMode="auto">
          <a:xfrm flipH="1">
            <a:off x="142871" y="1600199"/>
            <a:ext cx="4533899" cy="2733676"/>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pPr>
            <a:r>
              <a:rPr lang="en-US" b="1" dirty="0" err="1">
                <a:solidFill>
                  <a:schemeClr val="bg1"/>
                </a:solidFill>
                <a:ea typeface="Arial Unicode MS"/>
              </a:rPr>
              <a:t>MindConnect</a:t>
            </a:r>
            <a:r>
              <a:rPr lang="en-US" b="1" dirty="0">
                <a:solidFill>
                  <a:schemeClr val="bg1"/>
                </a:solidFill>
                <a:ea typeface="Arial Unicode MS"/>
              </a:rPr>
              <a:t> </a:t>
            </a:r>
            <a:r>
              <a:rPr lang="en-US" b="1" dirty="0" err="1">
                <a:solidFill>
                  <a:schemeClr val="bg1"/>
                </a:solidFill>
                <a:ea typeface="Arial Unicode MS"/>
              </a:rPr>
              <a:t>IoT</a:t>
            </a:r>
            <a:r>
              <a:rPr lang="en-US" b="1" dirty="0">
                <a:solidFill>
                  <a:schemeClr val="bg1"/>
                </a:solidFill>
                <a:ea typeface="Arial Unicode MS"/>
              </a:rPr>
              <a:t> </a:t>
            </a:r>
            <a:r>
              <a:rPr lang="en-US" b="1" dirty="0" smtClean="0">
                <a:solidFill>
                  <a:schemeClr val="bg1"/>
                </a:solidFill>
                <a:ea typeface="Arial Unicode MS"/>
              </a:rPr>
              <a:t>Extension</a:t>
            </a:r>
            <a:r>
              <a:rPr lang="en-US" dirty="0">
                <a:solidFill>
                  <a:schemeClr val="bg1"/>
                </a:solidFill>
                <a:ea typeface="Arial Unicode MS"/>
              </a:rPr>
              <a:t/>
            </a:r>
            <a:br>
              <a:rPr lang="en-US" dirty="0">
                <a:solidFill>
                  <a:schemeClr val="bg1"/>
                </a:solidFill>
                <a:ea typeface="Arial Unicode MS"/>
              </a:rPr>
            </a:br>
            <a:r>
              <a:rPr lang="en-US" i="1" dirty="0">
                <a:solidFill>
                  <a:schemeClr val="bg1"/>
                </a:solidFill>
                <a:ea typeface="Arial Unicode MS"/>
              </a:rPr>
              <a:t>Expand MindSphere connectivity to all machines across the production floor</a:t>
            </a:r>
          </a:p>
          <a:p>
            <a:pPr algn="ctr">
              <a:lnSpc>
                <a:spcPct val="110000"/>
              </a:lnSpc>
              <a:spcBef>
                <a:spcPct val="0"/>
              </a:spcBef>
            </a:pPr>
            <a:endParaRPr lang="en-US" b="1" dirty="0" smtClean="0">
              <a:solidFill>
                <a:schemeClr val="bg1"/>
              </a:solidFill>
              <a:ea typeface="Arial Unicode MS"/>
            </a:endParaRPr>
          </a:p>
          <a:p>
            <a:pPr algn="ctr">
              <a:lnSpc>
                <a:spcPct val="110000"/>
              </a:lnSpc>
              <a:spcBef>
                <a:spcPct val="0"/>
              </a:spcBef>
            </a:pPr>
            <a:r>
              <a:rPr lang="en-US" b="1" dirty="0" err="1" smtClean="0">
                <a:solidFill>
                  <a:schemeClr val="bg1"/>
                </a:solidFill>
                <a:ea typeface="Arial Unicode MS"/>
              </a:rPr>
              <a:t>MindConnect</a:t>
            </a:r>
            <a:r>
              <a:rPr lang="en-US" b="1" dirty="0" smtClean="0">
                <a:solidFill>
                  <a:schemeClr val="bg1"/>
                </a:solidFill>
                <a:ea typeface="Arial Unicode MS"/>
              </a:rPr>
              <a:t> Integration</a:t>
            </a:r>
            <a:r>
              <a:rPr lang="en-US" dirty="0">
                <a:solidFill>
                  <a:schemeClr val="bg1"/>
                </a:solidFill>
                <a:ea typeface="Arial Unicode MS"/>
              </a:rPr>
              <a:t/>
            </a:r>
            <a:br>
              <a:rPr lang="en-US" dirty="0">
                <a:solidFill>
                  <a:schemeClr val="bg1"/>
                </a:solidFill>
                <a:ea typeface="Arial Unicode MS"/>
              </a:rPr>
            </a:br>
            <a:r>
              <a:rPr lang="en-US" i="1" dirty="0">
                <a:solidFill>
                  <a:schemeClr val="bg1"/>
                </a:solidFill>
                <a:ea typeface="Arial Unicode MS"/>
              </a:rPr>
              <a:t>Establish connectivity with existing databases and enterprise systems to open new avenues of </a:t>
            </a:r>
            <a:r>
              <a:rPr lang="en-US" i="1" dirty="0" smtClean="0">
                <a:solidFill>
                  <a:schemeClr val="bg1"/>
                </a:solidFill>
                <a:ea typeface="Arial Unicode MS"/>
              </a:rPr>
              <a:t>analysis</a:t>
            </a:r>
            <a:endParaRPr lang="en-US" b="1" dirty="0">
              <a:solidFill>
                <a:schemeClr val="bg1"/>
              </a:solidFill>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a:xfrm>
            <a:off x="0" y="0"/>
            <a:ext cx="12192000" cy="1440000"/>
          </a:xfrm>
        </p:spPr>
        <p:txBody>
          <a:bodyPr/>
          <a:lstStyle/>
          <a:p>
            <a:r>
              <a:rPr lang="en-US" dirty="0" err="1">
                <a:solidFill>
                  <a:srgbClr val="00646E"/>
                </a:solidFill>
              </a:rPr>
              <a:t>MindConnect</a:t>
            </a:r>
            <a:r>
              <a:rPr lang="en-US" dirty="0">
                <a:solidFill>
                  <a:srgbClr val="00646E"/>
                </a:solidFill>
              </a:rPr>
              <a:t> </a:t>
            </a:r>
            <a:r>
              <a:rPr lang="en-US" dirty="0" err="1">
                <a:solidFill>
                  <a:srgbClr val="00646E"/>
                </a:solidFill>
              </a:rPr>
              <a:t>IoT</a:t>
            </a:r>
            <a:r>
              <a:rPr lang="en-US" dirty="0">
                <a:solidFill>
                  <a:srgbClr val="00646E"/>
                </a:solidFill>
              </a:rPr>
              <a:t> Extension &amp; </a:t>
            </a:r>
            <a:r>
              <a:rPr lang="en-US" dirty="0" err="1">
                <a:solidFill>
                  <a:srgbClr val="00646E"/>
                </a:solidFill>
              </a:rPr>
              <a:t>MindConnect</a:t>
            </a:r>
            <a:r>
              <a:rPr lang="en-US" dirty="0">
                <a:solidFill>
                  <a:srgbClr val="00646E"/>
                </a:solidFill>
              </a:rPr>
              <a:t> Integration</a:t>
            </a:r>
            <a:r>
              <a:rPr lang="de-DE" dirty="0" smtClean="0">
                <a:solidFill>
                  <a:srgbClr val="00646E"/>
                </a:solidFill>
              </a:rPr>
              <a:t/>
            </a:r>
            <a:br>
              <a:rPr lang="de-DE" dirty="0" smtClean="0">
                <a:solidFill>
                  <a:srgbClr val="00646E"/>
                </a:solidFill>
              </a:rPr>
            </a:br>
            <a:r>
              <a:rPr lang="en-US" b="0" dirty="0" smtClean="0">
                <a:solidFill>
                  <a:srgbClr val="00646E"/>
                </a:solidFill>
              </a:rPr>
              <a:t>Summary</a:t>
            </a:r>
            <a:endParaRPr lang="en-US" dirty="0">
              <a:solidFill>
                <a:srgbClr val="00646E"/>
              </a:solidFill>
            </a:endParaRPr>
          </a:p>
        </p:txBody>
      </p:sp>
    </p:spTree>
    <p:extLst>
      <p:ext uri="{BB962C8B-B14F-4D97-AF65-F5344CB8AC3E}">
        <p14:creationId xmlns:p14="http://schemas.microsoft.com/office/powerpoint/2010/main" val="83853700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3496422"/>
            <a:ext cx="9297988" cy="2339399"/>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err="1" smtClean="0"/>
              <a:t>MindConnect</a:t>
            </a:r>
            <a:r>
              <a:rPr lang="en-US" sz="3998" kern="0" dirty="0" smtClean="0"/>
              <a:t> </a:t>
            </a:r>
          </a:p>
          <a:p>
            <a:r>
              <a:rPr lang="en-US" sz="3998" kern="0" dirty="0" smtClean="0"/>
              <a:t>Device Training</a:t>
            </a:r>
            <a:endParaRPr lang="en-US" sz="3998" kern="0" dirty="0" smtClean="0"/>
          </a:p>
          <a:p>
            <a:r>
              <a:rPr lang="de-DE" sz="3200" kern="0" dirty="0" smtClean="0">
                <a:solidFill>
                  <a:schemeClr val="tx1"/>
                </a:solidFill>
              </a:rPr>
              <a:t>Summary &amp; Feedback</a:t>
            </a:r>
            <a:endParaRPr lang="en-US" sz="3200" kern="0" dirty="0">
              <a:solidFill>
                <a:schemeClr val="tx1"/>
              </a:solidFill>
            </a:endParaRPr>
          </a:p>
          <a:p>
            <a:r>
              <a:rPr lang="en-US" sz="1999" kern="0" dirty="0" smtClean="0">
                <a:solidFill>
                  <a:schemeClr val="tx1"/>
                </a:solidFill>
              </a:rPr>
              <a:t>2018</a:t>
            </a:r>
            <a:endParaRPr lang="en-US" sz="1999" b="0" kern="0" dirty="0">
              <a:solidFill>
                <a:schemeClr val="tx1"/>
              </a:solidFill>
            </a:endParaRPr>
          </a:p>
        </p:txBody>
      </p:sp>
    </p:spTree>
    <p:extLst>
      <p:ext uri="{BB962C8B-B14F-4D97-AF65-F5344CB8AC3E}">
        <p14:creationId xmlns:p14="http://schemas.microsoft.com/office/powerpoint/2010/main" val="3829030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4738" name="Picture 2" descr="C:\Users\z000fkul\Desktop\MindSphere_Overview_3D_V3.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2456" y="1261060"/>
            <a:ext cx="9645811" cy="532226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kt 1" hidden="1"/>
          <p:cNvGraphicFramePr>
            <a:graphicFrameLocks noChangeAspect="1"/>
          </p:cNvGraphicFramePr>
          <p:nvPr>
            <p:custDataLst>
              <p:tags r:id="rId2"/>
            </p:custDataLs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3143"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3373"/>
                        <a:ext cx="1586" cy="158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MindSphere Overview</a:t>
            </a:r>
            <a:endParaRPr lang="en-US" dirty="0"/>
          </a:p>
        </p:txBody>
      </p:sp>
      <p:sp>
        <p:nvSpPr>
          <p:cNvPr id="3" name="AutoShape 49" descr="Asset Manager V3.PNG"/>
          <p:cNvSpPr>
            <a:spLocks noChangeAspect="1" noChangeArrowheads="1"/>
          </p:cNvSpPr>
          <p:nvPr/>
        </p:nvSpPr>
        <p:spPr bwMode="auto">
          <a:xfrm>
            <a:off x="155494" y="-142602"/>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
        <p:nvSpPr>
          <p:cNvPr id="5" name="AutoShape 51" descr="Asset Manager V3.PNG"/>
          <p:cNvSpPr>
            <a:spLocks noChangeAspect="1" noChangeArrowheads="1"/>
          </p:cNvSpPr>
          <p:nvPr/>
        </p:nvSpPr>
        <p:spPr bwMode="auto">
          <a:xfrm>
            <a:off x="307815" y="9719"/>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
        <p:nvSpPr>
          <p:cNvPr id="6" name="AutoShape 53" descr="Asset Manager V3.PNG"/>
          <p:cNvSpPr>
            <a:spLocks noChangeAspect="1" noChangeArrowheads="1"/>
          </p:cNvSpPr>
          <p:nvPr/>
        </p:nvSpPr>
        <p:spPr bwMode="auto">
          <a:xfrm>
            <a:off x="460136" y="162039"/>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Tree>
    <p:extLst>
      <p:ext uri="{BB962C8B-B14F-4D97-AF65-F5344CB8AC3E}">
        <p14:creationId xmlns:p14="http://schemas.microsoft.com/office/powerpoint/2010/main" val="26706332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t>
            </a:r>
            <a:r>
              <a:rPr lang="de-DE" dirty="0" smtClean="0"/>
              <a:t>Summary &amp; Feedback</a:t>
            </a:r>
            <a:r>
              <a:rPr lang="de-DE" dirty="0"/>
              <a:t/>
            </a:r>
            <a:br>
              <a:rPr lang="de-DE" dirty="0"/>
            </a:br>
            <a:r>
              <a:rPr lang="en-US" b="0" dirty="0" smtClean="0"/>
              <a:t>Learning Goals</a:t>
            </a:r>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 y="1112838"/>
            <a:ext cx="5839529" cy="5046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hteck 6"/>
          <p:cNvSpPr/>
          <p:nvPr/>
        </p:nvSpPr>
        <p:spPr bwMode="auto">
          <a:xfrm>
            <a:off x="5086350" y="1447809"/>
            <a:ext cx="6457950" cy="1765299"/>
          </a:xfrm>
          <a:prstGeom prst="rect">
            <a:avLst/>
          </a:prstGeom>
          <a:solidFill>
            <a:srgbClr val="641946"/>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2000" b="1" dirty="0" err="1" smtClean="0">
                <a:solidFill>
                  <a:srgbClr val="FFFFFF"/>
                </a:solidFill>
                <a:ea typeface="Arial Unicode MS" panose="020B0604020202020204" pitchFamily="34" charset="-128"/>
                <a:cs typeface="Arial Unicode MS" panose="020B0604020202020204" pitchFamily="34" charset="-128"/>
              </a:rPr>
              <a:t>Where</a:t>
            </a:r>
            <a:r>
              <a:rPr lang="de-DE" sz="2000" b="1" dirty="0" smtClean="0">
                <a:solidFill>
                  <a:srgbClr val="FFFFFF"/>
                </a:solidFill>
                <a:ea typeface="Arial Unicode MS" panose="020B0604020202020204" pitchFamily="34" charset="-128"/>
                <a:cs typeface="Arial Unicode MS" panose="020B0604020202020204" pitchFamily="34" charset="-128"/>
              </a:rPr>
              <a:t> do I find relevant </a:t>
            </a:r>
            <a:r>
              <a:rPr lang="de-DE" sz="2000" b="1" dirty="0" err="1" smtClean="0">
                <a:solidFill>
                  <a:srgbClr val="FFFFFF"/>
                </a:solidFill>
                <a:ea typeface="Arial Unicode MS" panose="020B0604020202020204" pitchFamily="34" charset="-128"/>
                <a:cs typeface="Arial Unicode MS" panose="020B0604020202020204" pitchFamily="34" charset="-128"/>
              </a:rPr>
              <a:t>information</a:t>
            </a:r>
            <a:r>
              <a:rPr lang="de-DE" sz="2000" b="1" dirty="0" smtClean="0">
                <a:solidFill>
                  <a:srgbClr val="FFFFFF"/>
                </a:solidFill>
                <a:ea typeface="Arial Unicode MS" panose="020B0604020202020204" pitchFamily="34" charset="-128"/>
                <a:cs typeface="Arial Unicode MS" panose="020B0604020202020204" pitchFamily="34" charset="-128"/>
              </a:rPr>
              <a:t> </a:t>
            </a:r>
            <a:r>
              <a:rPr lang="de-DE" sz="2000" b="1" dirty="0" err="1" smtClean="0">
                <a:solidFill>
                  <a:srgbClr val="FFFFFF"/>
                </a:solidFill>
                <a:ea typeface="Arial Unicode MS" panose="020B0604020202020204" pitchFamily="34" charset="-128"/>
                <a:cs typeface="Arial Unicode MS" panose="020B0604020202020204" pitchFamily="34" charset="-128"/>
              </a:rPr>
              <a:t>about</a:t>
            </a:r>
            <a:r>
              <a:rPr lang="de-DE" sz="2000" b="1" dirty="0" smtClean="0">
                <a:solidFill>
                  <a:srgbClr val="FFFFFF"/>
                </a:solidFill>
                <a:ea typeface="Arial Unicode MS" panose="020B0604020202020204" pitchFamily="34" charset="-128"/>
                <a:cs typeface="Arial Unicode MS" panose="020B0604020202020204" pitchFamily="34" charset="-128"/>
              </a:rPr>
              <a:t> </a:t>
            </a:r>
            <a:r>
              <a:rPr lang="de-DE" sz="2000" b="1" dirty="0" err="1" smtClean="0">
                <a:solidFill>
                  <a:srgbClr val="FFFFFF"/>
                </a:solidFill>
                <a:ea typeface="Arial Unicode MS" panose="020B0604020202020204" pitchFamily="34" charset="-128"/>
                <a:cs typeface="Arial Unicode MS" panose="020B0604020202020204" pitchFamily="34" charset="-128"/>
              </a:rPr>
              <a:t>MindSphere</a:t>
            </a:r>
            <a:r>
              <a:rPr lang="de-DE" sz="2000" b="1" dirty="0" smtClean="0">
                <a:solidFill>
                  <a:srgbClr val="FFFFFF"/>
                </a:solidFill>
                <a:ea typeface="Arial Unicode MS" panose="020B0604020202020204" pitchFamily="34" charset="-128"/>
                <a:cs typeface="Arial Unicode MS" panose="020B0604020202020204" pitchFamily="34" charset="-128"/>
              </a:rPr>
              <a:t> </a:t>
            </a:r>
            <a:r>
              <a:rPr lang="de-DE" sz="2000" b="1" dirty="0" err="1" smtClean="0">
                <a:solidFill>
                  <a:srgbClr val="FFFFFF"/>
                </a:solidFill>
                <a:ea typeface="Arial Unicode MS" panose="020B0604020202020204" pitchFamily="34" charset="-128"/>
                <a:cs typeface="Arial Unicode MS" panose="020B0604020202020204" pitchFamily="34" charset="-128"/>
              </a:rPr>
              <a:t>and</a:t>
            </a:r>
            <a:r>
              <a:rPr lang="de-DE" sz="2000" b="1" dirty="0" smtClean="0">
                <a:solidFill>
                  <a:srgbClr val="FFFFFF"/>
                </a:solidFill>
                <a:ea typeface="Arial Unicode MS" panose="020B0604020202020204" pitchFamily="34" charset="-128"/>
                <a:cs typeface="Arial Unicode MS" panose="020B0604020202020204" pitchFamily="34" charset="-128"/>
              </a:rPr>
              <a:t> </a:t>
            </a:r>
            <a:r>
              <a:rPr lang="de-DE" sz="2000" b="1" dirty="0" err="1" smtClean="0">
                <a:solidFill>
                  <a:srgbClr val="FFFFFF"/>
                </a:solidFill>
                <a:ea typeface="Arial Unicode MS" panose="020B0604020202020204" pitchFamily="34" charset="-128"/>
                <a:cs typeface="Arial Unicode MS" panose="020B0604020202020204" pitchFamily="34" charset="-128"/>
              </a:rPr>
              <a:t>MindSphere</a:t>
            </a:r>
            <a:r>
              <a:rPr lang="de-DE" sz="2000" b="1" dirty="0" smtClean="0">
                <a:solidFill>
                  <a:srgbClr val="FFFFFF"/>
                </a:solidFill>
                <a:ea typeface="Arial Unicode MS" panose="020B0604020202020204" pitchFamily="34" charset="-128"/>
                <a:cs typeface="Arial Unicode MS" panose="020B0604020202020204" pitchFamily="34" charset="-128"/>
              </a:rPr>
              <a:t> </a:t>
            </a:r>
            <a:r>
              <a:rPr lang="de-DE" sz="2000" b="1" dirty="0" err="1" smtClean="0">
                <a:solidFill>
                  <a:srgbClr val="FFFFFF"/>
                </a:solidFill>
                <a:ea typeface="Arial Unicode MS" panose="020B0604020202020204" pitchFamily="34" charset="-128"/>
                <a:cs typeface="Arial Unicode MS" panose="020B0604020202020204" pitchFamily="34" charset="-128"/>
              </a:rPr>
              <a:t>products</a:t>
            </a:r>
            <a:r>
              <a:rPr lang="de-DE" sz="2000" b="1" dirty="0" smtClean="0">
                <a:solidFill>
                  <a:srgbClr val="FFFFFF"/>
                </a:solidFill>
                <a:ea typeface="Arial Unicode MS" panose="020B0604020202020204" pitchFamily="34" charset="-128"/>
                <a:cs typeface="Arial Unicode MS" panose="020B0604020202020204" pitchFamily="34" charset="-128"/>
              </a:rPr>
              <a:t>?</a:t>
            </a:r>
            <a:endParaRPr lang="de-DE" sz="2000" b="1" dirty="0">
              <a:solidFill>
                <a:srgbClr val="FFFFFF"/>
              </a:solidFill>
              <a:ea typeface="Arial Unicode MS" panose="020B0604020202020204" pitchFamily="34" charset="-128"/>
              <a:cs typeface="Arial Unicode MS" panose="020B0604020202020204" pitchFamily="34" charset="-128"/>
            </a:endParaRPr>
          </a:p>
        </p:txBody>
      </p:sp>
      <p:sp>
        <p:nvSpPr>
          <p:cNvPr id="9" name="Pfeil nach unten 8"/>
          <p:cNvSpPr/>
          <p:nvPr/>
        </p:nvSpPr>
        <p:spPr bwMode="auto">
          <a:xfrm>
            <a:off x="7852714" y="3213106"/>
            <a:ext cx="910286" cy="459581"/>
          </a:xfrm>
          <a:prstGeom prst="downArrow">
            <a:avLst/>
          </a:prstGeom>
          <a:solidFill>
            <a:srgbClr val="641946"/>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smtClean="0">
              <a:solidFill>
                <a:srgbClr val="000000"/>
              </a:solidFill>
              <a:ea typeface="Arial Unicode MS" panose="020B0604020202020204" pitchFamily="34" charset="-128"/>
              <a:cs typeface="Arial Unicode MS" panose="020B0604020202020204" pitchFamily="34" charset="-128"/>
            </a:endParaRPr>
          </a:p>
        </p:txBody>
      </p:sp>
      <p:sp>
        <p:nvSpPr>
          <p:cNvPr id="3" name="Textfeld 2"/>
          <p:cNvSpPr txBox="1"/>
          <p:nvPr/>
        </p:nvSpPr>
        <p:spPr>
          <a:xfrm>
            <a:off x="6449661" y="3692134"/>
            <a:ext cx="5040664" cy="2029480"/>
          </a:xfrm>
          <a:prstGeom prst="rect">
            <a:avLst/>
          </a:prstGeom>
          <a:noFill/>
        </p:spPr>
        <p:txBody>
          <a:bodyPr wrap="square" lIns="0" tIns="0" rIns="0" bIns="0" rtlCol="0">
            <a:noAutofit/>
          </a:bodyPr>
          <a:lstStyle/>
          <a:p>
            <a:pPr marL="171450" indent="-171450">
              <a:lnSpc>
                <a:spcPct val="110000"/>
              </a:lnSpc>
              <a:buFont typeface="Arial" panose="020B0604020202020204" pitchFamily="34" charset="0"/>
              <a:buChar char="•"/>
            </a:pPr>
            <a:r>
              <a:rPr lang="de-DE" sz="2000" b="1" dirty="0" err="1" smtClean="0">
                <a:solidFill>
                  <a:srgbClr val="000000"/>
                </a:solidFill>
                <a:ea typeface="Arial Unicode MS" panose="020B0604020202020204" pitchFamily="34" charset="-128"/>
                <a:cs typeface="Arial Unicode MS" panose="020B0604020202020204" pitchFamily="34" charset="-128"/>
              </a:rPr>
              <a:t>Ecosystem</a:t>
            </a:r>
            <a:r>
              <a:rPr lang="de-DE" sz="2000" b="1" dirty="0" smtClean="0">
                <a:solidFill>
                  <a:srgbClr val="000000"/>
                </a:solidFill>
                <a:ea typeface="Arial Unicode MS" panose="020B0604020202020204" pitchFamily="34" charset="-128"/>
                <a:cs typeface="Arial Unicode MS" panose="020B0604020202020204" pitchFamily="34" charset="-128"/>
              </a:rPr>
              <a:t> Community</a:t>
            </a:r>
          </a:p>
          <a:p>
            <a:pPr marL="171450" indent="-171450">
              <a:lnSpc>
                <a:spcPct val="110000"/>
              </a:lnSpc>
              <a:buFont typeface="Arial" panose="020B0604020202020204" pitchFamily="34" charset="0"/>
              <a:buChar char="•"/>
            </a:pPr>
            <a:r>
              <a:rPr lang="de-DE" sz="2000" b="1" dirty="0" smtClean="0">
                <a:solidFill>
                  <a:srgbClr val="000000"/>
                </a:solidFill>
                <a:ea typeface="Arial Unicode MS" panose="020B0604020202020204" pitchFamily="34" charset="-128"/>
                <a:cs typeface="Arial Unicode MS" panose="020B0604020202020204" pitchFamily="34" charset="-128"/>
              </a:rPr>
              <a:t>SIOS</a:t>
            </a:r>
          </a:p>
          <a:p>
            <a:pPr marL="171450" indent="-171450">
              <a:lnSpc>
                <a:spcPct val="110000"/>
              </a:lnSpc>
              <a:buFont typeface="Arial" panose="020B0604020202020204" pitchFamily="34" charset="0"/>
              <a:buChar char="•"/>
            </a:pPr>
            <a:r>
              <a:rPr lang="de-DE" sz="2000" b="1" dirty="0" smtClean="0">
                <a:solidFill>
                  <a:srgbClr val="000000"/>
                </a:solidFill>
                <a:ea typeface="Arial Unicode MS" panose="020B0604020202020204" pitchFamily="34" charset="-128"/>
                <a:cs typeface="Arial Unicode MS" panose="020B0604020202020204" pitchFamily="34" charset="-128"/>
              </a:rPr>
              <a:t>Support </a:t>
            </a:r>
            <a:r>
              <a:rPr lang="de-DE" sz="2000" b="1" dirty="0" err="1" smtClean="0">
                <a:solidFill>
                  <a:srgbClr val="000000"/>
                </a:solidFill>
                <a:ea typeface="Arial Unicode MS" panose="020B0604020202020204" pitchFamily="34" charset="-128"/>
                <a:cs typeface="Arial Unicode MS" panose="020B0604020202020204" pitchFamily="34" charset="-128"/>
              </a:rPr>
              <a:t>Contacts</a:t>
            </a:r>
            <a:endParaRPr lang="de-DE" sz="2000" b="1" dirty="0">
              <a:solidFill>
                <a:srgbClr val="00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27966525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MindSphere Forums &amp; Network </a:t>
            </a:r>
            <a:endParaRPr lang="en-US" b="0" dirty="0"/>
          </a:p>
        </p:txBody>
      </p:sp>
      <p:sp>
        <p:nvSpPr>
          <p:cNvPr id="19" name="BainBulletsConfiguration" hidden="1"/>
          <p:cNvSpPr txBox="1"/>
          <p:nvPr/>
        </p:nvSpPr>
        <p:spPr bwMode="gray">
          <a:xfrm>
            <a:off x="12705" y="12723"/>
            <a:ext cx="65" cy="15389"/>
          </a:xfrm>
          <a:prstGeom prst="rect">
            <a:avLst/>
          </a:prstGeom>
          <a:noFill/>
        </p:spPr>
        <p:txBody>
          <a:bodyPr vert="horz" wrap="none" lIns="0" tIns="0" rIns="0" bIns="0" rtlCol="0">
            <a:spAutoFit/>
          </a:bodyPr>
          <a:lstStyle/>
          <a:p>
            <a:pPr>
              <a:spcBef>
                <a:spcPts val="0"/>
              </a:spcBef>
            </a:pPr>
            <a:endParaRPr lang="en-US" sz="100" dirty="0" err="1" smtClean="0">
              <a:solidFill>
                <a:srgbClr val="FFFFFF"/>
              </a:solidFill>
            </a:endParaRPr>
          </a:p>
        </p:txBody>
      </p:sp>
      <p:pic>
        <p:nvPicPr>
          <p:cNvPr id="12" name="Picture 2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78564" y="3167964"/>
            <a:ext cx="2088738" cy="2939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594" y="2122282"/>
            <a:ext cx="6641764" cy="3985058"/>
          </a:xfrm>
          <a:prstGeom prst="rect">
            <a:avLst/>
          </a:prstGeom>
          <a:noFill/>
          <a:ln w="9525">
            <a:solidFill>
              <a:srgbClr val="000000"/>
            </a:solidFill>
            <a:miter lim="800000"/>
            <a:headEnd/>
            <a:tailEnd/>
          </a:ln>
          <a:extLst>
            <a:ext uri="{909E8E84-426E-40DD-AFC4-6F175D3DCCD1}">
              <a14:hiddenFill xmlns:a14="http://schemas.microsoft.com/office/drawing/2010/main">
                <a:solidFill>
                  <a:schemeClr val="accent1"/>
                </a:solidFill>
              </a14:hiddenFill>
            </a:ext>
          </a:extLst>
        </p:spPr>
      </p:pic>
      <p:pic>
        <p:nvPicPr>
          <p:cNvPr id="14" name="Picture 13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37869" y="3637027"/>
            <a:ext cx="1175000" cy="2470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hteck 10"/>
          <p:cNvSpPr/>
          <p:nvPr/>
        </p:nvSpPr>
        <p:spPr bwMode="auto">
          <a:xfrm>
            <a:off x="276398" y="1119680"/>
            <a:ext cx="11027012" cy="1590933"/>
          </a:xfrm>
          <a:prstGeom prst="rect">
            <a:avLst/>
          </a:prstGeom>
          <a:noFill/>
          <a:ln>
            <a:noFill/>
          </a:ln>
          <a:effectLst/>
          <a:extLst/>
        </p:spPr>
        <p:txBody>
          <a:bodyPr wrap="square" lIns="360000" tIns="36000" rIns="54000" bIns="54000" numCol="1" spcCol="72000" rtlCol="0" anchor="t" anchorCtr="0">
            <a:noAutofit/>
          </a:bodyPr>
          <a:lstStyle/>
          <a:p>
            <a:pPr marL="1588" lvl="1">
              <a:lnSpc>
                <a:spcPct val="120000"/>
              </a:lnSpc>
              <a:spcBef>
                <a:spcPts val="900"/>
              </a:spcBef>
              <a:spcAft>
                <a:spcPts val="900"/>
              </a:spcAft>
              <a:buClr>
                <a:srgbClr val="00646E"/>
              </a:buClr>
              <a:buSzPts val="1400"/>
            </a:pPr>
            <a:r>
              <a:rPr lang="en-US" sz="2000" b="1" dirty="0" smtClean="0">
                <a:solidFill>
                  <a:srgbClr val="00646E"/>
                </a:solidFill>
              </a:rPr>
              <a:t>SIOS: Siemens Industry Online Support</a:t>
            </a:r>
            <a:endParaRPr lang="en-US" sz="2000" b="1" dirty="0">
              <a:solidFill>
                <a:srgbClr val="00646E"/>
              </a:solidFill>
            </a:endParaRPr>
          </a:p>
          <a:p>
            <a:r>
              <a:rPr lang="de-DE" dirty="0" err="1" smtClean="0"/>
              <a:t>Provide</a:t>
            </a:r>
            <a:r>
              <a:rPr lang="de-DE" dirty="0" smtClean="0"/>
              <a:t> </a:t>
            </a:r>
            <a:r>
              <a:rPr lang="de-DE" dirty="0" err="1" smtClean="0"/>
              <a:t>the</a:t>
            </a:r>
            <a:r>
              <a:rPr lang="de-DE" dirty="0" smtClean="0"/>
              <a:t> last </a:t>
            </a:r>
            <a:r>
              <a:rPr lang="de-DE" dirty="0" err="1" smtClean="0"/>
              <a:t>technical</a:t>
            </a:r>
            <a:r>
              <a:rPr lang="de-DE" dirty="0" smtClean="0"/>
              <a:t> </a:t>
            </a:r>
            <a:r>
              <a:rPr lang="de-DE" dirty="0" err="1" smtClean="0"/>
              <a:t>documents</a:t>
            </a:r>
            <a:r>
              <a:rPr lang="de-DE" dirty="0" smtClean="0"/>
              <a:t> </a:t>
            </a:r>
            <a:r>
              <a:rPr lang="de-DE" dirty="0" err="1" smtClean="0"/>
              <a:t>from</a:t>
            </a:r>
            <a:r>
              <a:rPr lang="de-DE" dirty="0" smtClean="0"/>
              <a:t> Fact Sheets </a:t>
            </a:r>
            <a:r>
              <a:rPr lang="de-DE" dirty="0" err="1" smtClean="0"/>
              <a:t>to</a:t>
            </a:r>
            <a:r>
              <a:rPr lang="de-DE" dirty="0" smtClean="0"/>
              <a:t> Quick Start Guides </a:t>
            </a:r>
            <a:r>
              <a:rPr lang="de-DE" dirty="0" err="1" smtClean="0"/>
              <a:t>and</a:t>
            </a:r>
            <a:r>
              <a:rPr lang="de-DE" dirty="0" smtClean="0"/>
              <a:t> Customer </a:t>
            </a:r>
            <a:r>
              <a:rPr lang="de-DE" dirty="0" err="1" smtClean="0"/>
              <a:t>Documents</a:t>
            </a:r>
            <a:endParaRPr lang="en-US" sz="1600" kern="0" dirty="0"/>
          </a:p>
        </p:txBody>
      </p:sp>
      <p:sp>
        <p:nvSpPr>
          <p:cNvPr id="9" name="Rechteck 8"/>
          <p:cNvSpPr/>
          <p:nvPr/>
        </p:nvSpPr>
        <p:spPr bwMode="auto">
          <a:xfrm>
            <a:off x="7621467" y="2082508"/>
            <a:ext cx="3616789" cy="448043"/>
          </a:xfrm>
          <a:prstGeom prst="rect">
            <a:avLst/>
          </a:prstGeom>
          <a:solidFill>
            <a:srgbClr val="FFE178"/>
          </a:solidFill>
          <a:ln>
            <a:noFill/>
          </a:ln>
          <a:effectLst/>
          <a:extLst/>
        </p:spPr>
        <p:txBody>
          <a:bodyPr wrap="square" lIns="108000" tIns="54000" rIns="108000" bIns="54000" numCol="1" spcCol="72000" rtlCol="0" anchor="ctr">
            <a:noAutofit/>
          </a:bodyPr>
          <a:lstStyle/>
          <a:p>
            <a:pPr>
              <a:lnSpc>
                <a:spcPct val="110000"/>
              </a:lnSpc>
              <a:spcBef>
                <a:spcPts val="0"/>
              </a:spcBef>
            </a:pPr>
            <a:r>
              <a:rPr lang="en-US" sz="1600" dirty="0">
                <a:hlinkClick r:id="rId6"/>
              </a:rPr>
              <a:t>https://support.industry.siemens.com</a:t>
            </a:r>
            <a:endParaRPr lang="en-US" sz="1600" dirty="0"/>
          </a:p>
        </p:txBody>
      </p:sp>
    </p:spTree>
    <p:extLst>
      <p:ext uri="{BB962C8B-B14F-4D97-AF65-F5344CB8AC3E}">
        <p14:creationId xmlns:p14="http://schemas.microsoft.com/office/powerpoint/2010/main" val="8597316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MindSphere</a:t>
            </a:r>
            <a:r>
              <a:rPr lang="de-DE" dirty="0"/>
              <a:t/>
            </a:r>
            <a:br>
              <a:rPr lang="de-DE" dirty="0"/>
            </a:br>
            <a:r>
              <a:rPr lang="en-US" b="0" dirty="0" smtClean="0"/>
              <a:t>Connect to Us</a:t>
            </a:r>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1363400427"/>
              </p:ext>
            </p:extLst>
          </p:nvPr>
        </p:nvGraphicFramePr>
        <p:xfrm>
          <a:off x="583719" y="1434493"/>
          <a:ext cx="10922481" cy="3444240"/>
        </p:xfrm>
        <a:graphic>
          <a:graphicData uri="http://schemas.openxmlformats.org/drawingml/2006/table">
            <a:tbl>
              <a:tblPr firstRow="1" bandRow="1">
                <a:tableStyleId>{8A107856-5554-42FB-B03E-39F5DBC370BA}</a:tableStyleId>
              </a:tblPr>
              <a:tblGrid>
                <a:gridCol w="3573414"/>
                <a:gridCol w="7349067"/>
              </a:tblGrid>
              <a:tr h="370840">
                <a:tc>
                  <a:txBody>
                    <a:bodyPr/>
                    <a:lstStyle/>
                    <a:p>
                      <a:r>
                        <a:rPr lang="de-DE" sz="1600" b="1" dirty="0" smtClean="0">
                          <a:solidFill>
                            <a:schemeClr val="bg1"/>
                          </a:solidFill>
                        </a:rPr>
                        <a:t>Website</a:t>
                      </a:r>
                      <a:endParaRPr lang="en-US" sz="16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smtClean="0">
                          <a:solidFill>
                            <a:srgbClr val="3C464B"/>
                          </a:solidFill>
                          <a:hlinkClick r:id="rId3"/>
                        </a:rPr>
                        <a:t>www.mindsphere.io</a:t>
                      </a:r>
                      <a:endParaRPr lang="en-US" sz="1400" b="0" u="sng" dirty="0" smtClean="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dirty="0" smtClean="0">
                        <a:solidFill>
                          <a:srgbClr val="3C464B"/>
                        </a:solidFill>
                      </a:endParaRPr>
                    </a:p>
                  </a:txBody>
                  <a:tcPr>
                    <a:solidFill>
                      <a:srgbClr val="FFFFFF"/>
                    </a:solidFill>
                  </a:tcPr>
                </a:tc>
              </a:tr>
              <a:tr h="370840">
                <a:tc>
                  <a:txBody>
                    <a:bodyPr/>
                    <a:lstStyle/>
                    <a:p>
                      <a:r>
                        <a:rPr lang="de-DE" sz="1600" b="1" dirty="0" smtClean="0">
                          <a:solidFill>
                            <a:schemeClr val="bg1"/>
                          </a:solidFill>
                        </a:rPr>
                        <a:t>MindSphere Community</a:t>
                      </a:r>
                      <a:endParaRPr lang="en-US" sz="16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smtClean="0">
                          <a:solidFill>
                            <a:srgbClr val="3C464B"/>
                          </a:solidFill>
                          <a:hlinkClick r:id="rId4"/>
                        </a:rPr>
                        <a:t>https://community.plm.automation.siemens.com/t5/MindSphere/ct-p/MindSphere</a:t>
                      </a:r>
                      <a:endParaRPr lang="en-US" sz="1400" b="0" u="sng" dirty="0" smtClean="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dirty="0" smtClean="0">
                        <a:solidFill>
                          <a:srgbClr val="3C464B"/>
                        </a:solidFill>
                      </a:endParaRPr>
                    </a:p>
                  </a:txBody>
                  <a:tcPr>
                    <a:solidFill>
                      <a:srgbClr val="FFFFFF"/>
                    </a:solidFill>
                  </a:tcPr>
                </a:tc>
              </a:tr>
              <a:tr h="370840">
                <a:tc>
                  <a:txBody>
                    <a:bodyPr/>
                    <a:lstStyle/>
                    <a:p>
                      <a:r>
                        <a:rPr lang="de-DE" sz="1600" b="1" dirty="0" smtClean="0">
                          <a:solidFill>
                            <a:schemeClr val="bg1"/>
                          </a:solidFill>
                        </a:rPr>
                        <a:t>MindSphere General</a:t>
                      </a:r>
                      <a:endParaRPr lang="en-US" sz="16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smtClean="0">
                          <a:solidFill>
                            <a:srgbClr val="3C464B"/>
                          </a:solidFill>
                          <a:hlinkClick r:id="rId5"/>
                        </a:rPr>
                        <a:t>contact@mindsphere.io</a:t>
                      </a:r>
                      <a:endParaRPr lang="en-US" sz="1400" b="0" u="sng" dirty="0" smtClean="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u="sng" dirty="0" smtClean="0">
                        <a:solidFill>
                          <a:srgbClr val="3C464B"/>
                        </a:solidFill>
                      </a:endParaRPr>
                    </a:p>
                  </a:txBody>
                  <a:tcPr>
                    <a:solidFill>
                      <a:srgbClr val="FFFFFF"/>
                    </a:solidFill>
                  </a:tcPr>
                </a:tc>
              </a:tr>
              <a:tr h="370840">
                <a:tc>
                  <a:txBody>
                    <a:bodyPr/>
                    <a:lstStyle/>
                    <a:p>
                      <a:r>
                        <a:rPr lang="de-DE" sz="1600" b="1" dirty="0" smtClean="0">
                          <a:solidFill>
                            <a:schemeClr val="bg1"/>
                          </a:solidFill>
                        </a:rPr>
                        <a:t>MindSphere Support</a:t>
                      </a:r>
                      <a:r>
                        <a:rPr lang="de-DE" sz="1600" b="1" baseline="0" dirty="0" smtClean="0">
                          <a:solidFill>
                            <a:schemeClr val="bg1"/>
                          </a:solidFill>
                        </a:rPr>
                        <a:t> Team</a:t>
                      </a:r>
                      <a:endParaRPr lang="en-US" sz="1600" b="1" dirty="0">
                        <a:solidFill>
                          <a:schemeClr val="bg1"/>
                        </a:solidFill>
                      </a:endParaRPr>
                    </a:p>
                  </a:txBody>
                  <a:tcPr>
                    <a:solidFill>
                      <a:srgbClr val="32A0A0"/>
                    </a:solidFill>
                  </a:tcPr>
                </a:tc>
                <a:tc>
                  <a:txBody>
                    <a:bodyPr/>
                    <a:lstStyle/>
                    <a:p>
                      <a:pPr lvl="1"/>
                      <a:r>
                        <a:rPr lang="en-US" sz="1400" b="0" dirty="0" smtClean="0">
                          <a:solidFill>
                            <a:srgbClr val="3C464B"/>
                          </a:solidFill>
                        </a:rPr>
                        <a:t>Call Center: +49 (0)911 895 7 272  (Germany)</a:t>
                      </a:r>
                    </a:p>
                    <a:p>
                      <a:pPr lvl="1"/>
                      <a:endParaRPr lang="en-US" sz="1400" b="0" dirty="0" smtClean="0">
                        <a:solidFill>
                          <a:srgbClr val="3C464B"/>
                        </a:solidFill>
                      </a:endParaRPr>
                    </a:p>
                    <a:p>
                      <a:pPr lvl="1"/>
                      <a:r>
                        <a:rPr lang="en-US" sz="1400" b="0" dirty="0" smtClean="0">
                          <a:solidFill>
                            <a:srgbClr val="3C464B"/>
                          </a:solidFill>
                        </a:rPr>
                        <a:t>Online Support: </a:t>
                      </a:r>
                      <a:r>
                        <a:rPr lang="en-US" sz="1400" b="0" u="sng" dirty="0" smtClean="0">
                          <a:solidFill>
                            <a:srgbClr val="3C464B"/>
                          </a:solidFill>
                          <a:hlinkClick r:id="rId6"/>
                        </a:rPr>
                        <a:t>http://www.siemens.com/automation/service&amp;support</a:t>
                      </a:r>
                      <a:endParaRPr lang="en-US" sz="1400" b="0" u="sng" dirty="0" smtClean="0">
                        <a:solidFill>
                          <a:srgbClr val="3C464B"/>
                        </a:solidFill>
                      </a:endParaRPr>
                    </a:p>
                    <a:p>
                      <a:pPr lvl="1"/>
                      <a:endParaRPr lang="en-US" sz="1400" b="0" dirty="0" smtClean="0">
                        <a:solidFill>
                          <a:srgbClr val="3C464B"/>
                        </a:solidFill>
                      </a:endParaRPr>
                    </a:p>
                    <a:p>
                      <a:pPr lvl="1"/>
                      <a:r>
                        <a:rPr lang="en-US" sz="1400" b="0" dirty="0" smtClean="0">
                          <a:solidFill>
                            <a:srgbClr val="3C464B"/>
                          </a:solidFill>
                        </a:rPr>
                        <a:t>Support Request: </a:t>
                      </a:r>
                      <a:r>
                        <a:rPr lang="en-US" sz="1400" b="0" u="sng" dirty="0" smtClean="0">
                          <a:solidFill>
                            <a:srgbClr val="3C464B"/>
                          </a:solidFill>
                          <a:hlinkClick r:id="rId7"/>
                        </a:rPr>
                        <a:t>http://www.siemens.com/automation/support-request</a:t>
                      </a:r>
                      <a:endParaRPr lang="en-US" sz="1400" b="0" u="sng" dirty="0" smtClean="0">
                        <a:solidFill>
                          <a:srgbClr val="3C464B"/>
                        </a:solidFill>
                      </a:endParaRPr>
                    </a:p>
                    <a:p>
                      <a:pPr lvl="1"/>
                      <a:endParaRPr lang="en-US" sz="1400" b="0" dirty="0" smtClean="0">
                        <a:solidFill>
                          <a:srgbClr val="3C464B"/>
                        </a:solidFill>
                      </a:endParaRPr>
                    </a:p>
                  </a:txBody>
                  <a:tcPr>
                    <a:solidFill>
                      <a:srgbClr val="FFFFFF"/>
                    </a:solidFill>
                  </a:tcPr>
                </a:tc>
              </a:tr>
              <a:tr h="370840">
                <a:tc>
                  <a:txBody>
                    <a:bodyPr/>
                    <a:lstStyle/>
                    <a:p>
                      <a:r>
                        <a:rPr lang="de-DE" sz="1600" b="1" dirty="0" smtClean="0">
                          <a:solidFill>
                            <a:schemeClr val="bg1"/>
                          </a:solidFill>
                        </a:rPr>
                        <a:t>MindSphere Academy</a:t>
                      </a:r>
                      <a:endParaRPr lang="en-US" sz="1600" b="1" dirty="0">
                        <a:solidFill>
                          <a:schemeClr val="bg1"/>
                        </a:solidFill>
                      </a:endParaRPr>
                    </a:p>
                  </a:txBody>
                  <a:tcPr>
                    <a:solidFill>
                      <a:srgbClr val="32A0A0"/>
                    </a:solidFill>
                  </a:tcPr>
                </a:tc>
                <a:tc>
                  <a:txBody>
                    <a:bodyPr/>
                    <a:lstStyle/>
                    <a:p>
                      <a:pPr lvl="1"/>
                      <a:r>
                        <a:rPr lang="de-DE" sz="1400" b="0" dirty="0" smtClean="0">
                          <a:solidFill>
                            <a:srgbClr val="3C464B"/>
                          </a:solidFill>
                          <a:hlinkClick r:id="rId8"/>
                        </a:rPr>
                        <a:t>training@mindsphere.io</a:t>
                      </a:r>
                      <a:endParaRPr lang="en-US" sz="1400" b="0" dirty="0" smtClean="0">
                        <a:solidFill>
                          <a:srgbClr val="3C464B"/>
                        </a:solidFill>
                      </a:endParaRPr>
                    </a:p>
                    <a:p>
                      <a:pPr lvl="1"/>
                      <a:endParaRPr lang="de-DE" sz="1400" b="0" dirty="0" smtClean="0">
                        <a:solidFill>
                          <a:srgbClr val="3C464B"/>
                        </a:solidFill>
                      </a:endParaRPr>
                    </a:p>
                  </a:txBody>
                  <a:tcPr>
                    <a:solidFill>
                      <a:srgbClr val="FFFFFF"/>
                    </a:solidFill>
                  </a:tcPr>
                </a:tc>
              </a:tr>
            </a:tbl>
          </a:graphicData>
        </a:graphic>
      </p:graphicFrame>
    </p:spTree>
    <p:extLst>
      <p:ext uri="{BB962C8B-B14F-4D97-AF65-F5344CB8AC3E}">
        <p14:creationId xmlns:p14="http://schemas.microsoft.com/office/powerpoint/2010/main" val="4055715073"/>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ums </a:t>
            </a:r>
            <a:r>
              <a:rPr lang="en-US" dirty="0"/>
              <a:t>&amp; </a:t>
            </a:r>
            <a:r>
              <a:rPr lang="en-US" dirty="0" smtClean="0"/>
              <a:t>Network</a:t>
            </a:r>
            <a:r>
              <a:rPr lang="de-DE" dirty="0" smtClean="0"/>
              <a:t/>
            </a:r>
            <a:br>
              <a:rPr lang="de-DE" dirty="0" smtClean="0"/>
            </a:br>
            <a:r>
              <a:rPr lang="en-US" b="0" dirty="0" smtClean="0"/>
              <a:t>Summary</a:t>
            </a:r>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112838"/>
            <a:ext cx="5839529" cy="5046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hteck 6"/>
          <p:cNvSpPr/>
          <p:nvPr/>
        </p:nvSpPr>
        <p:spPr bwMode="auto">
          <a:xfrm>
            <a:off x="5086350" y="1447801"/>
            <a:ext cx="6457950" cy="4634022"/>
          </a:xfrm>
          <a:prstGeom prst="rect">
            <a:avLst/>
          </a:prstGeom>
          <a:solidFill>
            <a:srgbClr val="641946"/>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de-DE" sz="2000" dirty="0" err="1">
                <a:solidFill>
                  <a:srgbClr val="FFFFFF"/>
                </a:solidFill>
                <a:ea typeface="Arial Unicode MS" panose="020B0604020202020204" pitchFamily="34" charset="-128"/>
                <a:cs typeface="Arial Unicode MS" panose="020B0604020202020204" pitchFamily="34" charset="-128"/>
              </a:rPr>
              <a:t>Where</a:t>
            </a:r>
            <a:r>
              <a:rPr lang="de-DE" sz="2000" dirty="0">
                <a:solidFill>
                  <a:srgbClr val="FFFFFF"/>
                </a:solidFill>
                <a:ea typeface="Arial Unicode MS" panose="020B0604020202020204" pitchFamily="34" charset="-128"/>
                <a:cs typeface="Arial Unicode MS" panose="020B0604020202020204" pitchFamily="34" charset="-128"/>
              </a:rPr>
              <a:t> do I find relevant </a:t>
            </a:r>
            <a:r>
              <a:rPr lang="de-DE" sz="2000" dirty="0" err="1">
                <a:solidFill>
                  <a:srgbClr val="FFFFFF"/>
                </a:solidFill>
                <a:ea typeface="Arial Unicode MS" panose="020B0604020202020204" pitchFamily="34" charset="-128"/>
                <a:cs typeface="Arial Unicode MS" panose="020B0604020202020204" pitchFamily="34" charset="-128"/>
              </a:rPr>
              <a:t>information</a:t>
            </a:r>
            <a:r>
              <a:rPr lang="de-DE" sz="2000" dirty="0">
                <a:solidFill>
                  <a:srgbClr val="FFFFFF"/>
                </a:solidFill>
                <a:ea typeface="Arial Unicode MS" panose="020B0604020202020204" pitchFamily="34" charset="-128"/>
                <a:cs typeface="Arial Unicode MS" panose="020B0604020202020204" pitchFamily="34" charset="-128"/>
              </a:rPr>
              <a:t> </a:t>
            </a:r>
            <a:r>
              <a:rPr lang="de-DE" sz="2000" dirty="0" err="1">
                <a:solidFill>
                  <a:srgbClr val="FFFFFF"/>
                </a:solidFill>
                <a:ea typeface="Arial Unicode MS" panose="020B0604020202020204" pitchFamily="34" charset="-128"/>
                <a:cs typeface="Arial Unicode MS" panose="020B0604020202020204" pitchFamily="34" charset="-128"/>
              </a:rPr>
              <a:t>about</a:t>
            </a:r>
            <a:r>
              <a:rPr lang="de-DE" sz="2000" dirty="0">
                <a:solidFill>
                  <a:srgbClr val="FFFFFF"/>
                </a:solidFill>
                <a:ea typeface="Arial Unicode MS" panose="020B0604020202020204" pitchFamily="34" charset="-128"/>
                <a:cs typeface="Arial Unicode MS" panose="020B0604020202020204" pitchFamily="34" charset="-128"/>
              </a:rPr>
              <a:t> MindSphere </a:t>
            </a:r>
            <a:r>
              <a:rPr lang="de-DE" sz="2000" dirty="0" err="1">
                <a:solidFill>
                  <a:srgbClr val="FFFFFF"/>
                </a:solidFill>
                <a:ea typeface="Arial Unicode MS" panose="020B0604020202020204" pitchFamily="34" charset="-128"/>
                <a:cs typeface="Arial Unicode MS" panose="020B0604020202020204" pitchFamily="34" charset="-128"/>
              </a:rPr>
              <a:t>and</a:t>
            </a:r>
            <a:r>
              <a:rPr lang="de-DE" sz="2000" dirty="0">
                <a:solidFill>
                  <a:srgbClr val="FFFFFF"/>
                </a:solidFill>
                <a:ea typeface="Arial Unicode MS" panose="020B0604020202020204" pitchFamily="34" charset="-128"/>
                <a:cs typeface="Arial Unicode MS" panose="020B0604020202020204" pitchFamily="34" charset="-128"/>
              </a:rPr>
              <a:t> MindSphere </a:t>
            </a:r>
            <a:r>
              <a:rPr lang="de-DE" sz="2000" dirty="0" err="1">
                <a:solidFill>
                  <a:srgbClr val="FFFFFF"/>
                </a:solidFill>
                <a:ea typeface="Arial Unicode MS" panose="020B0604020202020204" pitchFamily="34" charset="-128"/>
                <a:cs typeface="Arial Unicode MS" panose="020B0604020202020204" pitchFamily="34" charset="-128"/>
              </a:rPr>
              <a:t>products</a:t>
            </a:r>
            <a:r>
              <a:rPr lang="de-DE" sz="2000" dirty="0" smtClean="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pPr>
            <a:endParaRPr lang="en-US" sz="2000"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en-US" sz="2000" b="1" dirty="0" smtClean="0">
                <a:solidFill>
                  <a:schemeClr val="bg1"/>
                </a:solidFill>
                <a:ea typeface="Arial Unicode MS" panose="020B0604020202020204" pitchFamily="34" charset="-128"/>
                <a:cs typeface="Arial Unicode MS" panose="020B0604020202020204" pitchFamily="34" charset="-128"/>
              </a:rPr>
              <a:t>A: </a:t>
            </a:r>
            <a:r>
              <a:rPr lang="de-DE" sz="2000" b="1" dirty="0" smtClean="0">
                <a:solidFill>
                  <a:schemeClr val="bg1"/>
                </a:solidFill>
                <a:ea typeface="Arial Unicode MS" panose="020B0604020202020204" pitchFamily="34" charset="-128"/>
                <a:cs typeface="Arial Unicode MS" panose="020B0604020202020204" pitchFamily="34" charset="-128"/>
              </a:rPr>
              <a:t>MindSphere </a:t>
            </a:r>
            <a:r>
              <a:rPr lang="de-DE" sz="2000" b="1" dirty="0" err="1" smtClean="0">
                <a:solidFill>
                  <a:schemeClr val="bg1"/>
                </a:solidFill>
                <a:ea typeface="Arial Unicode MS" panose="020B0604020202020204" pitchFamily="34" charset="-128"/>
                <a:cs typeface="Arial Unicode MS" panose="020B0604020202020204" pitchFamily="34" charset="-128"/>
              </a:rPr>
              <a:t>offers</a:t>
            </a:r>
            <a:r>
              <a:rPr lang="de-DE" sz="2000" b="1" dirty="0" smtClean="0">
                <a:solidFill>
                  <a:schemeClr val="bg1"/>
                </a:solidFill>
                <a:ea typeface="Arial Unicode MS" panose="020B0604020202020204" pitchFamily="34" charset="-128"/>
                <a:cs typeface="Arial Unicode MS" panose="020B0604020202020204" pitchFamily="34" charset="-128"/>
              </a:rPr>
              <a:t> a </a:t>
            </a:r>
            <a:r>
              <a:rPr lang="de-DE" sz="2000" b="1" dirty="0" err="1" smtClean="0">
                <a:solidFill>
                  <a:schemeClr val="bg1"/>
                </a:solidFill>
                <a:ea typeface="Arial Unicode MS" panose="020B0604020202020204" pitchFamily="34" charset="-128"/>
                <a:cs typeface="Arial Unicode MS" panose="020B0604020202020204" pitchFamily="34" charset="-128"/>
              </a:rPr>
              <a:t>wide</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range</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of</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opportunities</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to</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network</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within</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the</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ecosystem</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and</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collect</a:t>
            </a:r>
            <a:r>
              <a:rPr lang="de-DE" sz="2000" b="1" dirty="0" smtClean="0">
                <a:solidFill>
                  <a:schemeClr val="bg1"/>
                </a:solidFill>
                <a:ea typeface="Arial Unicode MS" panose="020B0604020202020204" pitchFamily="34" charset="-128"/>
                <a:cs typeface="Arial Unicode MS" panose="020B0604020202020204" pitchFamily="34" charset="-128"/>
              </a:rPr>
              <a:t> </a:t>
            </a:r>
            <a:r>
              <a:rPr lang="de-DE" sz="2000" b="1" dirty="0" err="1" smtClean="0">
                <a:solidFill>
                  <a:schemeClr val="bg1"/>
                </a:solidFill>
                <a:ea typeface="Arial Unicode MS" panose="020B0604020202020204" pitchFamily="34" charset="-128"/>
                <a:cs typeface="Arial Unicode MS" panose="020B0604020202020204" pitchFamily="34" charset="-128"/>
              </a:rPr>
              <a:t>informations</a:t>
            </a:r>
            <a:r>
              <a:rPr lang="de-DE" sz="2000" b="1" dirty="0">
                <a:solidFill>
                  <a:schemeClr val="bg1"/>
                </a:solidFill>
                <a:ea typeface="Arial Unicode MS" panose="020B0604020202020204" pitchFamily="34" charset="-128"/>
                <a:cs typeface="Arial Unicode MS" panose="020B0604020202020204" pitchFamily="34" charset="-128"/>
              </a:rPr>
              <a:t>.</a:t>
            </a:r>
            <a:endParaRPr lang="de-DE" sz="2000" b="1" dirty="0" smtClean="0">
              <a:solidFill>
                <a:schemeClr val="bg1"/>
              </a:solidFill>
              <a:ea typeface="Arial Unicode MS" panose="020B0604020202020204" pitchFamily="34" charset="-128"/>
              <a:cs typeface="Arial Unicode MS" panose="020B0604020202020204" pitchFamily="34" charset="-128"/>
            </a:endParaRPr>
          </a:p>
          <a:p>
            <a:pPr algn="ctr">
              <a:lnSpc>
                <a:spcPct val="110000"/>
              </a:lnSpc>
            </a:pPr>
            <a:endParaRPr lang="de-DE" sz="2000"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279882506"/>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911745"/>
            <a:ext cx="9297988" cy="924076"/>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smtClean="0"/>
              <a:t>Thank you.</a:t>
            </a:r>
            <a:endParaRPr lang="en-US" sz="3198" kern="0" dirty="0">
              <a:solidFill>
                <a:schemeClr val="tx1"/>
              </a:solidFill>
            </a:endParaRPr>
          </a:p>
        </p:txBody>
      </p:sp>
    </p:spTree>
    <p:extLst>
      <p:ext uri="{BB962C8B-B14F-4D97-AF65-F5344CB8AC3E}">
        <p14:creationId xmlns:p14="http://schemas.microsoft.com/office/powerpoint/2010/main" val="45039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41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3373"/>
                        <a:ext cx="1586" cy="158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MindSphere Connectivity</a:t>
            </a:r>
            <a:endParaRPr lang="en-US" dirty="0"/>
          </a:p>
        </p:txBody>
      </p:sp>
      <p:sp>
        <p:nvSpPr>
          <p:cNvPr id="3" name="AutoShape 49" descr="Asset Manager V3.PNG"/>
          <p:cNvSpPr>
            <a:spLocks noChangeAspect="1" noChangeArrowheads="1"/>
          </p:cNvSpPr>
          <p:nvPr/>
        </p:nvSpPr>
        <p:spPr bwMode="auto">
          <a:xfrm>
            <a:off x="155494" y="-142602"/>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
        <p:nvSpPr>
          <p:cNvPr id="5" name="AutoShape 51" descr="Asset Manager V3.PNG"/>
          <p:cNvSpPr>
            <a:spLocks noChangeAspect="1" noChangeArrowheads="1"/>
          </p:cNvSpPr>
          <p:nvPr/>
        </p:nvSpPr>
        <p:spPr bwMode="auto">
          <a:xfrm>
            <a:off x="307815" y="9719"/>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sp>
        <p:nvSpPr>
          <p:cNvPr id="6" name="AutoShape 53" descr="Asset Manager V3.PNG"/>
          <p:cNvSpPr>
            <a:spLocks noChangeAspect="1" noChangeArrowheads="1"/>
          </p:cNvSpPr>
          <p:nvPr/>
        </p:nvSpPr>
        <p:spPr bwMode="auto">
          <a:xfrm>
            <a:off x="460136" y="162039"/>
            <a:ext cx="304641" cy="3046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endParaRPr lang="en-US" sz="1799" dirty="0"/>
          </a:p>
        </p:txBody>
      </p:sp>
      <p:pic>
        <p:nvPicPr>
          <p:cNvPr id="24576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2455" y="904088"/>
            <a:ext cx="9188769" cy="54575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Abgerundetes Rechteck 7"/>
          <p:cNvSpPr/>
          <p:nvPr/>
        </p:nvSpPr>
        <p:spPr bwMode="auto">
          <a:xfrm rot="1885361">
            <a:off x="543886" y="4068944"/>
            <a:ext cx="3626960" cy="1925891"/>
          </a:xfrm>
          <a:prstGeom prst="roundRect">
            <a:avLst/>
          </a:prstGeom>
          <a:noFill/>
          <a:ln w="38100">
            <a:solidFill>
              <a:srgbClr val="FF0000"/>
            </a:solidFill>
          </a:ln>
          <a:effectLst/>
          <a:extLst/>
        </p:spPr>
        <p:txBody>
          <a:bodyPr rtlCol="0" anchor="ctr"/>
          <a:lstStyle/>
          <a:p>
            <a:pPr algn="ctr"/>
            <a:endParaRPr lang="en-US" sz="1200" b="1" dirty="0" err="1">
              <a:solidFill>
                <a:schemeClr val="tx1"/>
              </a:solidFill>
            </a:endParaRPr>
          </a:p>
        </p:txBody>
      </p:sp>
    </p:spTree>
    <p:extLst>
      <p:ext uri="{BB962C8B-B14F-4D97-AF65-F5344CB8AC3E}">
        <p14:creationId xmlns:p14="http://schemas.microsoft.com/office/powerpoint/2010/main" val="34838680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0.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our objects"/>
  <p:tag name="CDT_ORIGINAL_LAYOUT_TYPE" val="24"/>
  <p:tag name="CDT_OLDSLIDEHIDDEN" val="False"/>
  <p:tag name="CDT_OLDSLIDEINDEX" val="12"/>
  <p:tag name="CDT_DESIGNS_NAME" val="Siemens 2013 – 16:9"/>
  <p:tag name="CDT_MASTERS_NAME" val="Free Content"/>
  <p:tag name="CDT_LAYOUT_TYPE" val="11"/>
  <p:tag name="CDT_INTERSECT_SLIDE" val="False"/>
  <p:tag name="CDT_NAVBARONTHISSLIDE" val="True"/>
  <p:tag name="MIO_GUID" val="32b97b72-0b6a-4dbe-a9f3-931d6dcbd5eb"/>
  <p:tag name="MIO_EK_DESIGN" val="579031"/>
  <p:tag name="MIO_VERSION_DESIGN" val="16.01.2017 14:59:26"/>
  <p:tag name="MIO_DBID_DESIGN" val="598A5C07-C27D-430B-A8FC-FA667BE665A4"/>
  <p:tag name="MIO_SLIDE_HAS_HYPERLINK" val="False"/>
  <p:tag name="MIO_EK" val="209980"/>
  <p:tag name="MIO_EKGUID" val="1ac4d497-18ae-4092-be21-a3b3732ddb39"/>
  <p:tag name="MIO_UPDATE" val="True"/>
  <p:tag name="MIO_VERSION" val="19.01.2017 16:09:35"/>
  <p:tag name="MIO_DBID" val="598A5C07-C27D-430B-A8FC-FA667BE665A4"/>
  <p:tag name="MIO_LASTDOWNLOADED" val="16.03.2017 13:45:46"/>
  <p:tag name="MIO_OBJECTNAME" val="Image with properties"/>
  <p:tag name="MIO_LASTEDITORNAME" val="kd5684 "/>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our objects"/>
  <p:tag name="CDT_ORIGINAL_LAYOUT_TYPE" val="24"/>
  <p:tag name="CDT_OLDSLIDEHIDDEN" val="False"/>
  <p:tag name="CDT_OLDSLIDEINDEX" val="12"/>
  <p:tag name="CDT_DESIGNS_NAME" val="Siemens 2013 – 16:9"/>
  <p:tag name="CDT_MASTERS_NAME" val="Free Content"/>
  <p:tag name="CDT_LAYOUT_TYPE" val="11"/>
  <p:tag name="CDT_INTERSECT_SLIDE" val="False"/>
  <p:tag name="CDT_NAVBARONTHISSLIDE" val="True"/>
  <p:tag name="MIO_GUID" val="32b97b72-0b6a-4dbe-a9f3-931d6dcbd5eb"/>
  <p:tag name="MIO_EK_DESIGN" val="579031"/>
  <p:tag name="MIO_VERSION_DESIGN" val="16.01.2017 14:59:26"/>
  <p:tag name="MIO_DBID_DESIGN" val="598A5C07-C27D-430B-A8FC-FA667BE665A4"/>
  <p:tag name="MIO_SLIDE_HAS_HYPERLINK" val="False"/>
  <p:tag name="MIO_EK" val="209980"/>
  <p:tag name="MIO_EKGUID" val="1ac4d497-18ae-4092-be21-a3b3732ddb39"/>
  <p:tag name="MIO_UPDATE" val="True"/>
  <p:tag name="MIO_VERSION" val="19.01.2017 16:09:35"/>
  <p:tag name="MIO_DBID" val="598A5C07-C27D-430B-A8FC-FA667BE665A4"/>
  <p:tag name="MIO_LASTDOWNLOADED" val="16.03.2017 13:45:46"/>
  <p:tag name="MIO_OBJECTNAME" val="Image with properties"/>
  <p:tag name="MIO_LASTEDITORNAME" val="kd5684 "/>
</p:tagLst>
</file>

<file path=ppt/tags/tag104.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our objects"/>
  <p:tag name="CDT_ORIGINAL_LAYOUT_TYPE" val="24"/>
  <p:tag name="CDT_OLDSLIDEHIDDEN" val="False"/>
  <p:tag name="CDT_OLDSLIDEINDEX" val="12"/>
  <p:tag name="CDT_DESIGNS_NAME" val="Siemens 2013 – 16:9"/>
  <p:tag name="CDT_MASTERS_NAME" val="Free Content"/>
  <p:tag name="CDT_LAYOUT_TYPE" val="11"/>
  <p:tag name="CDT_INTERSECT_SLIDE" val="False"/>
  <p:tag name="CDT_NAVBARONTHISSLIDE" val="True"/>
  <p:tag name="MIO_GUID" val="32b97b72-0b6a-4dbe-a9f3-931d6dcbd5eb"/>
  <p:tag name="MIO_EK_DESIGN" val="579031"/>
  <p:tag name="MIO_VERSION_DESIGN" val="16.01.2017 14:59:26"/>
  <p:tag name="MIO_DBID_DESIGN" val="598A5C07-C27D-430B-A8FC-FA667BE665A4"/>
  <p:tag name="MIO_SLIDE_HAS_HYPERLINK" val="False"/>
  <p:tag name="MIO_EK" val="209980"/>
  <p:tag name="MIO_EKGUID" val="1ac4d497-18ae-4092-be21-a3b3732ddb39"/>
  <p:tag name="MIO_UPDATE" val="True"/>
  <p:tag name="MIO_VERSION" val="19.01.2017 16:09:35"/>
  <p:tag name="MIO_DBID" val="598A5C07-C27D-430B-A8FC-FA667BE665A4"/>
  <p:tag name="MIO_LASTDOWNLOADED" val="16.03.2017 13:45:46"/>
  <p:tag name="MIO_OBJECTNAME" val="Image with properties"/>
  <p:tag name="MIO_LASTEDITORNAME" val="kd5684 "/>
</p:tagLst>
</file>

<file path=ppt/tags/tag105.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06.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07.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08.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0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0.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11.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12.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13.xml><?xml version="1.0" encoding="utf-8"?>
<p:tagLst xmlns:a="http://schemas.openxmlformats.org/drawingml/2006/main" xmlns:r="http://schemas.openxmlformats.org/officeDocument/2006/relationships" xmlns:p="http://schemas.openxmlformats.org/presentationml/2006/main">
  <p:tag name="MIO_EK" val="646768"/>
  <p:tag name="MIO_EKGUID" val="c979f08c-dd93-4a21-aca9-5c2d9f7422f7"/>
  <p:tag name="MIO_GUID" val="d572f39a-0b4b-4b64-904c-b5f4775f01b8"/>
  <p:tag name="MIO_UPDATE" val="True"/>
  <p:tag name="MIO_VERSION" val="13.02.2017 17:34:08"/>
  <p:tag name="MIO_DBID" val="598A5C07-C27D-430B-A8FC-FA667BE665A4"/>
  <p:tag name="MIO_LASTDOWNLOADED" val="04.05.2017 12:59:13"/>
  <p:tag name="MIO_OBJECTNAME" val="G_SY02_XX_01648P.png"/>
  <p:tag name="MIO_LASTEDITORNAME" val="Robin Walter"/>
</p:tagLst>
</file>

<file path=ppt/tags/tag114.xml><?xml version="1.0" encoding="utf-8"?>
<p:tagLst xmlns:a="http://schemas.openxmlformats.org/drawingml/2006/main" xmlns:r="http://schemas.openxmlformats.org/officeDocument/2006/relationships" xmlns:p="http://schemas.openxmlformats.org/presentationml/2006/main">
  <p:tag name="MIO_EK" val="645986"/>
  <p:tag name="MIO_EKGUID" val="fd03c5f3-e78a-40a6-96a1-ab2907c8723c"/>
  <p:tag name="MIO_GUID" val="f949bbac-2473-4aa0-991c-d4692969f208"/>
  <p:tag name="MIO_UPDATE" val="True"/>
  <p:tag name="MIO_VERSION" val="19.01.2017 07:11:02"/>
  <p:tag name="MIO_DBID" val="598A5C07-C27D-430B-A8FC-FA667BE665A4"/>
  <p:tag name="MIO_LASTDOWNLOADED" val="04.05.2017 13:12:19"/>
  <p:tag name="MIO_OBJECTNAME" val="software_tia-portal_technology-function.png"/>
  <p:tag name="MIO_LASTEDITORNAME" val="Dietmar Kluge"/>
</p:tagLst>
</file>

<file path=ppt/tags/tag115.xml><?xml version="1.0" encoding="utf-8"?>
<p:tagLst xmlns:a="http://schemas.openxmlformats.org/drawingml/2006/main" xmlns:r="http://schemas.openxmlformats.org/officeDocument/2006/relationships" xmlns:p="http://schemas.openxmlformats.org/presentationml/2006/main">
  <p:tag name="MIO_EK" val="645985"/>
  <p:tag name="MIO_EKGUID" val="7b44882a-0d70-4276-91c9-98f7edac39e5"/>
  <p:tag name="MIO_GUID" val="a4edfbf7-bd05-443a-af27-80ae05663d2c"/>
  <p:tag name="MIO_UPDATE" val="True"/>
  <p:tag name="MIO_VERSION" val="19.01.2017 07:11:00"/>
  <p:tag name="MIO_DBID" val="598A5C07-C27D-430B-A8FC-FA667BE665A4"/>
  <p:tag name="MIO_LASTDOWNLOADED" val="04.05.2017 13:14:52"/>
  <p:tag name="MIO_OBJECTNAME" val="software_tia-portal_step7.png"/>
  <p:tag name="MIO_LASTEDITORNAME" val="Dietmar Kluge"/>
</p:tagLst>
</file>

<file path=ppt/tags/tag116.xml><?xml version="1.0" encoding="utf-8"?>
<p:tagLst xmlns:a="http://schemas.openxmlformats.org/drawingml/2006/main" xmlns:r="http://schemas.openxmlformats.org/officeDocument/2006/relationships" xmlns:p="http://schemas.openxmlformats.org/presentationml/2006/main">
  <p:tag name="MIO_EK" val="647288"/>
  <p:tag name="MIO_EKGUID" val="01075ff5-917a-4f3d-8331-816398b05823"/>
  <p:tag name="MIO_GUID" val="6e979b9f-a830-4c2a-b629-3196d5597b3c"/>
  <p:tag name="MIO_UPDATE" val="True"/>
  <p:tag name="MIO_VERSION" val="13.02.2017 18:40:45"/>
  <p:tag name="MIO_DBID" val="598A5C07-C27D-430B-A8FC-FA667BE665A4"/>
  <p:tag name="MIO_LASTDOWNLOADED" val="04.05.2017 13:26:40"/>
  <p:tag name="MIO_OBJECTNAME" val="G_SY02_XX_02035P.png"/>
  <p:tag name="MIO_LASTEDITORNAME" val="Robin Walter"/>
</p:tagLst>
</file>

<file path=ppt/tags/tag117.xml><?xml version="1.0" encoding="utf-8"?>
<p:tagLst xmlns:a="http://schemas.openxmlformats.org/drawingml/2006/main" xmlns:r="http://schemas.openxmlformats.org/officeDocument/2006/relationships" xmlns:p="http://schemas.openxmlformats.org/presentationml/2006/main">
  <p:tag name="MIO_EK" val="646768"/>
  <p:tag name="MIO_EKGUID" val="c979f08c-dd93-4a21-aca9-5c2d9f7422f7"/>
  <p:tag name="MIO_GUID" val="d572f39a-0b4b-4b64-904c-b5f4775f01b8"/>
  <p:tag name="MIO_UPDATE" val="True"/>
  <p:tag name="MIO_VERSION" val="13.02.2017 17:34:08"/>
  <p:tag name="MIO_DBID" val="598A5C07-C27D-430B-A8FC-FA667BE665A4"/>
  <p:tag name="MIO_LASTDOWNLOADED" val="04.05.2017 12:59:13"/>
  <p:tag name="MIO_OBJECTNAME" val="G_SY02_XX_01648P.png"/>
  <p:tag name="MIO_LASTEDITORNAME" val="Robin Walter"/>
</p:tagLst>
</file>

<file path=ppt/tags/tag118.xml><?xml version="1.0" encoding="utf-8"?>
<p:tagLst xmlns:a="http://schemas.openxmlformats.org/drawingml/2006/main" xmlns:r="http://schemas.openxmlformats.org/officeDocument/2006/relationships" xmlns:p="http://schemas.openxmlformats.org/presentationml/2006/main">
  <p:tag name="MIO_EK" val="644448"/>
  <p:tag name="MIO_EKGUID" val="df7c5114-efdc-4b55-aba2-f90b0e0f75e8"/>
  <p:tag name="MIO_GUID" val="f21925d7-dce1-4b62-b776-d10e56cda44a"/>
  <p:tag name="MIO_UPDATE" val="True"/>
  <p:tag name="MIO_VERSION" val="19.01.2017 06:55:40"/>
  <p:tag name="MIO_DBID" val="598A5C07-C27D-430B-A8FC-FA667BE665A4"/>
  <p:tag name="MIO_LASTDOWNLOADED" val="04.05.2017 13:11:43"/>
  <p:tag name="MIO_OBJECTNAME" val="general_computer_laptop.png"/>
  <p:tag name="MIO_LASTEDITORNAME" val="Dietmar Kluge"/>
</p:tagLst>
</file>

<file path=ppt/tags/tag119.xml><?xml version="1.0" encoding="utf-8"?>
<p:tagLst xmlns:a="http://schemas.openxmlformats.org/drawingml/2006/main" xmlns:r="http://schemas.openxmlformats.org/officeDocument/2006/relationships" xmlns:p="http://schemas.openxmlformats.org/presentationml/2006/main">
  <p:tag name="MIO_EK" val="646032"/>
  <p:tag name="MIO_EKGUID" val="d8a908a1-09aa-4e96-9695-85c34ac3baf1"/>
  <p:tag name="MIO_GUID" val="3dce1b02-8d68-4f28-8594-a23934aa2ff9"/>
  <p:tag name="MIO_UPDATE" val="True"/>
  <p:tag name="MIO_VERSION" val="19.01.2017 07:12:47"/>
  <p:tag name="MIO_DBID" val="598A5C07-C27D-430B-A8FC-FA667BE665A4"/>
  <p:tag name="MIO_LASTDOWNLOADED" val="04.05.2017 13:12:49"/>
  <p:tag name="MIO_OBJECTNAME" val="topic_profitable.png"/>
  <p:tag name="MIO_LASTEDITORNAME" val="Dietmar Klug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0.xml><?xml version="1.0" encoding="utf-8"?>
<p:tagLst xmlns:a="http://schemas.openxmlformats.org/drawingml/2006/main" xmlns:r="http://schemas.openxmlformats.org/officeDocument/2006/relationships" xmlns:p="http://schemas.openxmlformats.org/presentationml/2006/main">
  <p:tag name="MIO_EK" val="646007"/>
  <p:tag name="MIO_GUID" val="75df1108-1788-4503-8cbb-382668bc12a2"/>
  <p:tag name="MIO_UPDATE" val="True"/>
  <p:tag name="MIO_VERSION" val="19.01.2017 07:11:51"/>
  <p:tag name="MIO_DBID" val="598A5C07-C27D-430B-A8FC-FA667BE665A4"/>
  <p:tag name="MIO_LASTDOWNLOADED" val="15.03.2017 11:20:02"/>
  <p:tag name="MIO_OBJECTNAME" val="technology_webserver.png"/>
  <p:tag name="MIO_LASTEDITORNAME" val="Dietmar Kluge"/>
</p:tagLst>
</file>

<file path=ppt/tags/tag121.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22.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23.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24.xml><?xml version="1.0" encoding="utf-8"?>
<p:tagLst xmlns:a="http://schemas.openxmlformats.org/drawingml/2006/main" xmlns:r="http://schemas.openxmlformats.org/officeDocument/2006/relationships" xmlns:p="http://schemas.openxmlformats.org/presentationml/2006/main">
  <p:tag name="MIO_EK" val="645985"/>
  <p:tag name="MIO_EKGUID" val="7b44882a-0d70-4276-91c9-98f7edac39e5"/>
  <p:tag name="MIO_GUID" val="a4edfbf7-bd05-443a-af27-80ae05663d2c"/>
  <p:tag name="MIO_UPDATE" val="True"/>
  <p:tag name="MIO_VERSION" val="19.01.2017 07:11:00"/>
  <p:tag name="MIO_DBID" val="598A5C07-C27D-430B-A8FC-FA667BE665A4"/>
  <p:tag name="MIO_LASTDOWNLOADED" val="04.05.2017 13:14:52"/>
  <p:tag name="MIO_OBJECTNAME" val="software_tia-portal_step7.png"/>
  <p:tag name="MIO_LASTEDITORNAME" val="Dietmar Kluge"/>
</p:tagLst>
</file>

<file path=ppt/tags/tag125.xml><?xml version="1.0" encoding="utf-8"?>
<p:tagLst xmlns:a="http://schemas.openxmlformats.org/drawingml/2006/main" xmlns:r="http://schemas.openxmlformats.org/officeDocument/2006/relationships" xmlns:p="http://schemas.openxmlformats.org/presentationml/2006/main">
  <p:tag name="MIO_EK" val="646768"/>
  <p:tag name="MIO_EKGUID" val="c979f08c-dd93-4a21-aca9-5c2d9f7422f7"/>
  <p:tag name="MIO_GUID" val="d572f39a-0b4b-4b64-904c-b5f4775f01b8"/>
  <p:tag name="MIO_UPDATE" val="True"/>
  <p:tag name="MIO_VERSION" val="13.02.2017 17:34:08"/>
  <p:tag name="MIO_DBID" val="598A5C07-C27D-430B-A8FC-FA667BE665A4"/>
  <p:tag name="MIO_LASTDOWNLOADED" val="04.05.2017 12:59:13"/>
  <p:tag name="MIO_OBJECTNAME" val="G_SY02_XX_01648P.png"/>
  <p:tag name="MIO_LASTEDITORNAME" val="Robin Walter"/>
</p:tagLst>
</file>

<file path=ppt/tags/tag126.xml><?xml version="1.0" encoding="utf-8"?>
<p:tagLst xmlns:a="http://schemas.openxmlformats.org/drawingml/2006/main" xmlns:r="http://schemas.openxmlformats.org/officeDocument/2006/relationships" xmlns:p="http://schemas.openxmlformats.org/presentationml/2006/main">
  <p:tag name="MIO_EK" val="647288"/>
  <p:tag name="MIO_EKGUID" val="01075ff5-917a-4f3d-8331-816398b05823"/>
  <p:tag name="MIO_GUID" val="6e979b9f-a830-4c2a-b629-3196d5597b3c"/>
  <p:tag name="MIO_UPDATE" val="True"/>
  <p:tag name="MIO_VERSION" val="13.02.2017 18:40:45"/>
  <p:tag name="MIO_DBID" val="598A5C07-C27D-430B-A8FC-FA667BE665A4"/>
  <p:tag name="MIO_LASTDOWNLOADED" val="04.05.2017 13:26:40"/>
  <p:tag name="MIO_OBJECTNAME" val="G_SY02_XX_02035P.png"/>
  <p:tag name="MIO_LASTEDITORNAME" val="Robin Walter"/>
</p:tagLst>
</file>

<file path=ppt/tags/tag127.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28.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2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4.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our objects"/>
  <p:tag name="CDT_ORIGINAL_LAYOUT_TYPE" val="24"/>
  <p:tag name="CDT_OLDSLIDEHIDDEN" val="False"/>
  <p:tag name="CDT_OLDSLIDEINDEX" val="12"/>
  <p:tag name="CDT_DESIGNS_NAME" val="Siemens 2013 – 16:9"/>
  <p:tag name="CDT_MASTERS_NAME" val="Free Content"/>
  <p:tag name="CDT_LAYOUT_TYPE" val="11"/>
  <p:tag name="CDT_INTERSECT_SLIDE" val="False"/>
  <p:tag name="CDT_NAVBARONTHISSLIDE" val="True"/>
  <p:tag name="MIO_GUID" val="32b97b72-0b6a-4dbe-a9f3-931d6dcbd5eb"/>
  <p:tag name="MIO_EK_DESIGN" val="579031"/>
  <p:tag name="MIO_VERSION_DESIGN" val="16.01.2017 14:59:26"/>
  <p:tag name="MIO_DBID_DESIGN" val="598A5C07-C27D-430B-A8FC-FA667BE665A4"/>
  <p:tag name="MIO_SLIDE_HAS_HYPERLINK" val="False"/>
  <p:tag name="MIO_EK" val="209980"/>
  <p:tag name="MIO_EKGUID" val="1ac4d497-18ae-4092-be21-a3b3732ddb39"/>
  <p:tag name="MIO_UPDATE" val="True"/>
  <p:tag name="MIO_VERSION" val="19.01.2017 16:09:35"/>
  <p:tag name="MIO_DBID" val="598A5C07-C27D-430B-A8FC-FA667BE665A4"/>
  <p:tag name="MIO_LASTDOWNLOADED" val="16.03.2017 13:45:46"/>
  <p:tag name="MIO_OBJECTNAME" val="Image with properties"/>
  <p:tag name="MIO_LASTEDITORNAME" val="kd5684 "/>
</p:tagLst>
</file>

<file path=ppt/tags/tag135.xml><?xml version="1.0" encoding="utf-8"?>
<p:tagLst xmlns:a="http://schemas.openxmlformats.org/drawingml/2006/main" xmlns:r="http://schemas.openxmlformats.org/officeDocument/2006/relationships" xmlns:p="http://schemas.openxmlformats.org/presentationml/2006/main">
  <p:tag name="MIO_EK" val="645985"/>
  <p:tag name="MIO_EKGUID" val="7b44882a-0d70-4276-91c9-98f7edac39e5"/>
  <p:tag name="MIO_GUID" val="56d2665c-b2d0-4039-ace4-a606de38172e"/>
  <p:tag name="MIO_UPDATE" val="True"/>
  <p:tag name="MIO_VERSION" val="19.01.2017 07:11:00"/>
  <p:tag name="MIO_DBID" val="598A5C07-C27D-430B-A8FC-FA667BE665A4"/>
  <p:tag name="MIO_LASTDOWNLOADED" val="07.09.2017 11:43:59"/>
  <p:tag name="MIO_OBJECTNAME" val="software_tia-portal_step7.png"/>
  <p:tag name="MIO_LASTEDITORNAME" val="Dietmar Kluge"/>
</p:tagLst>
</file>

<file path=ppt/tags/tag136.xml><?xml version="1.0" encoding="utf-8"?>
<p:tagLst xmlns:a="http://schemas.openxmlformats.org/drawingml/2006/main" xmlns:r="http://schemas.openxmlformats.org/officeDocument/2006/relationships" xmlns:p="http://schemas.openxmlformats.org/presentationml/2006/main">
  <p:tag name="MIO_EK" val="645972"/>
  <p:tag name="MIO_EKGUID" val="a5ff2eed-8926-432b-8c41-dc59aa3dfc9c"/>
  <p:tag name="MIO_GUID" val="684cfb47-d3db-4933-9c2c-1468304c4200"/>
  <p:tag name="MIO_UPDATE" val="True"/>
  <p:tag name="MIO_VERSION" val="19.01.2017 07:10:32"/>
  <p:tag name="MIO_DBID" val="598A5C07-C27D-430B-A8FC-FA667BE665A4"/>
  <p:tag name="MIO_LASTDOWNLOADED" val="07.09.2017 11:39:29"/>
  <p:tag name="MIO_OBJECTNAME" val="product_tia-selection-tool_checked.png"/>
  <p:tag name="MIO_LASTEDITORNAME" val="Dietmar Kluge"/>
</p:tagLst>
</file>

<file path=ppt/tags/tag137.xml><?xml version="1.0" encoding="utf-8"?>
<p:tagLst xmlns:a="http://schemas.openxmlformats.org/drawingml/2006/main" xmlns:r="http://schemas.openxmlformats.org/officeDocument/2006/relationships" xmlns:p="http://schemas.openxmlformats.org/presentationml/2006/main">
  <p:tag name="MIO_EK" val="645985"/>
  <p:tag name="MIO_EKGUID" val="7b44882a-0d70-4276-91c9-98f7edac39e5"/>
  <p:tag name="MIO_GUID" val="56d2665c-b2d0-4039-ace4-a606de38172e"/>
  <p:tag name="MIO_UPDATE" val="True"/>
  <p:tag name="MIO_VERSION" val="19.01.2017 07:11:00"/>
  <p:tag name="MIO_DBID" val="598A5C07-C27D-430B-A8FC-FA667BE665A4"/>
  <p:tag name="MIO_LASTDOWNLOADED" val="07.09.2017 11:43:59"/>
  <p:tag name="MIO_OBJECTNAME" val="software_tia-portal_step7.png"/>
  <p:tag name="MIO_LASTEDITORNAME" val="Dietmar Kluge"/>
</p:tagLst>
</file>

<file path=ppt/tags/tag138.xml><?xml version="1.0" encoding="utf-8"?>
<p:tagLst xmlns:a="http://schemas.openxmlformats.org/drawingml/2006/main" xmlns:r="http://schemas.openxmlformats.org/officeDocument/2006/relationships" xmlns:p="http://schemas.openxmlformats.org/presentationml/2006/main">
  <p:tag name="MIO_EK" val="645972"/>
  <p:tag name="MIO_EKGUID" val="a5ff2eed-8926-432b-8c41-dc59aa3dfc9c"/>
  <p:tag name="MIO_GUID" val="684cfb47-d3db-4933-9c2c-1468304c4200"/>
  <p:tag name="MIO_UPDATE" val="True"/>
  <p:tag name="MIO_VERSION" val="19.01.2017 07:10:32"/>
  <p:tag name="MIO_DBID" val="598A5C07-C27D-430B-A8FC-FA667BE665A4"/>
  <p:tag name="MIO_LASTDOWNLOADED" val="07.09.2017 11:39:29"/>
  <p:tag name="MIO_OBJECTNAME" val="product_tia-selection-tool_checked.png"/>
  <p:tag name="MIO_LASTEDITORNAME" val="Dietmar Kluge"/>
</p:tagLst>
</file>

<file path=ppt/tags/tag13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40.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41.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5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3.xml><?xml version="1.0" encoding="utf-8"?>
<p:tagLst xmlns:a="http://schemas.openxmlformats.org/drawingml/2006/main" xmlns:r="http://schemas.openxmlformats.org/officeDocument/2006/relationships" xmlns:p="http://schemas.openxmlformats.org/presentationml/2006/main">
  <p:tag name="__PART_0" val="eyIkaWQiOiIxIiwiQ3VsdHVyZUluZm9OYW1lIjoiZW4tVVMiLCJTdHlsZU5hbWUiOiJHYW50dCIsIklzVGVtcGxhdGUiOmZhbHNlLCJWZXJzaW9uIjp7IiRpZCI6IjIiLCJWZXJzaW9uIjoiMy4wLjEiLCJPcmlnaW5hbEFzc2VtYmx5VmVyc2lvbiI6IjMuMDYuMDAuMDAiLCJFZGl0aW9uIjoiUGx1cyIsIklzUGx1c0VkaXRpb24iOnRydWV9LCJFZmZlY3QiOjEsIlN0eWxlIjp7IiRpZCI6IjMiLCJUaW1lYmFuZFN0eWxlIjp7IiRpZCI6IjQiLCJTY2FsZU1hcmtpbmciOjEsIlNoYXBlIjoxMCwiU2hhcGVTdHlsZSI6eyIkaWQiOiI1IiwiTWFyZ2luIjp7IiRpZCI6IjYiLCJUb3AiOjAsIkxlZnQiOjEwLCJSaWdodCI6MTAsIkJvdHRvbSI6MH0sIlBhZGRpbmciOnsiJGlkIjoiNyIsIlRvcCI6MywiTGVmdCI6MCwiUmlnaHQiOjAsIkJvdHRvbSI6M30sIkJhY2tncm91bmQiOnsiJGlkIjoiOCIsIkNvbG9yIjp7IiRpZCI6IjkiLCJBIjoyNTUsIlIiOjY4LCJHIjo4NCwiQiI6MTA2fX0sIklzVmlzaWJsZSI6dHJ1ZSwiV2lkdGgiOjg1OC4wLCJIZWlnaHQiOjIwLjAsIkJvcmRlclN0eWxlIjp7IiRpZCI6IjEwIiwiTGluZUNvbG9yIjp7IiRpZCI6IjExIiwiJHR5cGUiOiJOTFJFLkNvbW1vbi5Eb20uU29saWRDb2xvckJydXNoLCBOTFJFLkNvbW1vbiIsIkNvbG9yIjp7IiRpZCI6IjEyIiwiQSI6MjU1LCJSIjoyNTUsIkciOjAsIkIiOjB9fSwiTGluZVdlaWdodCI6MC4wLCJMaW5lVHlwZSI6MCwiUGFyZW50U3R5bGUiOm51bGx9LCJQYXJlbnRTdHlsZSI6bnVsbH0sIlJpZ2h0RW5kQ2Fwc1N0eWxlIjp7IiRpZCI6IjEzIiwiRm9udFNldHRpbmdzIjp7IiRpZCI6IjE0IiwiRm9udFNpemUiOjE4LCJGb250TmFtZSI6IkNhbGlicmkiLCJJc0JvbGQiOnRydWUsIklzSXRhbGljIjpmYWxzZSwiSXNVbmRlcmxpbmVkIjpmYWxzZSwiUGFyZW50U3R5bGUiOm51bGx9LCJBdXRvU2l6ZSI6MCwiRm9yZWdyb3VuZCI6eyIkaWQiOiIxNSIsIkNvbG9yIjp7IiRpZCI6IjE2IiwiQSI6MjU1LCJSIjoxOTAsIkciOjIwNSwiQiI6MjE1fX0sIk1heFdpZHRoIjoiSW5maW5pdHkiLCJNYXhIZWlnaHQiOiJJbmZpbml0eSIsIlNtYXJ0Rm9yZWdyb3VuZElzQWN0aXZlIjpmYWxzZSwiSG9yaXpvbnRhbEFsaWdubWVudCI6MCwiVmVydGljYWxBbGlnbm1lbnQiOjAsIlNtYXJ0Rm9yZWdyb3VuZCI6bnVsbCwiTWFyZ2luIjp7IiRpZCI6IjE3IiwiVG9wIjowLCJMZWZ0IjowLCJSaWdodCI6MjAsIkJvdHRvbSI6MH0sIlBhZGRpbmciOnsiJGlkIjoiMTgiLCJUb3AiOjAsIkxlZnQiOjAsIlJpZ2h0IjowLCJCb3R0b20iOjB9LCJCYWNrZ3JvdW5kIjp7IiRpZCI6IjE5IiwiQ29sb3IiOnsiJGlkIjoiMjAiLCJBIjo4OSwiUiI6MCwiRyI6MCwiQiI6MH19LCJJc1Zpc2libGUiOnRydWUsIldpZHRoIjowLjAsIkhlaWdodCI6MC4wLCJCb3JkZXJTdHlsZSI6bnVsbCwiUGFyZW50U3R5bGUiOm51bGx9LCJMZWZ0RW5kQ2Fwc1N0eWxlIjp7IiRpZCI6IjIxIiwiRm9udFNldHRpbmdzIjp7IiRpZCI6IjIyIiwiRm9udFNpemUiOjE4LCJGb250TmFtZSI6IkNhbGlicmkiLCJJc0JvbGQiOnRydWUsIklzSXRhbGljIjpmYWxzZSwiSXNVbmRlcmxpbmVkIjpmYWxzZSwiUGFyZW50U3R5bGUiOm51bGx9LCJBdXRvU2l6ZSI6MCwiRm9yZWdyb3VuZCI6eyIkaWQiOiIyMyIsIkNvbG9yIjp7IiRpZCI6IjI0IiwiQSI6MjU1LCJSIjoxOTAsIkciOjIwNSwiQiI6MjE1fX0sIk1heFdpZHRoIjoiSW5maW5pdHkiLCJNYXhIZWlnaHQiOiJJbmZpbml0eSIsIlNtYXJ0Rm9yZWdyb3VuZElzQWN0aXZlIjpmYWxzZSwiSG9yaXpvbnRhbEFsaWdubWVudCI6MCwiVmVydGljYWxBbGlnbm1lbnQiOjAsIlNtYXJ0Rm9yZWdyb3VuZCI6bnVsbCwiTWFyZ2luIjp7IiRpZCI6IjI1IiwiVG9wIjowLCJMZWZ0IjoyMC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1hcmdpbiI6eyIkaWQiOiIzMiIsIlRvcCI6MCwiTGVmdCI6MCwiUmlnaHQiOjAsIkJvdHRvbSI6MH0sIlBhZGRpbmciOnsiJGlkIjoiMzMiLCJUb3AiOjAsIkxlZnQiOjAsIlJpZ2h0IjowLCJCb3R0b20iOjB9LCJCYWNrZ3JvdW5kIjp7IiRpZCI6IjM0IiwiQ29sb3IiOnsiJHJlZiI6IjIwIn19LCJJc1Zpc2libGUiOnRydWUsIldpZHRoIjowLjAsIkhlaWdodCI6MC4wLCJCb3JkZXJTdHlsZSI6bnVsbCwiUGFyZW50U3R5bGUiOm51bGx9LCJUb2RheU1hcmtlclN0eWxlIjp7IiRpZCI6IjM1IiwiTWFyZ2luIjp7IiRpZCI6IjM2IiwiVG9wIjowLCJMZWZ0IjowLCJSaWdodCI6MCwiQm90dG9tIjowfSwiUGFkZGluZyI6eyIkaWQiOiIzNyIsIlRvcCI6MCwiTGVmdCI6MCwiUmlnaHQiOjAsIkJvdHRvbSI6MH0sIkJhY2tncm91bmQiOnsiJGlkIjoiMzgiLCJDb2xvciI6eyIkaWQiOiIzOSIsIkEiOjI1NSwiUiI6MjU1LCJHIjowLCJCIjowfX0sIklzVmlzaWJsZSI6dHJ1ZSwiV2lkdGgiOjAuMCwiSGVpZ2h0IjowLjAsIkJvcmRlclN0eWxlIjpudWxsLCJQYXJlbnRTdHlsZSI6bnVsbH0sIlNjYWxlU3R5bGUiOnsiJGlkIjoiNDAiLCJTaG93U2VnbWVudFNlcGFyYXRvcnMiOmZhbHNlLCJTZWdtZW50U2VwYXJhdG9yT3BhY2l0eSI6MzAsIkZvbnRTZXR0aW5ncyI6eyIkaWQiOiI0MSIsIkZvbnRTaXplIjoxMiwiRm9udE5hbWUiOiJDYWxpYnJpIiwiSXNCb2xkIjpmYWxzZSwiSXNJdGFsaWMiOmZhbHNlLCJJc1VuZGVybGluZWQiOmZhbHNlLCJQYXJlbnRTdHlsZSI6bnVsbH0sIkF1dG9TaXplIjowLCJGb3JlZ3JvdW5kIjp7IiRpZCI6IjQyIiwiQ29sb3IiOnsiJGlkIjoiNDMiLCJBIjoyNTUsIlIiOjI1NSwiRyI6MjU1LCJCIjoyNTV9fSwiTWF4V2lkdGgiOjIwMC4wLCJNYXhIZWlnaHQiOiJJbmZpbml0eSIsIlNtYXJ0Rm9yZWdyb3VuZElzQWN0aXZlIjpmYWxzZSwiSG9yaXpvbnRhbEFsaWdubWVudCI6MCwiVmVydGljYWxBbGlnbm1lbnQiOjEsIlNtYXJ0Rm9yZWdyb3VuZCI6bnVsb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NTUsIkciOjAsIkIiOjB9fSwiQXBwZW5kWWVhck9uWWVhckNoYW5nZSI6ZmFsc2UsIkVsYXBzZWRUaW1lRm9ybWF0IjoyLCJUb2RheU1hcmtlclBvc2l0aW9uIjozLCJRdWlja1Bvc2l0aW9uIjoyLCJBYnNvbHV0ZVBvc2l0aW9uIjo0MDUuMDkzNzUsIk1hcmdpbiI6eyIkaWQiOiI0OSIsIlRvcCI6MCwiTGVmdCI6MTAsIlJpZ2h0IjoxMCwiQm90dG9tIjowfSwiUGFkZGluZyI6eyIkaWQiOiI1MCIsIlRvcCI6MCwiTGVmdCI6MCwiUmlnaHQiOjAsIkJvdHRvbSI6MH0sIkJhY2tncm91bmQiOnsiJGlkIjoiNTEiLCJDb2xvciI6eyIkaWQiOiI1MiIsIkEiOjI1NSwiUiI6MzEsIkciOjczLCJCIjoxMjV9fSwiSXNWaXNpYmxlIjp0cnVlLCJXaWR0aCI6MC4wLCJIZWlnaHQiOjAuMCwiQm9yZGVyU3R5bGUiOm51bGwsIlBhcmVudFN0eWxlIjpudWxsfSwiRGVmYXVsdE1pbGVzdG9uZVN0eWxlIjp7IiRpZCI6IjUzIiwiU2hhcGUiOjIsIkNvbm5lY3Rvck1hcmdpbiI6eyIkaWQiOiI1NCIsIlRvcCI6MCwiTGVmdCI6MiwiUmlnaHQiOjIsIkJvdHRvbSI6MH0sIkNvbm5lY3RvclN0eWxlIjp7IiRpZCI6IjU1IiwiTGluZUNvbG9yIjp7IiRpZCI6IjU2IiwiJHR5cGUiOiJOTFJFLkNvbW1vbi5Eb20uU29saWRDb2xvckJydXNoLCBOTFJFLkNvbW1vbiIsIkNvbG9yIjp7IiRpZCI6IjU3IiwiQSI6MjU1LCJSIjozMSwiRyI6NzMsIkIiOjEyNn19LCJMaW5lV2VpZ2h0IjoxLjAsIkxpbmVUeXBlIjowLCJQYXJlbnRTdHlsZSI6bnVsbH0sIklzQmVsb3dUaW1lYmFuZCI6ZmFsc2UsIkhpZGVEYXRlIjpmYWxzZSwiU2hhcGVTaXplIjoxLCJTcGFjaW5nIjoy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m51bGwsIklzVmlzaWJsZSI6dHJ1ZSwiV2lkdGgiOjEzLjAsIkhlaWdodCI6MTMuMCwiQm9yZGVyU3R5bGUiOnsiJGlkIjoiNjIiLCJMaW5lQ29sb3IiOnsiJGlkIjoiNjMiLCIkdHlwZSI6Ik5MUkUuQ29tbW9uLkRvbS5Tb2xpZENvbG9yQnJ1c2gsIE5MUkUuQ29tbW9uIiwiQ29sb3IiOnsiJGlkIjoiNjQiLCJBIjoyNTUsIlIiOjI1NSwiRyI6MCwiQiI6MH19LCJMaW5lV2VpZ2h0IjowLjAsIkxpbmVUeXBlIjowLCJQYXJlbnRTdHlsZSI6bnVsbH0sIlBhcmVudFN0eWxlIjpudWxsfSwiVGl0bGVTdHlsZSI6eyIkaWQiOiI2NSIsIkZvbnRTZXR0aW5ncyI6eyIkaWQiOiI2NiIsIkZvbnRTaXplIjoxMSwiRm9udE5hbWUiOiJDYWxpYnJpIiwiSXNCb2xkIjp0cnVlLCJJc0l0YWxpYyI6ZmFsc2UsIklzVW5kZXJsaW5lZCI6ZmFsc2UsIlBhcmVudFN0eWxlIjpudWxsfSwiQXV0b1NpemUiOjAsIkZvcmVncm91bmQiOnsiJGlkIjoiNjciLCJDb2xvciI6eyIkaWQiOiI2OCIsIkEiOjI1NSwiUiI6MCwiRyI6MCwiQiI6MH19LCJNYXhXaWR0aCI6MjAwLjAsIk1heEhlaWdodCI6IkluZmluaXR5IiwiU21hcnRGb3JlZ3JvdW5kSXNBY3RpdmUiOmZhbHNlLCJIb3Jpem9udGFsQWxpZ25tZW50IjowLCJWZXJ0aWNhbEFsaWdubWVudCI6MCwiU21hcnRGb3JlZ3JvdW5kIjpudWxsLCJNYXJnaW4iOnsiJGlkIjoiNjkiLCJUb3AiOjAsIkxlZnQiOjAsIlJpZ2h0IjowLCJCb3R0b20iOjB9LCJQYWRkaW5nIjp7IiRpZCI6IjcwIiwiVG9wIjowLCJMZWZ0IjowLCJSaWdodCI6MCwiQm90dG9tIjowfSwiQmFja2dyb3VuZCI6eyIkaWQiOiI3MSIsIkNvbG9yIjp7IiRyZWYiOiIyMCJ9fSwiSXNWaXNpYmxlIjp0cnVlLCJXaWR0aCI6MC4wLCJIZWlnaHQiOjAuMCwiQm9yZGVyU3R5bGUiOm51bGwsIlBhcmVudFN0eWxlIjpudWxsfSwiRGF0ZVN0eWxlIjp7IiRpZCI6IjcyIiwiRm9udFNldHRpbmdzIjp7IiRpZCI6IjczIiwiRm9udFNpemUiOjEwLCJGb250TmFtZSI6IkNhbGlicmkiLCJJc0JvbGQiOmZhbHNlLCJJc0l0YWxpYyI6ZmFsc2UsIklzVW5kZXJsaW5lZCI6ZmFsc2UsIlBhcmVudFN0eWxlIjpudWxsfSwiQXV0b1NpemUiOjAsIkZvcmVncm91bmQiOnsiJGlkIjoiNzQiLCJDb2xvciI6eyIkaWQiOiI3NSIsIkEiOjI1NSwiUiI6MCwiRyI6MCwiQiI6MH19LCJNYXhXaWR0aCI6MjAwLjAsIk1heEhlaWdodCI6IkluZmluaXR5IiwiU21hcnRGb3JlZ3JvdW5kSXNBY3RpdmUiOmZhbHNlLCJIb3Jpem9udGFsQWxpZ25tZW50IjowLCJWZXJ0aWNhbEFsaWdubWVudCI6MCwiU21hcnRGb3JlZ3JvdW5kIjpudWxsLCJNYXJnaW4iOnsiJGlkIjoiNzYiLCJUb3AiOjAsIkxlZnQiOjAsIlJpZ2h0IjowLCJCb3R0b20iOjB9LCJQYWRkaW5nIjp7IiRpZCI6Ijc3IiwiVG9wIjowLCJMZWZ0IjowLCJSaWdodCI6MCwiQm90dG9tIjowfSwiQmFja2dyb3VuZCI6eyIkaWQiOiI3OCIsIkNvbG9yIjp7IiRyZWYiOiIyMCJ9fSwiSXNWaXNpYmxlIjp0cnVlLCJXaWR0aCI6MC4wLCJIZWlnaHQiOjAuMCwiQm9yZGVyU3R5bGUiOm51bGwsIlBhcmVudFN0eWxlIjpudWxsfSwiRGF0ZUZvcm1hdCI6eyIkaWQiOiI3OSIsIkZvcm1hdFN0cmluZyI6Ik1NTSBkIiwiU2VwYXJhdG9yIjoiLyIsIlVzZUludGVybmF0aW9uYWxEYXRlRm9ybWF0IjpmYWxzZX0sIklzVmlzaWJsZSI6dHJ1ZSwiUGFyZW50U3R5bGUiOm51bGx9LCJEZWZhdWx0VGFza1N0eWxlIjp7IiRpZCI6IjgwIiwiU2hhcGUiOjEsIlNoYXBlVGhpY2tuZXNzIjowLCJEdXJhdGlvbkZvcm1hdCI6MCwiSW5jbHVkZU5vbldvcmtpbmdEYXlzSW5EdXJhdGlvbiI6dHJ1ZSwiUGVyY2VudGFnZUNvbXBsZXRlU3R5bGUiOnsiJGlkIjoiODEiLCJGb250U2V0dGluZ3MiOnsiJGlkIjoiODIiLCJGb250U2l6ZSI6MTAsIkZvbnROYW1lIjoiQ2FsaWJyaSIsIklzQm9sZCI6ZmFsc2UsIklzSXRhbGljIjpmYWxzZSwiSXNVbmRlcmxpbmVkIjpmYWxzZSwiUGFyZW50U3R5bGUiOm51bGx9LCJBdXRvU2l6ZSI6MCwiRm9yZWdyb3VuZCI6eyIkaWQiOiI4MyIsIkNvbG9yIjp7IiRpZCI6Ijg0IiwiQSI6MjU1LCJSIjoxOTIsIkciOjgwLCJCIjo3N319LCJNYXhXaWR0aCI6MjAwLjAsIk1heEhlaWdodCI6IkluZmluaXR5IiwiU21hcnRGb3JlZ3JvdW5kSXNBY3RpdmUiOmZhbHNlLCJIb3Jpem9udGFsQWxpZ25tZW50IjowLCJWZXJ0aWNhbEFsaWdubWVudCI6MCwiU21hcnRGb3JlZ3JvdW5kIjpudWxsLCJNYXJnaW4iOnsiJGlkIjoiODUiLCJUb3AiOjAsIkxlZnQiOjAsIlJpZ2h0IjowLCJCb3R0b20iOjB9LCJQYWRkaW5nIjp7IiRpZCI6Ijg2IiwiVG9wIjowLCJMZWZ0IjowLCJSaWdodCI6MCwiQm90dG9tIjowfSwiQmFja2dyb3VuZCI6eyIkaWQiOiI4NyIsIkNvbG9yIjp7IiRyZWYiOiIyMCJ9fSwiSXNWaXNpYmxlIjp0cnVlLCJXaWR0aCI6MC4wLCJIZWlnaHQiOjAuMCwiQm9yZGVyU3R5bGUiOm51bGwsIlBhcmVudFN0eWxlIjpudWxsfSwiRHVyYXRpb25TdHlsZSI6eyIkaWQiOiI4OCIsIkZvbnRTZXR0aW5ncyI6eyIkaWQiOiI4OSIsIkZvbnRTaXplIjoxMCwiRm9udE5hbWUiOiJDYWxpYnJpIiwiSXNCb2xkIjpmYWxzZSwiSXNJdGFsaWMiOmZhbHNlLCJJc1VuZGVybGluZWQiOmZhbHNlLCJQYXJlbnRTdHlsZSI6bnVsbH0sIkF1dG9TaXplIjowLCJGb3JlZ3JvdW5kIjp7IiRpZCI6IjkwIiwiQ29sb3IiOnsiJGlkIjoiOTEiLCJBIjoyNTUsIlIiOjE5MCwiRyI6MjA1LCJCIjoyMTV9fSwiTWF4V2lkdGgiOjIwMC4wLCJNYXhIZWlnaHQiOiJJbmZpbml0eSIsIlNtYXJ0Rm9yZWdyb3VuZElzQWN0aXZlIjpmYWxzZSwiSG9yaXpvbnRhbEFsaWdubWVudCI6MCwiVmVydGljYWxBbGlnbm1lbnQiOjAsIlNtYXJ0Rm9yZWdyb3VuZCI6bnVsbCwiTWFyZ2luIjp7IiRpZCI6IjkyIiwiVG9wIjowLCJMZWZ0IjowLCJSaWdodCI6MCwiQm90dG9tIjowfSwiUGFkZGluZyI6eyIkaWQiOiI5MyIsIlRvcCI6MCwiTGVmdCI6MCwiUmlnaHQiOjAsIkJvdHRvbSI6MH0sIkJhY2tncm91bmQiOnsiJGlkIjoiOTQiLCJDb2xvciI6eyIkcmVmIjoiMjAifX0sIklzVmlzaWJsZSI6dHJ1ZSwiV2lkdGgiOjAuMCwiSGVpZ2h0IjowLjAsIkJvcmRlclN0eWxlIjpudWxsLCJQYXJlbnRTdHlsZSI6bnVsbH0sIkhvcml6b250YWxDb25uZWN0b3JTdHlsZSI6eyIkaWQiOiI5NSIsIkxpbmVDb2xvciI6eyIkaWQiOiI5NiIsIiR0eXBlIjoiTkxSRS5Db21tb24uRG9tLlNvbGlkQ29sb3JCcnVzaCwgTkxSRS5Db21tb24iLCJDb2xvciI6eyIkaWQiOiI5NyIsIkEiOjI1NSwiUiI6MjA0LCJHIjoyMDQsIkIiOjIwNH19LCJMaW5lV2VpZ2h0IjowLjAsIkxpbmVUeXBlIjowLCJQYXJlbnRTdHlsZSI6bnVsbH0sIlZlcnRpY2FsQ29ubmVjdG9yU3R5bGUiOnsiJGlkIjoiOTgiLCJMaW5lQ29sb3IiOnsiJGlkIjoiOTkiLCIkdHlwZSI6Ik5MUkUuQ29tbW9uLkRvbS5Tb2xpZENvbG9yQnJ1c2gsIE5MUkUuQ29tbW9uIiwiQ29sb3IiOnsiJGlkIjoiMTAwIiwiQSI6MjU1LCJSIjoyMDQsIkciOjIwNCwiQiI6MjA0fX0sIkxpbmVXZWlnaHQiOjAuMCwiTGluZVR5cGUiOjAsIlBhcmVudFN0eWxlIjpudWxs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TAxIiwiTWFyZ2luIjp7IiRpZCI6IjEwMiIsIlRvcCI6MCwiTGVmdCI6NCwiUmlnaHQiOjQsIkJvdHRvbSI6MH0sIlBhZGRpbmciOnsiJGlkIjoiMTAzIiwiVG9wIjowLCJMZWZ0IjowLCJSaWdodCI6MCwiQm90dG9tIjowfSwiQmFja2dyb3VuZCI6bnVsbCwiSXNWaXNpYmxlIjp0cnVlLCJXaWR0aCI6MC4wLCJIZWlnaHQiOjEwLjAsIkJvcmRlclN0eWxlIjp7IiRpZCI6IjEwNCIsIkxpbmVDb2xvciI6eyIkaWQiOiIxMDUiLCIkdHlwZSI6Ik5MUkUuQ29tbW9uLkRvbS5Tb2xpZENvbG9yQnJ1c2gsIE5MUkUuQ29tbW9uIiwiQ29sb3IiOnsiJGlkIjoiMTA2IiwiQSI6MjU1LCJSIjoyNTUsIkciOjAsIkIiOjB9fSwiTGluZVdlaWdodCI6MC4wLCJMaW5lVHlwZSI6MCwiUGFyZW50U3R5bGUiOm51bGx9LCJQYXJlbnRTdHlsZSI6bnVsbH0sIlRpdGxlU3R5bGUiOnsiJGlkIjoiMTA3IiwiRm9udFNldHRpbmdzIjp7IiRpZCI6IjEwOCIsIkZvbnRTaXplIjoxMSwiRm9udE5hbWUiOiJDYWxpYnJpIiwiSXNCb2xkIjp0cnVlLCJJc0l0YWxpYyI6ZmFsc2UsIklzVW5kZXJsaW5lZCI6ZmFsc2UsIlBhcmVudFN0eWxlIjpudWxsfSwiQXV0b1NpemUiOjAsIkZvcmVncm91bmQiOnsiJGlkIjoiMTA5IiwiQ29sb3IiOnsiJGlkIjoiMTEwIiwiQSI6MjU1LCJSIjowLCJHIjowLCJCIjowfX0sIk1heFdpZHRoIjo5NjAuNSwiTWF4SGVpZ2h0IjoiSW5maW5pdHkiLCJTbWFydEZvcmVncm91bmRJc0FjdGl2ZSI6ZmFsc2UsIkhvcml6b250YWxBbGlnbm1lbnQiOjIsIlZlcnRpY2FsQWxpZ25tZW50IjowLCJTbWFydEZvcmVncm91bmQiOm51bGwsIk1hcmdpbiI6eyIkaWQiOiIxMTEiLCJUb3AiOjAsIkxlZnQiOjAsIlJpZ2h0IjowLCJCb3R0b20iOjB9LCJQYWRkaW5nIjp7IiRpZCI6IjExMiIsIlRvcCI6MCwiTGVmdCI6MCwiUmlnaHQiOjAsIkJvdHRvbSI6MH0sIkJhY2tncm91bmQiOnsiJGlkIjoiMTEzIiwiQ29sb3IiOnsiJHJlZiI6IjIwIn19LCJJc1Zpc2libGUiOnRydWUsIldpZHRoIjowLjAsIkhlaWdodCI6MC4wLCJCb3JkZXJTdHlsZSI6bnVsbCwiUGFyZW50U3R5bGUiOm51bGx9LCJEYXRlU3R5bGUiOnsiJGlkIjoiMTE0IiwiRm9udFNldHRpbmdzIjp7IiRpZCI6IjExNSIsIkZvbnRTaXplIjoxMCwiRm9udE5hbWUiOiJDYWxpYnJpIiwiSXNCb2xkIjpmYWxzZSwiSXNJdGFsaWMiOmZhbHNlLCJJc1VuZGVybGluZWQiOmZhbHNlLCJQYXJlbnRTdHlsZSI6bnVsbH0sIkF1dG9TaXplIjowLCJGb3JlZ3JvdW5kIjp7IiRpZCI6IjExNiIsIkNvbG9yIjp7IiRpZCI6IjExNyIsIkEiOjI1NSwiUiI6MCwiRyI6MCwiQiI6MH19LCJNYXhXaWR0aCI6MjAwLjAsIk1heEhlaWdodCI6IkluZmluaXR5IiwiU21hcnRGb3JlZ3JvdW5kSXNBY3RpdmUiOmZhbHNlLCJIb3Jpem9udGFsQWxpZ25tZW50IjowLCJWZXJ0aWNhbEFsaWdubWVudCI6MCwiU21hcnRGb3JlZ3JvdW5kIjpudWxsLCJNYXJnaW4iOnsiJGlkIjoiMTE4IiwiVG9wIjowLCJMZWZ0IjowLCJSaWdodCI6MCwiQm90dG9tIjowfSwiUGFkZGluZyI6eyIkaWQiOiIxMTkiLCJUb3AiOjAsIkxlZnQiOjAsIlJpZ2h0IjowLCJCb3R0b20iOjB9LCJCYWNrZ3JvdW5kIjp7IiRpZCI6IjEyMCIsIkNvbG9yIjp7IiRyZWYiOiIyMCJ9fSwiSXNWaXNpYmxlIjp0cnVlLCJXaWR0aCI6MC4wLCJIZWlnaHQiOjAuMCwiQm9yZGVyU3R5bGUiOm51bGwsIlBhcmVudFN0eWxlIjpudWxsfSwiRGF0ZUZvcm1hdCI6eyIkaWQiOiIxMjEiLCJGb3JtYXRTdHJpbmciOiJNTU0gZCIsIlNlcGFyYXRvciI6Ii8iLCJVc2VJbnRlcm5hdGlvbmFsRGF0ZUZvcm1hdCI6ZmFsc2V9LCJJc1Zpc2libGUiOnRydWUsIlBhcmVudFN0eWxlIjpudWxsfSwiU2hvd0VsYXBzZWRUaW1lR3JhZGllbnRTdHlsZSI6ZmFsc2V9LCJTY2FsZSI6eyIkaWQiOiIxMjIiLCJTdGFydERhdGUiOiIyMDE3LTA4LTExVDAwOjAwOjAwWiIsIkVuZERhdGUiOiIyMDE4LTAzLTMxVDIzOjU5OjU5Ljk5OVoiLCJGb3JtYXQiOiJNTU0iLCJUeXBlIjoyLCJBdXRvRGF0ZVJhbmdlIjp0cnVlLCJXb3JraW5nRGF5cyI6MzEsIlRvZGF5TWFya2VyVGV4dCI6IlRvZGF5IiwiQXV0b1NjYWxlVHlwZSI6dHJ1ZX0sIk1pbGVzdG9uZXMiOlt7IiRpZCI6IjEyMyIsIkRhdGUiOiIyMDE3LTEwLTMxVDIzOjU5OjU5Ljk5OVoiLCJTdHlsZSI6eyIkaWQiOiIxMjQiLCJTaGFwZSI6MiwiQ29ubmVjdG9yTWFyZ2luIjp7IiRyZWYiOiI1NCJ9LCJDb25uZWN0b3JTdHlsZSI6eyIkaWQiOiIxMjUiLCJMaW5lQ29sb3IiOnsiJGlkIjoiMTI2IiwiJHR5cGUiOiJOTFJFLkNvbW1vbi5Eb20uU29saWRDb2xvckJydXNoLCBOTFJFLkNvbW1vbiIsIkNvbG9yIjp7IiRpZCI6IjEyNyIsIkEiOjEyNywiUiI6MCwiRyI6MTE0LCJCIjoxODh9fSwiTGluZVdlaWdodCI6MS4wLCJMaW5lVHlwZSI6MCwiUGFyZW50U3R5bGUiOnsiJHJlZiI6IjU1In19LCJJc0JlbG93VGltZWJhbmQiOmZhbHNlLCJIaWRlRGF0ZSI6ZmFsc2UsIlNoYXBlU2l6ZSI6MSwiU3BhY2luZyI6Mi4wLCJQYWRkaW5nIjp7IiRyZWYiOiI1OCJ9LCJTaGFwZVN0eWxlIjp7IiRpZCI6IjEyOCIsIk1hcmdpbiI6eyIkcmVmIjoiNjAifSwiUGFkZGluZyI6eyIkcmVmIjoiNjEifSwiQmFja2dyb3VuZCI6eyIkaWQiOiIxMjkiLCJDb2xvciI6eyIkaWQiOiIxMzAiLCJBIjoyNTUsIlIiOjAsIkciOjExNCwiQiI6MTg4fX0sIklzVmlzaWJsZSI6dHJ1ZSwiV2lkdGgiOjEzLjAsIkhlaWdodCI6MTMuMCwiQm9yZGVyU3R5bGUiOnsiJGlkIjoiMTMxIiwiTGluZUNvbG9yIjp7IiRyZWYiOiI2MyJ9LCJMaW5lV2VpZ2h0IjowLjAsIkxpbmVUeXBlIjowLCJQYXJlbnRTdHlsZSI6eyIkcmVmIjoiNjIifX0sIlBhcmVudFN0eWxlIjp7IiRyZWYiOiI1OSJ9fSwiVGl0bGVTdHlsZSI6eyIkaWQiOiIxMzIiLCJGb250U2V0dGluZ3MiOnsiJGlkIjoiMTMzIiwiRm9udFNpemUiOjExLCJGb250TmFtZSI6IkNhbGlicmkiLCJJc0JvbGQiOnRydWUsIklzSXRhbGljIjpmYWxzZSwiSXNVbmRlcmxpbmVkIjpmYWxzZSwiUGFyZW50U3R5bGUiOnsiJHJlZiI6IjY2In19LCJBdXRvU2l6ZSI6MCwiRm9yZWdyb3VuZCI6eyIkcmVmIjoiNjcifSwiTWF4V2lkdGgiOjIwMC4w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xMzQiLCJMaW5lQ29sb3IiOm51bGwsIkxpbmVXZWlnaHQiOjAuMCwiTGluZVR5cGUiOjAsIlBhcmVudFN0eWxlIjpudWxsfSwiUGFyZW50U3R5bGUiOnsiJHJlZiI6IjY1In19LCJEYXRlU3R5bGUiOnsiJGlkIjoiMTM1IiwiRm9udFNldHRpbmdzIjp7IiRpZCI6IjEzNi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zNyIsIkxpbmVDb2xvciI6bnVsbCwiTGluZVdlaWdodCI6MC4wLCJMaW5lVHlwZSI6MCwiUGFyZW50U3R5bGUiOm51bGx9LCJQYXJlbnRTdHlsZSI6eyIkcmVmIjoiNzIifX0sIkRhdGVGb3JtYXQiOnsiJHJlZiI6Ijc5In0sIklzVmlzaWJsZSI6dHJ1ZSwiUGFyZW50U3R5bGUiOnsiJHJlZiI6IjUzIn19LCJQb3NpdGlvbiI6eyJSYXRpbyI6MC4wLCJJc0N1c3RvbSI6ZmFsc2V9LCJJZCI6Ijg4NTFlMjIyLThiM2UtNGZjMC05ODFjLWExYTI5YWIzN2ZhMyIsIkltcG9ydElkIjpudWxsLCJUaXRsZSI6Ik1pbmRzcGhlcmUgMi4wLiBBZGFwdGVyIE1WUCIsIk5vdGUiOm51bGwsIkh5cGVybGluayI6bnVsbCwiSXNDaGFuZ2VkIjpmYWxzZSwiSXNOZXciOmZhbHNlfSx7IiRpZCI6IjEzOCIsIkRhdGUiOiIyMDE3LTExLTMwVDIzOjU5OjU5Ljk5OVoiLCJTdHlsZSI6eyIkaWQiOiIxMzkiLCJTaGFwZSI6MiwiQ29ubmVjdG9yTWFyZ2luIjp7IiRyZWYiOiI1NCJ9LCJDb25uZWN0b3JTdHlsZSI6eyIkaWQiOiIxNDAiLCJMaW5lQ29sb3IiOnsiJGlkIjoiMTQxIiwiJHR5cGUiOiJOTFJFLkNvbW1vbi5Eb20uU29saWRDb2xvckJydXNoLCBOTFJFLkNvbW1vbiIsIkNvbG9yIjp7IiRpZCI6IjE0MiIsIkEiOjEyNywiUiI6MjM1LCJHIjoxMjAsIkIiOjEwfX0sIkxpbmVXZWlnaHQiOjEuMCwiTGluZVR5cGUiOjAsIlBhcmVudFN0eWxlIjp7IiRyZWYiOiI1NSJ9fSwiSXNCZWxvd1RpbWViYW5kIjpmYWxzZSwiSGlkZURhdGUiOmZhbHNlLCJTaGFwZVNpemUiOjEsIlNwYWNpbmciOjIuMCwiUGFkZGluZyI6eyIkcmVmIjoiNTgifSwiU2hhcGVTdHlsZSI6eyIkaWQiOiIxNDMiLCJNYXJnaW4iOnsiJHJlZiI6IjYwIn0sIlBhZGRpbmciOnsiJHJlZiI6IjYxIn0sIkJhY2tncm91bmQiOnsiJGlkIjoiMTQ0IiwiQ29sb3IiOnsiJGlkIjoiMTQ1IiwiQSI6MjU1LCJSIjoyMzUsIkciOjEyMCwiQiI6MTB9fSwiSXNWaXNpYmxlIjp0cnVlLCJXaWR0aCI6MTMuMCwiSGVpZ2h0IjoxMy4wLCJCb3JkZXJTdHlsZSI6eyIkaWQiOiIxNDYiLCJMaW5lQ29sb3IiOnsiJHJlZiI6IjYzIn0sIkxpbmVXZWlnaHQiOjAuMCwiTGluZVR5cGUiOjAsIlBhcmVudFN0eWxlIjp7IiRyZWYiOiI2MiJ9fSwiUGFyZW50U3R5bGUiOnsiJHJlZiI6IjU5In19LCJUaXRsZVN0eWxlIjp7IiRpZCI6IjE0NyIsIkZvbnRTZXR0aW5ncyI6eyIkaWQiOiIxNDgiLCJGb250U2l6ZSI6MTEsIkZvbnROYW1lIjoiQ2FsaWJyaSIsIklzQm9sZCI6dHJ1ZSwiSXNJdGFsaWMiOmZhbHNlLCJJc1VuZGVybGluZWQiOmZhbHNlLCJQYXJlbnRTdHlsZSI6eyIkcmVmIjoiNjYifX0sIkF1dG9TaXplIjoyLCJGb3JlZ3JvdW5kIjp7IiRyZWYiOiI2NyJ9LCJNYXhXaWR0aCI6MTU1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0OSIsIkxpbmVDb2xvciI6bnVsbCwiTGluZVdlaWdodCI6MC4wLCJMaW5lVHlwZSI6MCwiUGFyZW50U3R5bGUiOm51bGx9LCJQYXJlbnRTdHlsZSI6eyIkcmVmIjoiNjUifX0sIkRhdGVTdHlsZSI6eyIkaWQiOiIxNTAiLCJGb250U2V0dGluZ3MiOnsiJGlkIjoiMTU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U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Tg4ZTkxMjMtNDkyMC00ZDVjLWJlN2MtYTZkYmI1ODgyZGU0IiwiSW1wb3J0SWQiOm51bGwsIlRpdGxlIjoiTWluZHNwaGVyZSAzLjAuIEFQSSBBdmFpbGFiaWxpdHkgZm9yIE1pbmRzcGhlcmUgMy4wLiBBZGFwdGVyIE1WUCIsIk5vdGUiOm51bGwsIkh5cGVybGluayI6bnVsbCwiSXNDaGFuZ2VkIjpmYWxzZSwiSXNOZXciOmZhbHNlfSx7IiRpZCI6IjE1MyIsIkRhdGUiOiIyMDE3LTEyLTMxVDIzOjU5OjU5Ljk5OVoiLCJTdHlsZSI6eyIkaWQiOiIxNTQiLCJTaGFwZSI6MiwiQ29ubmVjdG9yTWFyZ2luIjp7IiRyZWYiOiI1NCJ9LCJDb25uZWN0b3JTdHlsZSI6eyIkaWQiOiIxNTUiLCJMaW5lQ29sb3IiOnsiJGlkIjoiMTU2IiwiJHR5cGUiOiJOTFJFLkNvbW1vbi5Eb20uU29saWRDb2xvckJydXNoLCBOTFJFLkNvbW1vbiIsIkNvbG9yIjp7IiRpZCI6IjE1NyIsIkEiOjEyNywiUiI6MTM1LCJHIjoxNTUsIkIiOjE3MH19LCJMaW5lV2VpZ2h0IjoxLjAsIkxpbmVUeXBlIjowLCJQYXJlbnRTdHlsZSI6eyIkcmVmIjoiNTUifX0sIklzQmVsb3dUaW1lYmFuZCI6ZmFsc2UsIkhpZGVEYXRlIjpmYWxzZSwiU2hhcGVTaXplIjoxLCJTcGFjaW5nIjoyLjAsIlBhZGRpbmciOnsiJHJlZiI6IjU4In0sIlNoYXBlU3R5bGUiOnsiJGlkIjoiMTU4IiwiTWFyZ2luIjp7IiRyZWYiOiI2MCJ9LCJQYWRkaW5nIjp7IiRyZWYiOiI2MSJ9LCJCYWNrZ3JvdW5kIjp7IiRpZCI6IjE1OSIsIkNvbG9yIjp7IiRpZCI6IjE2MCIsIkEiOjI1NSwiUiI6MTM1LCJHIjoxNTUsIkIiOjE3MH19LCJJc1Zpc2libGUiOnRydWUsIldpZHRoIjoxMy4wLCJIZWlnaHQiOjEzLjAsIkJvcmRlclN0eWxlIjp7IiRpZCI6IjE2MSIsIkxpbmVDb2xvciI6eyIkcmVmIjoiNjMifSwiTGluZVdlaWdodCI6MC4wLCJMaW5lVHlwZSI6MCwiUGFyZW50U3R5bGUiOnsiJHJlZiI6IjYyIn19LCJQYXJlbnRTdHlsZSI6eyIkcmVmIjoiNTkifX0sIlRpdGxlU3R5bGUiOnsiJGlkIjoiMTYyIiwiRm9udFNldHRpbmdzIjp7IiRpZCI6IjE2MyIsIkZvbnRTaXplIjoxMSwiRm9udE5hbWUiOiJDYWxpYnJpIiwiSXNCb2xkIjp0cnVlLCJJc0l0YWxpYyI6ZmFsc2UsIklzVW5kZXJsaW5lZCI6ZmFsc2UsIlBhcmVudFN0eWxlIjp7IiRyZWYiOiI2NiJ9fSwiQXV0b1NpemUiOjAsIkZvcmVncm91bmQiOnsiJHJlZiI6IjY3In0sIk1heFdpZHRoIjoyMDAuMCwiTWF4SGVpZ2h0IjoiSW5maW5pdHkiLCJTbWFydEZvcmVncm91bmRJc0FjdGl2ZSI6ZmFsc2UsIkhvcml6b250YWxBbGlnbm1lbnQiOjEsIlZlcnRpY2FsQWxpZ25tZW50IjowLCJTbWFydEZvcmVncm91bmQiOm51bGwsIk1hcmdpbiI6eyIkcmVmIjoiNjkifSwiUGFkZGluZyI6eyIkcmVmIjoiNzAifSwiQmFja2dyb3VuZCI6eyIkcmVmIjoiNzEifSwiSXNWaXNpYmxlIjp0cnVlLCJXaWR0aCI6MC4wLCJIZWlnaHQiOjAuMCwiQm9yZGVyU3R5bGUiOnsiJGlkIjoiMTY0IiwiTGluZUNvbG9yIjpudWxsLCJMaW5lV2VpZ2h0IjowLjAsIkxpbmVUeXBlIjowLCJQYXJlbnRTdHlsZSI6bnVsbH0sIlBhcmVudFN0eWxlIjp7IiRyZWYiOiI2NSJ9fSwiRGF0ZVN0eWxlIjp7IiRpZCI6IjE2NSIsIkZvbnRTZXR0aW5ncyI6eyIkaWQiOiIxNjYiLCJGb250U2l6ZSI6MTAsIkZvbnROYW1lIjoiQ2FsaWJyaSIsIklzQm9sZCI6ZmFsc2UsIklzSXRhbGljIjpmYWxzZSwiSXNVbmRlcmxpbmVkIjpmYWxzZSwiUGFyZW50U3R5bGUiOnsiJHJlZiI6IjczIn19LCJBdXRvU2l6ZSI6MCwiRm9yZWdyb3VuZCI6eyIkcmVmIjoiNzQifSwiTWF4V2lkdGgiOjIwMC4wLCJNYXhIZWlnaHQiOiJJbmZpbml0eSIsIlNtYXJ0Rm9yZWdyb3VuZElzQWN0aXZlIjpmYWxzZSwiSG9yaXpvbnRhbEFsaWdubWVudCI6MCwiVmVydGljYWxBbGlnbm1lbnQiOjAsIlNtYXJ0Rm9yZWdyb3VuZCI6bnVsbCwiTWFyZ2luIjp7IiRyZWYiOiI3NiJ9LCJQYWRkaW5nIjp7IiRyZWYiOiI3NyJ9LCJCYWNrZ3JvdW5kIjp7IiRyZWYiOiI3OCJ9LCJJc1Zpc2libGUiOnRydWUsIldpZHRoIjowLjAsIkhlaWdodCI6MC4wLCJCb3JkZXJTdHlsZSI6eyIkaWQiOiIxNjciLCJMaW5lQ29sb3IiOm51bGwsIkxpbmVXZWlnaHQiOjAuMCwiTGluZVR5cGUiOjAsIlBhcmVudFN0eWxlIjpudWxsfSwiUGFyZW50U3R5bGUiOnsiJHJlZiI6IjcyIn19LCJEYXRlRm9ybWF0Ijp7IiRyZWYiOiI3OSJ9LCJJc1Zpc2libGUiOnRydWUsIlBhcmVudFN0eWxlIjp7IiRyZWYiOiI1MyJ9fSwiUG9zaXRpb24iOnsiUmF0aW8iOjAuMCwiSXNDdXN0b20iOmZhbHNlfSwiSWQiOiIwMjg4ODFiZi1jM2NjLTQ2YWMtYTM0MS1iZTk2NzBjOTJmYWUiLCJJbXBvcnRJZCI6bnVsbCwiVGl0bGUiOiJNaW5kc3BoZXJlIDIuMC4gQWRhcHRlciBGdWxsIiwiTm90ZSI6bnVsbCwiSHlwZXJsaW5rIjpudWxsLCJJc0NoYW5nZWQiOmZhbHNlLCJJc05ldyI6ZmFsc2V9LHsiJGlkIjoiMTY4IiwiRGF0ZSI6IjIwMTgtMDMtMzFUMjM6NTk6NTkuOTk5WiIsIlN0eWxlIjp7IiRpZCI6IjE2OSIsIlNoYXBlIjoyLCJDb25uZWN0b3JNYXJnaW4iOnsiJHJlZiI6IjU0In0sIkNvbm5lY3RvclN0eWxlIjp7IiRpZCI6IjE3MCIsIkxpbmVDb2xvciI6eyIkaWQiOiIxNzEiLCIkdHlwZSI6Ik5MUkUuQ29tbW9uLkRvbS5Tb2xpZENvbG9yQnJ1c2gsIE5MUkUuQ29tbW9uIiwiQ29sb3IiOnsiJGlkIjoiMTcyIiwiQSI6MTI3LCJSIjoxOTAsIkciOjIwNSwiQiI6MjE1fX0sIkxpbmVXZWlnaHQiOjEuMCwiTGluZVR5cGUiOjAsIlBhcmVudFN0eWxlIjp7IiRyZWYiOiI1NSJ9fSwiSXNCZWxvd1RpbWViYW5kIjpmYWxzZSwiSGlkZURhdGUiOmZhbHNlLCJTaGFwZVNpemUiOjEsIlNwYWNpbmciOjIuMCwiUGFkZGluZyI6eyIkcmVmIjoiNTgifSwiU2hhcGVTdHlsZSI6eyIkaWQiOiIxNzMiLCJNYXJnaW4iOnsiJHJlZiI6IjYwIn0sIlBhZGRpbmciOnsiJHJlZiI6IjYxIn0sIkJhY2tncm91bmQiOnsiJGlkIjoiMTc0IiwiQ29sb3IiOnsiJGlkIjoiMTc1IiwiQSI6MjU1LCJSIjoxOTAsIkciOjIwNSwiQiI6MjE1fX0sIklzVmlzaWJsZSI6dHJ1ZSwiV2lkdGgiOjEzLjAsIkhlaWdodCI6MTMuMCwiQm9yZGVyU3R5bGUiOnsiJGlkIjoiMTc2IiwiTGluZUNvbG9yIjp7IiRyZWYiOiI2MyJ9LCJMaW5lV2VpZ2h0IjowLjAsIkxpbmVUeXBlIjowLCJQYXJlbnRTdHlsZSI6eyIkcmVmIjoiNjIifX0sIlBhcmVudFN0eWxlIjp7IiRyZWYiOiI1OSJ9fSwiVGl0bGVTdHlsZSI6eyIkaWQiOiIxNzciLCJGb250U2V0dGluZ3MiOnsiJGlkIjoiMTc4IiwiRm9udFNpemUiOjExLCJGb250TmFtZSI6IkNhbGlicmkiLCJJc0JvbGQiOnRydWUsIklzSXRhbGljIjpmYWxzZSwiSXNVbmRlcmxpbmVkIjpmYWxzZSwiUGFyZW50U3R5bGUiOnsiJHJlZiI6IjY2In19LCJBdXRvU2l6ZSI6MiwiRm9yZWdyb3VuZCI6eyIkcmVmIjoiNjcifSwiTWF4V2lkdGgiOjQx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3OSIsIkxpbmVDb2xvciI6bnVsbCwiTGluZVdlaWdodCI6MC4wLCJMaW5lVHlwZSI6MCwiUGFyZW50U3R5bGUiOm51bGx9LCJQYXJlbnRTdHlsZSI6eyIkcmVmIjoiNjUifX0sIkRhdGVTdHlsZSI6eyIkaWQiOiIxODAiLCJGb250U2V0dGluZ3MiOnsiJGlkIjoiMTg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g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WExYjAzZDMtNTY1ZC00MGM5LWJjMWQtNDc4YTczYTA4NjgwIiwiSW1wb3J0SWQiOm51bGwsIlRpdGxlIjoiTWluZHNwaGVyZSAzLjAuIEFkYXB0ZXIgTVZQIiwiTm90ZSI6bnVsbCwiSHlwZXJsaW5rIjpudWxsLCJJc0NoYW5nZWQiOmZhbHNlLCJJc05ldyI6ZmFsc2V9XSwiVGFza3MiOlt7IiRpZCI6IjE4MyIsIkdyb3VwTmFtZSI6bnVsbCwiU3RhcnREYXRlIjoiMjAxNy0wOC0xMVQwMDowMDowMFoiLCJFbmREYXRlIjoiMjAxNy0wOC0zMVQyMzo1OTo1OS45OTlaIiwiUGVyY2VudGFnZUNvbXBsZXRlIjpudWxsLCJTdHlsZSI6eyIkaWQiOiIxODQiLCJTaGFwZSI6MSwiU2hhcGVUaGlja25lc3MiOjEsIkR1cmF0aW9uRm9ybWF0IjowLCJJbmNsdWRlTm9uV29ya2luZ0RheXNJbkR1cmF0aW9uIjp0cnVlLCJQZXJjZW50YWdlQ29tcGxldGVTdHlsZSI6eyIkaWQiOiIxODUiLCJGb250U2V0dGluZ3MiOnsiJGlkIjoiMTg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Tg3IiwiTGluZUNvbG9yIjpudWxsLCJMaW5lV2VpZ2h0IjowLjAsIkxpbmVUeXBlIjowLCJQYXJlbnRTdHlsZSI6bnVsbH0sIlBhcmVudFN0eWxlIjp7IiRyZWYiOiI4MSJ9fSwiRHVyYXRpb25TdHlsZSI6eyIkaWQiOiIxODgiLCJGb250U2V0dGluZ3MiOnsiJGlkIjoiMTg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TkwIiwiTGluZUNvbG9yIjpudWxsLCJMaW5lV2VpZ2h0IjowLjAsIkxpbmVUeXBlIjowLCJQYXJlbnRTdHlsZSI6bnVsbH0sIlBhcmVudFN0eWxlIjp7IiRyZWYiOiI4OCJ9fSwiSG9yaXpvbnRhbENvbm5lY3RvclN0eWxlIjp7IiRpZCI6IjE5MSIsIkxpbmVDb2xvciI6eyIkcmVmIjoiOTYifSwiTGluZVdlaWdodCI6MC4wLCJMaW5lVHlwZSI6MCwiUGFyZW50U3R5bGUiOnsiJHJlZiI6Ijk1In19LCJWZXJ0aWNhbENvbm5lY3RvclN0eWxlIjp7IiRpZCI6IjE5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xOTMiLCJNYXJnaW4iOnsiJHJlZiI6IjEwMiJ9LCJQYWRkaW5nIjp7IiRyZWYiOiIxMDMifSwiQmFja2dyb3VuZCI6eyIkaWQiOiIxOTQiLCJDb2xvciI6eyIkaWQiOiIxOTUiLCJBIjoyNTUsIlIiOjE5MCwiRyI6MjA1LCJCIjoyMTV9fSwiSXNWaXNpYmxlIjp0cnVlLCJXaWR0aCI6MC4wLCJIZWlnaHQiOjE2LjAsIkJvcmRlclN0eWxlIjp7IiRpZCI6IjE5NiIsIkxpbmVDb2xvciI6eyIkcmVmIjoiMTA1In0sIkxpbmVXZWlnaHQiOjAuMCwiTGluZVR5cGUiOjAsIlBhcmVudFN0eWxlIjp7IiRyZWYiOiIxMDQifX0sIlBhcmVudFN0eWxlIjp7IiRyZWYiOiIxMDEifX0sIlRpdGxlU3R5bGUiOnsiJGlkIjoiMTk3IiwiRm9udFNldHRpbmdzIjp7IiRpZCI6IjE5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xOTkiLCJMaW5lQ29sb3IiOm51bGwsIkxpbmVXZWlnaHQiOjAuMCwiTGluZVR5cGUiOjAsIlBhcmVudFN0eWxlIjpudWxsfSwiUGFyZW50U3R5bGUiOnsiJHJlZiI6IjEwNyJ9fSwiRGF0ZVN0eWxlIjp7IiRpZCI6IjIwMCIsIkZvbnRTZXR0aW5ncyI6eyIkaWQiOiIyM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wMiIsIkxpbmVDb2xvciI6bnVsbCwiTGluZVdlaWdodCI6MC4wLCJMaW5lVHlwZSI6MCwiUGFyZW50U3R5bGUiOm51bGx9LCJQYXJlbnRTdHlsZSI6eyIkcmVmIjoiMTE0In19LCJEYXRlRm9ybWF0Ijp7IiRyZWYiOiIxMjEifSwiSXNWaXNpYmxlIjp0cnVlLCJQYXJlbnRTdHlsZSI6eyIkcmVmIjoiODAifX0sIkluZGV4IjoxLCJJZCI6IjlkMDY5NzgyLTdiYTUtNDg3Ny04Zjk5LTRiMWY4OWUyOWQ5ZCIsIkltcG9ydElkIjpudWxsLCJUaXRsZSI6Ik1pbmRzcGhlcmUgMi4wLiBNVlAgU3BlY2lmaWNhdGlvbiIsIk5vdGUiOm51bGwsIkh5cGVybGluayI6bnVsbCwiSXNDaGFuZ2VkIjpmYWxzZSwiSXNOZXciOmZhbHNlfSx7IiRpZCI6IjIwMyIsIkdyb3VwTmFtZSI6bnVsbCwiU3RhcnREYXRlIjoiMjAxNy0wOS0wMVQwMDowMDowMFoiLCJFbmREYXRlIjoiMjAxNy0xMC0zMVQyMzo1OTo1OS45OTlaIiwiUGVyY2VudGFnZUNvbXBsZXRlIjpudWxsLCJTdHlsZSI6eyIkaWQiOiIyMDQiLCJTaGFwZSI6MSwiU2hhcGVUaGlja25lc3MiOjIsIkR1cmF0aW9uRm9ybWF0IjowLCJJbmNsdWRlTm9uV29ya2luZ0RheXNJbkR1cmF0aW9uIjp0cnVlLCJQZXJjZW50YWdlQ29tcGxldGVTdHlsZSI6eyIkaWQiOiIyMDUiLCJGb250U2V0dGluZ3MiOnsiJGlkIjoiMjA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A3IiwiTGluZUNvbG9yIjpudWxsLCJMaW5lV2VpZ2h0IjowLjAsIkxpbmVUeXBlIjowLCJQYXJlbnRTdHlsZSI6bnVsbH0sIlBhcmVudFN0eWxlIjp7IiRyZWYiOiI4MSJ9fSwiRHVyYXRpb25TdHlsZSI6eyIkaWQiOiIyMDgiLCJGb250U2V0dGluZ3MiOnsiJGlkIjoiMjA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EwIiwiTGluZUNvbG9yIjpudWxsLCJMaW5lV2VpZ2h0IjowLjAsIkxpbmVUeXBlIjowLCJQYXJlbnRTdHlsZSI6bnVsbH0sIlBhcmVudFN0eWxlIjp7IiRyZWYiOiI4OCJ9fSwiSG9yaXpvbnRhbENvbm5lY3RvclN0eWxlIjp7IiRpZCI6IjIxMSIsIkxpbmVDb2xvciI6eyIkcmVmIjoiOTYifSwiTGluZVdlaWdodCI6MC4wLCJMaW5lVHlwZSI6MCwiUGFyZW50U3R5bGUiOnsiJHJlZiI6Ijk1In19LCJWZXJ0aWNhbENvbm5lY3RvclN0eWxlIjp7IiRpZCI6IjIx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MTMiLCJNYXJnaW4iOnsiJHJlZiI6IjEwMiJ9LCJQYWRkaW5nIjp7IiRyZWYiOiIxMDMifSwiQmFja2dyb3VuZCI6eyIkaWQiOiIyMTQiLCJDb2xvciI6eyIkaWQiOiIyMTUiLCJBIjoyNTUsIlIiOjExNSwiRyI6MTE1LCJCIjoxMTV9fSwiSXNWaXNpYmxlIjp0cnVlLCJXaWR0aCI6MC4wLCJIZWlnaHQiOjIyLjAsIkJvcmRlclN0eWxlIjp7IiRpZCI6IjIxNiIsIkxpbmVDb2xvciI6eyIkcmVmIjoiMTA1In0sIkxpbmVXZWlnaHQiOjAuMCwiTGluZVR5cGUiOjAsIlBhcmVudFN0eWxlIjp7IiRyZWYiOiIxMDQifX0sIlBhcmVudFN0eWxlIjp7IiRyZWYiOiIxMDEifX0sIlRpdGxlU3R5bGUiOnsiJGlkIjoiMjE3IiwiRm9udFNldHRpbmdzIjp7IiRpZCI6IjIx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TkiLCJMaW5lQ29sb3IiOm51bGwsIkxpbmVXZWlnaHQiOjAuMCwiTGluZVR5cGUiOjAsIlBhcmVudFN0eWxlIjpudWxsfSwiUGFyZW50U3R5bGUiOnsiJHJlZiI6IjEwNyJ9fSwiRGF0ZVN0eWxlIjp7IiRpZCI6IjIyMCIsIkZvbnRTZXR0aW5ncyI6eyIkaWQiOiIyMj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yMiIsIkxpbmVDb2xvciI6bnVsbCwiTGluZVdlaWdodCI6MC4wLCJMaW5lVHlwZSI6MCwiUGFyZW50U3R5bGUiOm51bGx9LCJQYXJlbnRTdHlsZSI6eyIkcmVmIjoiMTE0In19LCJEYXRlRm9ybWF0Ijp7IiRyZWYiOiIxMjEifSwiSXNWaXNpYmxlIjp0cnVlLCJQYXJlbnRTdHlsZSI6eyIkcmVmIjoiODAifX0sIkluZGV4IjoyLCJJZCI6IjE4NjY2MDFhLWZjMGItNGM4YS1iNTdhLTAxZDA1OTE3NGJmMyIsIkltcG9ydElkIjpudWxsLCJUaXRsZSI6Ik1pbmRzcGhlcmUgMi4wLiBNVlAgSW1wbGVtZW50YXRpb24iLCJOb3RlIjpudWxsLCJIeXBlcmxpbmsiOm51bGwsIklzQ2hhbmdlZCI6ZmFsc2UsIklzTmV3IjpmYWxzZX0seyIkaWQiOiIyMjMiLCJHcm91cE5hbWUiOm51bGwsIlN0YXJ0RGF0ZSI6IjIwMTctMDktMDFUMDA6MDA6MDBaIiwiRW5kRGF0ZSI6IjIwMTctMTAtMzFUMjM6NTk6NTkuOTk5WiIsIlBlcmNlbnRhZ2VDb21wbGV0ZSI6bnVsbCwiU3R5bGUiOnsiJGlkIjoiMjI0IiwiU2hhcGUiOjEsIlNoYXBlVGhpY2tuZXNzIjoxLCJEdXJhdGlvbkZvcm1hdCI6MCwiSW5jbHVkZU5vbldvcmtpbmdEYXlzSW5EdXJhdGlvbiI6dHJ1ZSwiUGVyY2VudGFnZUNvbXBsZXRlU3R5bGUiOnsiJGlkIjoiMjI1IiwiRm9udFNldHRpbmdzIjp7IiRpZCI6IjIy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yNyIsIkxpbmVDb2xvciI6bnVsbCwiTGluZVdlaWdodCI6MC4wLCJMaW5lVHlwZSI6MCwiUGFyZW50U3R5bGUiOm51bGx9LCJQYXJlbnRTdHlsZSI6eyIkcmVmIjoiODEifX0sIkR1cmF0aW9uU3R5bGUiOnsiJGlkIjoiMjI4IiwiRm9udFNldHRpbmdzIjp7IiRpZCI6IjIy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zMCIsIkxpbmVDb2xvciI6bnVsbCwiTGluZVdlaWdodCI6MC4wLCJMaW5lVHlwZSI6MCwiUGFyZW50U3R5bGUiOm51bGx9LCJQYXJlbnRTdHlsZSI6eyIkcmVmIjoiODgifX0sIkhvcml6b250YWxDb25uZWN0b3JTdHlsZSI6eyIkaWQiOiIyMzEiLCJMaW5lQ29sb3IiOnsiJHJlZiI6Ijk2In0sIkxpbmVXZWlnaHQiOjAuMCwiTGluZVR5cGUiOjAsIlBhcmVudFN0eWxlIjp7IiRyZWYiOiI5NSJ9fSwiVmVydGljYWxDb25uZWN0b3JTdHlsZSI6eyIkaWQiOiIyM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MzIiwiTWFyZ2luIjp7IiRyZWYiOiIxMDIifSwiUGFkZGluZyI6eyIkcmVmIjoiMTAzIn0sIkJhY2tncm91bmQiOnsiJGlkIjoiMjM0IiwiQ29sb3IiOnsiJGlkIjoiMjM1IiwiQSI6MjU1LCJSIjoyNTQsIkciOjE4NiwiQiI6MTB9fSwiSXNWaXNpYmxlIjp0cnVlLCJXaWR0aCI6MC4wLCJIZWlnaHQiOjE2LjAsIkJvcmRlclN0eWxlIjp7IiRpZCI6IjIzNiIsIkxpbmVDb2xvciI6eyIkcmVmIjoiMTA1In0sIkxpbmVXZWlnaHQiOjAuMCwiTGluZVR5cGUiOjAsIlBhcmVudFN0eWxlIjp7IiRyZWYiOiIxMDQifX0sIlBhcmVudFN0eWxlIjp7IiRyZWYiOiIxMDEifX0sIlRpdGxlU3R5bGUiOnsiJGlkIjoiMjM3IiwiRm9udFNldHRpbmdzIjp7IiRpZCI6IjIz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zkiLCJMaW5lQ29sb3IiOm51bGwsIkxpbmVXZWlnaHQiOjAuMCwiTGluZVR5cGUiOjAsIlBhcmVudFN0eWxlIjpudWxsfSwiUGFyZW50U3R5bGUiOnsiJHJlZiI6IjEwNyJ9fSwiRGF0ZVN0eWxlIjp7IiRpZCI6IjI0MCIsIkZvbnRTZXR0aW5ncyI6eyIkaWQiOiIyN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0MiIsIkxpbmVDb2xvciI6bnVsbCwiTGluZVdlaWdodCI6MC4wLCJMaW5lVHlwZSI6MCwiUGFyZW50U3R5bGUiOm51bGx9LCJQYXJlbnRTdHlsZSI6eyIkcmVmIjoiMTE0In19LCJEYXRlRm9ybWF0Ijp7IiRyZWYiOiIxMjEifSwiSXNWaXNpYmxlIjp0cnVlLCJQYXJlbnRTdHlsZSI6eyIkcmVmIjoiODAifX0sIkluZGV4IjozLCJJZCI6ImY5NWYxMTI4LTllZmUtNDc1NS1hMjVkLTBkNDdhN2MyMzhiMyIsIkltcG9ydElkIjpudWxsLCJUaXRsZSI6Ik1pbmRzcGhlcmUgMi4wLiBGdWxsIC0gU3BlY2lmaWNhdGlvbiIsIk5vdGUiOm51bGwsIkh5cGVybGluayI6bnVsbCwiSXNDaGFuZ2VkIjpmYWxzZSwiSXNOZXciOmZhbHNlfSx7IiRpZCI6IjI0MyIsIkdyb3VwTmFtZSI6bnVsbCwiU3RhcnREYXRlIjoiMjAxNy0xMC0zMVQwMDowMDowMFoiLCJFbmREYXRlIjoiMjAxNy0xMi0zMVQyMzo1OTo1OS45OTlaIiwiUGVyY2VudGFnZUNvbXBsZXRlIjpudWxsLCJTdHlsZSI6eyIkaWQiOiIyNDQiLCJTaGFwZSI6MSwiU2hhcGVUaGlja25lc3MiOjIsIkR1cmF0aW9uRm9ybWF0IjowLCJJbmNsdWRlTm9uV29ya2luZ0RheXNJbkR1cmF0aW9uIjp0cnVlLCJQZXJjZW50YWdlQ29tcGxldGVTdHlsZSI6eyIkaWQiOiIyNDUiLCJGb250U2V0dGluZ3MiOnsiJGlkIjoiMjQ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Q3IiwiTGluZUNvbG9yIjpudWxsLCJMaW5lV2VpZ2h0IjowLjAsIkxpbmVUeXBlIjowLCJQYXJlbnRTdHlsZSI6bnVsbH0sIlBhcmVudFN0eWxlIjp7IiRyZWYiOiI4MSJ9fSwiRHVyYXRpb25TdHlsZSI6eyIkaWQiOiIyNDgiLCJGb250U2V0dGluZ3MiOnsiJGlkIjoiMjQ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UwIiwiTGluZUNvbG9yIjpudWxsLCJMaW5lV2VpZ2h0IjowLjAsIkxpbmVUeXBlIjowLCJQYXJlbnRTdHlsZSI6bnVsbH0sIlBhcmVudFN0eWxlIjp7IiRyZWYiOiI4OCJ9fSwiSG9yaXpvbnRhbENvbm5lY3RvclN0eWxlIjp7IiRpZCI6IjI1MSIsIkxpbmVDb2xvciI6eyIkcmVmIjoiOTYifSwiTGluZVdlaWdodCI6MC4wLCJMaW5lVHlwZSI6MCwiUGFyZW50U3R5bGUiOnsiJHJlZiI6Ijk1In19LCJWZXJ0aWNhbENvbm5lY3RvclN0eWxlIjp7IiRpZCI6IjI1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NTMiLCJNYXJnaW4iOnsiJHJlZiI6IjEwMiJ9LCJQYWRkaW5nIjp7IiRyZWYiOiIxMDMifSwiQmFja2dyb3VuZCI6eyIkaWQiOiIyNTQiLCJDb2xvciI6eyIkaWQiOiIyNTUiLCJBIjoyNTUsIlIiOjIzNSwiRyI6MTIwLCJCIjoxMH19LCJJc1Zpc2libGUiOnRydWUsIldpZHRoIjowLjAsIkhlaWdodCI6MjIuMCwiQm9yZGVyU3R5bGUiOnsiJGlkIjoiMjU2IiwiTGluZUNvbG9yIjp7IiRyZWYiOiIxMDUifSwiTGluZVdlaWdodCI6MC4wLCJMaW5lVHlwZSI6MCwiUGFyZW50U3R5bGUiOnsiJHJlZiI6IjEwNCJ9fSwiUGFyZW50U3R5bGUiOnsiJHJlZiI6IjEwMSJ9fSwiVGl0bGVTdHlsZSI6eyIkaWQiOiIyNTciLCJGb250U2V0dGluZ3MiOnsiJGlkIjoiMjU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1OSIsIkxpbmVDb2xvciI6bnVsbCwiTGluZVdlaWdodCI6MC4wLCJMaW5lVHlwZSI6MCwiUGFyZW50U3R5bGUiOm51bGx9LCJQYXJlbnRTdHlsZSI6eyIkcmVmIjoiMTA3In19LCJEYXRlU3R5bGUiOnsiJGlkIjoiMjYwIiwiRm9udFNldHRpbmdzIjp7IiRpZCI6IjI2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YyIiwiTGluZUNvbG9yIjpudWxsLCJMaW5lV2VpZ2h0IjowLjAsIkxpbmVUeXBlIjowLCJQYXJlbnRTdHlsZSI6bnVsbH0sIlBhcmVudFN0eWxlIjp7IiRyZWYiOiIxMTQifX0sIkRhdGVGb3JtYXQiOnsiJHJlZiI6IjEyMSJ9LCJJc1Zpc2libGUiOnRydWUsIlBhcmVudFN0eWxlIjp7IiRyZWYiOiI4MCJ9fSwiSW5kZXgiOjQsIklkIjoiNzg5ZmNhMDctNGFhMC00YjA4LWJkNzItZDU0NzU3MDUxMGNkIiwiSW1wb3J0SWQiOm51bGwsIlRpdGxlIjoiTWluZHNwaGVyZSAyLjAuIEZ1bGwgSW1wbGVtZW50YXRpb24iLCJOb3RlIjpudWxsLCJIeXBlcmxpbmsiOm51bGwsIklzQ2hhbmdlZCI6ZmFsc2UsIklzTmV3IjpmYWxzZX0seyIkaWQiOiIyNjMiLCJHcm91cE5hbWUiOm51bGwsIlN0YXJ0RGF0ZSI6IjIwMTctMTItMDFUMDA6MDA6MDBaIiwiRW5kRGF0ZSI6IjIwMTgtMDEtMzFUMjM6NTk6NTkuOTk5WiIsIlBlcmNlbnRhZ2VDb21wbGV0ZSI6bnVsbCwiU3R5bGUiOnsiJGlkIjoiMjY0IiwiU2hhcGUiOjEsIlNoYXBlVGhpY2tuZXNzIjoxLCJEdXJhdGlvbkZvcm1hdCI6MCwiSW5jbHVkZU5vbldvcmtpbmdEYXlzSW5EdXJhdGlvbiI6dHJ1ZSwiUGVyY2VudGFnZUNvbXBsZXRlU3R5bGUiOnsiJGlkIjoiMjY1IiwiRm9udFNldHRpbmdzIjp7IiRpZCI6IjI2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2NyIsIkxpbmVDb2xvciI6bnVsbCwiTGluZVdlaWdodCI6MC4wLCJMaW5lVHlwZSI6MCwiUGFyZW50U3R5bGUiOm51bGx9LCJQYXJlbnRTdHlsZSI6eyIkcmVmIjoiODEifX0sIkR1cmF0aW9uU3R5bGUiOnsiJGlkIjoiMjY4IiwiRm9udFNldHRpbmdzIjp7IiRpZCI6IjI2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3MCIsIkxpbmVDb2xvciI6bnVsbCwiTGluZVdlaWdodCI6MC4wLCJMaW5lVHlwZSI6MCwiUGFyZW50U3R5bGUiOm51bGx9LCJQYXJlbnRTdHlsZSI6eyIkcmVmIjoiODgifX0sIkhvcml6b250YWxDb25uZWN0b3JTdHlsZSI6eyIkaWQiOiIyNzEiLCJMaW5lQ29sb3IiOnsiJHJlZiI6Ijk2In0sIkxpbmVXZWlnaHQiOjAuMCwiTGluZVR5cGUiOjAsIlBhcmVudFN0eWxlIjp7IiRyZWYiOiI5NSJ9fSwiVmVydGljYWxDb25uZWN0b3JTdHlsZSI6eyIkaWQiOiIyN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czIiwiTWFyZ2luIjp7IiRyZWYiOiIxMDIifSwiUGFkZGluZyI6eyIkcmVmIjoiMTAzIn0sIkJhY2tncm91bmQiOnsiJGlkIjoiMjc0IiwiQ29sb3IiOnsiJGlkIjoiMjc1IiwiQSI6MjU1LCJSIjoyLCJHIjoxNzgsIkIiOjIzOH19LCJJc1Zpc2libGUiOnRydWUsIldpZHRoIjowLjAsIkhlaWdodCI6MTYuMCwiQm9yZGVyU3R5bGUiOnsiJGlkIjoiMjc2IiwiTGluZUNvbG9yIjp7IiRyZWYiOiIxMDUifSwiTGluZVdlaWdodCI6MC4wLCJMaW5lVHlwZSI6MCwiUGFyZW50U3R5bGUiOnsiJHJlZiI6IjEwNCJ9fSwiUGFyZW50U3R5bGUiOnsiJHJlZiI6IjEwMSJ9fSwiVGl0bGVTdHlsZSI6eyIkaWQiOiIyNzciLCJGb250U2V0dGluZ3MiOnsiJGlkIjoiMjc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3OSIsIkxpbmVDb2xvciI6bnVsbCwiTGluZVdlaWdodCI6MC4wLCJMaW5lVHlwZSI6MCwiUGFyZW50U3R5bGUiOm51bGx9LCJQYXJlbnRTdHlsZSI6eyIkcmVmIjoiMTA3In19LCJEYXRlU3R5bGUiOnsiJGlkIjoiMjgwIiwiRm9udFNldHRpbmdzIjp7IiRpZCI6IjI4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gyIiwiTGluZUNvbG9yIjpudWxsLCJMaW5lV2VpZ2h0IjowLjAsIkxpbmVUeXBlIjowLCJQYXJlbnRTdHlsZSI6bnVsbH0sIlBhcmVudFN0eWxlIjp7IiRyZWYiOiIxMTQifX0sIkRhdGVGb3JtYXQiOnsiJHJlZiI6IjEyMSJ9LCJJc1Zpc2libGUiOnRydWUsIlBhcmVudFN0eWxlIjp7IiRyZWYiOiI4MCJ9fSwiSW5kZXgiOjUsIklkIjoiN2RkODM0ZDktZjkwZC00MWNmLWIzZTAtM2UzMjgxNzczZTFiIiwiSW1wb3J0SWQiOm51bGwsIlRpdGxlIjoiTWluZHNwaGVyZSAzLjAgTVZQIFNwZWNpZmljYXRpb24iLCJOb3RlIjpudWxsLCJIeXBlcmxpbmsiOm51bGwsIklzQ2hhbmdlZCI6ZmFsc2UsIklzTmV3IjpmYWxzZX0seyIkaWQiOiIyODMiLCJHcm91cE5hbWUiOm51bGwsIlN0YXJ0RGF0ZSI6IjIwMTgtMDEtMzFUMDA6MDA6MDBaIiwiRW5kRGF0ZSI6IjIwMTgtMDMtMzFUMjM6NTk6NTkuOTk5WiIsIlBlcmNlbnRhZ2VDb21wbGV0ZSI6bnVsbCwiU3R5bGUiOnsiJGlkIjoiMjg0IiwiU2hhcGUiOjEsIlNoYXBlVGhpY2tuZXNzIjoyLCJEdXJhdGlvbkZvcm1hdCI6MCwiSW5jbHVkZU5vbldvcmtpbmdEYXlzSW5EdXJhdGlvbiI6dHJ1ZSwiUGVyY2VudGFnZUNvbXBsZXRlU3R5bGUiOnsiJGlkIjoiMjg1IiwiRm9udFNldHRpbmdzIjp7IiRpZCI6IjI4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4NyIsIkxpbmVDb2xvciI6bnVsbCwiTGluZVdlaWdodCI6MC4wLCJMaW5lVHlwZSI6MCwiUGFyZW50U3R5bGUiOm51bGx9LCJQYXJlbnRTdHlsZSI6eyIkcmVmIjoiODEifX0sIkR1cmF0aW9uU3R5bGUiOnsiJGlkIjoiMjg4IiwiRm9udFNldHRpbmdzIjp7IiRpZCI6IjI4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5MCIsIkxpbmVDb2xvciI6bnVsbCwiTGluZVdlaWdodCI6MC4wLCJMaW5lVHlwZSI6MCwiUGFyZW50U3R5bGUiOm51bGx9LCJQYXJlbnRTdHlsZSI6eyIkcmVmIjoiODgifX0sIkhvcml6b250YWxDb25uZWN0b3JTdHlsZSI6eyIkaWQiOiIyOTEiLCJMaW5lQ29sb3IiOnsiJHJlZiI6Ijk2In0sIkxpbmVXZWlnaHQiOjAuMCwiTGluZVR5cGUiOjAsIlBhcmVudFN0eWxlIjp7IiRyZWYiOiI5NSJ9fSwiVmVydGljYWxDb25uZWN0b3JTdHlsZSI6eyIkaWQiOiIyOT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kzIiwiTWFyZ2luIjp7IiRyZWYiOiIxMDIifSwiUGFkZGluZyI6eyIkcmVmIjoiMTAzIn0sIkJhY2tncm91bmQiOnsiJGlkIjoiMjk0IiwiQ29sb3IiOnsiJGlkIjoiMjk1IiwiQSI6MjU1LCJSIjo0NywiRyI6NTQsIkIiOjE1M319LCJJc1Zpc2libGUiOnRydWUsIldpZHRoIjowLjAsIkhlaWdodCI6MjIuMCwiQm9yZGVyU3R5bGUiOnsiJGlkIjoiMjk2IiwiTGluZUNvbG9yIjp7IiRyZWYiOiIxMDUifSwiTGluZVdlaWdodCI6MC4wLCJMaW5lVHlwZSI6MCwiUGFyZW50U3R5bGUiOnsiJHJlZiI6IjEwNCJ9fSwiUGFyZW50U3R5bGUiOnsiJHJlZiI6IjEwMSJ9fSwiVGl0bGVTdHlsZSI6eyIkaWQiOiIyOTciLCJGb250U2V0dGluZ3MiOnsiJGlkIjoiMjk4IiwiRm9udFNpemUiOjExLCJGb250TmFtZSI6IkNhbGlicmkiLCJJc0JvbGQiOnRydWUsIklzSXRhbGljIjpmYWxzZSwiSXNVbmRlcmxpbmVkIjpmYWxzZSwiUGFyZW50U3R5bGUiOnsiJHJlZiI6IjEwOCJ9fSwiQXV0b1NpemUiOjIsIkZvcmVncm91bmQiOnsiJHJlZiI6IjEwOSJ9LCJNYXhXaWR0aCI6NjIuMCwiTWF4SGVpZ2h0IjoiSW5maW5pdHkiLCJTbWFydEZvcmVncm91bmRJc0FjdGl2ZSI6ZmFsc2UsIkhvcml6b250YWxBbGlnbm1lbnQiOjIsIlZlcnRpY2FsQWxpZ25tZW50IjowLCJTbWFydEZvcmVncm91bmQiOm51bGwsIk1hcmdpbiI6eyIkcmVmIjoiMTExIn0sIlBhZGRpbmciOnsiJHJlZiI6IjExMiJ9LCJCYWNrZ3JvdW5kIjp7IiRyZWYiOiIxMTMifSwiSXNWaXNpYmxlIjp0cnVlLCJXaWR0aCI6MC4wLCJIZWlnaHQiOjAuMCwiQm9yZGVyU3R5bGUiOnsiJGlkIjoiMjk5IiwiTGluZUNvbG9yIjpudWxsLCJMaW5lV2VpZ2h0IjowLjAsIkxpbmVUeXBlIjowLCJQYXJlbnRTdHlsZSI6bnVsbH0sIlBhcmVudFN0eWxlIjp7IiRyZWYiOiIxMDcifX0sIkRhdGVTdHlsZSI6eyIkaWQiOiIzMDAiLCJGb250U2V0dGluZ3MiOnsiJGlkIjoiMzAxIiwiRm9udFNpemUiOjEwLCJGb250TmFtZSI6IkNhbGlicmkiLCJJc0JvbGQiOmZhbHNlLCJJc0l0YWxpYyI6ZmFsc2UsIklzVW5kZXJsaW5lZCI6ZmFsc2UsIlBhcmVudFN0eWxlIjp7IiRyZWYiOiIxMTUifX0sIkF1dG9TaXplIjowLCJGb3JlZ3JvdW5kIjp7IiRpZCI6IjMwMiIsIkNvbG9yIjp7IiRpZCI6IjMwMyIsIkEiOjI1NSwiUiI6MjU1LCJHIjoyNTUsIkIiOjI1NX1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MwNCIsIkxpbmVDb2xvciI6bnVsbCwiTGluZVdlaWdodCI6MC4wLCJMaW5lVHlwZSI6MCwiUGFyZW50U3R5bGUiOm51bGx9LCJQYXJlbnRTdHlsZSI6eyIkcmVmIjoiMTE0In19LCJEYXRlRm9ybWF0Ijp7IiRyZWYiOiIxMjEifSwiSXNWaXNpYmxlIjp0cnVlLCJQYXJlbnRTdHlsZSI6eyIkcmVmIjoiODAifX0sIkluZGV4Ijo2LCJJZCI6ImZmYmIwMDhkLWZlMjItNGI1ZS1iMWEzLTBkNjY3NmUyYjdmMiIsIkltcG9ydElkIjpudWxsLCJUaXRsZSI6Ik1pbmRzcGhlcmUgMy4wLiBNVlAgSW1wbGVtZW50YXRpb24iLCJOb3RlIjpudWxsLCJIeXBlcmxpbmsiOm51bGwsIklzQ2hhbmdlZCI6ZmFsc2UsIklzTmV3IjpmYWxzZX1dLCJNc1Byb2plY3RJdGVtc1RyZWUiOnsiJGlkIjoiMzA1IiwiUm9vdCI6eyJJbXBvcnRJZCI6bnVsbCwiSXNJbXBvcnRlZCI6ZmFsc2UsIkNoaWxkcmVuIjpbXX19LCJNZXRhZGF0YSI6eyIkaWQiOiIzMDYifSwiU2V0dGluZ3MiOnsiJGlkIjoiMzA3IiwiSW1wYU9wdGlvbnMiOnsiJGlkIjoiMzA4IiwiTGVmdFRvUmlnaHQiOmZhbHNlLCJQYXlsb2FkT3B0aW9ucyI6Mn0sIlVzZUNvbXByZXNzaW9uIjpmYWxzZSwiQ29tcHJlc2lvblBlcmNlbnRhZ2UiOjAuMCwiSW5hY3RpdmVJbnRlcnZhbFdpZHRoVGhyZXNob2xkIjowLjAsIkluYWN0aXZlSW50ZXJ2YWxXaWR0aCI6MC4wLCJTcGxpdFRhc2tzIjpmYWxzZSwiVXNlQ2x1c3RlciI6ZmFsc2UsIkVwc2lsb24iOjAuMCwiTWluUG9pbnRzVG9Gb3JtQUNsdXN0ZXIiOjAsIkdlbmVyYXRlSW52aXNpYmxlU2hhcGVzIjpmYWxzZSwiU21hcnRUaW1lbGluZVRhc2tQZXJjZW50YWdlRml0IjpmYWxzZX0sIklzTmV3Ijp0cnVlLCJJbXBvcnRUeXBlIjowLCJGaWxlUGF0aCI6bnVsbCwiVGltZWxpbmVJbXBvcnRlZCI6ZmFsc2V9"/>
  <p:tag name="__MASTER" val="__part_0"/>
</p:tagLst>
</file>

<file path=ppt/tags/tag154.xml><?xml version="1.0" encoding="utf-8"?>
<p:tagLst xmlns:a="http://schemas.openxmlformats.org/drawingml/2006/main" xmlns:r="http://schemas.openxmlformats.org/officeDocument/2006/relationships" xmlns:p="http://schemas.openxmlformats.org/presentationml/2006/main">
  <p:tag name="OTLMARKERSHAPE" val="OTL"/>
</p:tagLst>
</file>

<file path=ppt/tags/tag155.xml><?xml version="1.0" encoding="utf-8"?>
<p:tagLst xmlns:a="http://schemas.openxmlformats.org/drawingml/2006/main" xmlns:r="http://schemas.openxmlformats.org/officeDocument/2006/relationships" xmlns:p="http://schemas.openxmlformats.org/presentationml/2006/main">
  <p:tag name="OTLMARKERSHAPE" val="OTL"/>
</p:tagLst>
</file>

<file path=ppt/tags/tag156.xml><?xml version="1.0" encoding="utf-8"?>
<p:tagLst xmlns:a="http://schemas.openxmlformats.org/drawingml/2006/main" xmlns:r="http://schemas.openxmlformats.org/officeDocument/2006/relationships" xmlns:p="http://schemas.openxmlformats.org/presentationml/2006/main">
  <p:tag name="OTLMARKERSHAPE" val="OTL"/>
</p:tagLst>
</file>

<file path=ppt/tags/tag157.xml><?xml version="1.0" encoding="utf-8"?>
<p:tagLst xmlns:a="http://schemas.openxmlformats.org/drawingml/2006/main" xmlns:r="http://schemas.openxmlformats.org/officeDocument/2006/relationships" xmlns:p="http://schemas.openxmlformats.org/presentationml/2006/main">
  <p:tag name="OTLMARKERSHAPE" val="OTL"/>
</p:tagLst>
</file>

<file path=ppt/tags/tag158.xml><?xml version="1.0" encoding="utf-8"?>
<p:tagLst xmlns:a="http://schemas.openxmlformats.org/drawingml/2006/main" xmlns:r="http://schemas.openxmlformats.org/officeDocument/2006/relationships" xmlns:p="http://schemas.openxmlformats.org/presentationml/2006/main">
  <p:tag name="OTLMARKERSHAPE" val="OTL"/>
</p:tagLst>
</file>

<file path=ppt/tags/tag159.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60.xml><?xml version="1.0" encoding="utf-8"?>
<p:tagLst xmlns:a="http://schemas.openxmlformats.org/drawingml/2006/main" xmlns:r="http://schemas.openxmlformats.org/officeDocument/2006/relationships" xmlns:p="http://schemas.openxmlformats.org/presentationml/2006/main">
  <p:tag name="OTLMARKERSHAPE" val="OTL"/>
</p:tagLst>
</file>

<file path=ppt/tags/tag161.xml><?xml version="1.0" encoding="utf-8"?>
<p:tagLst xmlns:a="http://schemas.openxmlformats.org/drawingml/2006/main" xmlns:r="http://schemas.openxmlformats.org/officeDocument/2006/relationships" xmlns:p="http://schemas.openxmlformats.org/presentationml/2006/main">
  <p:tag name="OTLMARKERSHAPE" val="OTL"/>
</p:tagLst>
</file>

<file path=ppt/tags/tag162.xml><?xml version="1.0" encoding="utf-8"?>
<p:tagLst xmlns:a="http://schemas.openxmlformats.org/drawingml/2006/main" xmlns:r="http://schemas.openxmlformats.org/officeDocument/2006/relationships" xmlns:p="http://schemas.openxmlformats.org/presentationml/2006/main">
  <p:tag name="OTLMARKERSHAPE" val="OTL"/>
</p:tagLst>
</file>

<file path=ppt/tags/tag163.xml><?xml version="1.0" encoding="utf-8"?>
<p:tagLst xmlns:a="http://schemas.openxmlformats.org/drawingml/2006/main" xmlns:r="http://schemas.openxmlformats.org/officeDocument/2006/relationships" xmlns:p="http://schemas.openxmlformats.org/presentationml/2006/main">
  <p:tag name="OTLMARKERSHAPE" val="OTL"/>
</p:tagLst>
</file>

<file path=ppt/tags/tag164.xml><?xml version="1.0" encoding="utf-8"?>
<p:tagLst xmlns:a="http://schemas.openxmlformats.org/drawingml/2006/main" xmlns:r="http://schemas.openxmlformats.org/officeDocument/2006/relationships" xmlns:p="http://schemas.openxmlformats.org/presentationml/2006/main">
  <p:tag name="OTLMARKERSHAPE" val="OTL"/>
</p:tagLst>
</file>

<file path=ppt/tags/tag165.xml><?xml version="1.0" encoding="utf-8"?>
<p:tagLst xmlns:a="http://schemas.openxmlformats.org/drawingml/2006/main" xmlns:r="http://schemas.openxmlformats.org/officeDocument/2006/relationships" xmlns:p="http://schemas.openxmlformats.org/presentationml/2006/main">
  <p:tag name="OTLMARKERSHAPE" val="OTL"/>
</p:tagLst>
</file>

<file path=ppt/tags/tag166.xml><?xml version="1.0" encoding="utf-8"?>
<p:tagLst xmlns:a="http://schemas.openxmlformats.org/drawingml/2006/main" xmlns:r="http://schemas.openxmlformats.org/officeDocument/2006/relationships" xmlns:p="http://schemas.openxmlformats.org/presentationml/2006/main">
  <p:tag name="OTLMARKERSHAPE" val="OTL"/>
</p:tagLst>
</file>

<file path=ppt/tags/tag167.xml><?xml version="1.0" encoding="utf-8"?>
<p:tagLst xmlns:a="http://schemas.openxmlformats.org/drawingml/2006/main" xmlns:r="http://schemas.openxmlformats.org/officeDocument/2006/relationships" xmlns:p="http://schemas.openxmlformats.org/presentationml/2006/main">
  <p:tag name="OTLMARKERSHAPE" val="OTL"/>
</p:tagLst>
</file>

<file path=ppt/tags/tag168.xml><?xml version="1.0" encoding="utf-8"?>
<p:tagLst xmlns:a="http://schemas.openxmlformats.org/drawingml/2006/main" xmlns:r="http://schemas.openxmlformats.org/officeDocument/2006/relationships" xmlns:p="http://schemas.openxmlformats.org/presentationml/2006/main">
  <p:tag name="OTLMARKERSHAPE" val="OTL"/>
</p:tagLst>
</file>

<file path=ppt/tags/tag169.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70.xml><?xml version="1.0" encoding="utf-8"?>
<p:tagLst xmlns:a="http://schemas.openxmlformats.org/drawingml/2006/main" xmlns:r="http://schemas.openxmlformats.org/officeDocument/2006/relationships" xmlns:p="http://schemas.openxmlformats.org/presentationml/2006/main">
  <p:tag name="OTLMARKERSHAPE" val="OTL"/>
</p:tagLst>
</file>

<file path=ppt/tags/tag171.xml><?xml version="1.0" encoding="utf-8"?>
<p:tagLst xmlns:a="http://schemas.openxmlformats.org/drawingml/2006/main" xmlns:r="http://schemas.openxmlformats.org/officeDocument/2006/relationships" xmlns:p="http://schemas.openxmlformats.org/presentationml/2006/main">
  <p:tag name="OTLMARKERSHAPE" val="OTL"/>
</p:tagLst>
</file>

<file path=ppt/tags/tag172.xml><?xml version="1.0" encoding="utf-8"?>
<p:tagLst xmlns:a="http://schemas.openxmlformats.org/drawingml/2006/main" xmlns:r="http://schemas.openxmlformats.org/officeDocument/2006/relationships" xmlns:p="http://schemas.openxmlformats.org/presentationml/2006/main">
  <p:tag name="OTLMARKERSHAPE" val="OTL"/>
</p:tagLst>
</file>

<file path=ppt/tags/tag173.xml><?xml version="1.0" encoding="utf-8"?>
<p:tagLst xmlns:a="http://schemas.openxmlformats.org/drawingml/2006/main" xmlns:r="http://schemas.openxmlformats.org/officeDocument/2006/relationships" xmlns:p="http://schemas.openxmlformats.org/presentationml/2006/main">
  <p:tag name="OTLMARKERSHAPE" val="OTL"/>
</p:tagLst>
</file>

<file path=ppt/tags/tag174.xml><?xml version="1.0" encoding="utf-8"?>
<p:tagLst xmlns:a="http://schemas.openxmlformats.org/drawingml/2006/main" xmlns:r="http://schemas.openxmlformats.org/officeDocument/2006/relationships" xmlns:p="http://schemas.openxmlformats.org/presentationml/2006/main">
  <p:tag name="OTLMARKERSHAPE" val="OTL"/>
</p:tagLst>
</file>

<file path=ppt/tags/tag175.xml><?xml version="1.0" encoding="utf-8"?>
<p:tagLst xmlns:a="http://schemas.openxmlformats.org/drawingml/2006/main" xmlns:r="http://schemas.openxmlformats.org/officeDocument/2006/relationships" xmlns:p="http://schemas.openxmlformats.org/presentationml/2006/main">
  <p:tag name="OTLMARKERSHAPE" val="OTL"/>
</p:tagLst>
</file>

<file path=ppt/tags/tag176.xml><?xml version="1.0" encoding="utf-8"?>
<p:tagLst xmlns:a="http://schemas.openxmlformats.org/drawingml/2006/main" xmlns:r="http://schemas.openxmlformats.org/officeDocument/2006/relationships" xmlns:p="http://schemas.openxmlformats.org/presentationml/2006/main">
  <p:tag name="OTLMARKERSHAPE" val="OTL"/>
</p:tagLst>
</file>

<file path=ppt/tags/tag177.xml><?xml version="1.0" encoding="utf-8"?>
<p:tagLst xmlns:a="http://schemas.openxmlformats.org/drawingml/2006/main" xmlns:r="http://schemas.openxmlformats.org/officeDocument/2006/relationships" xmlns:p="http://schemas.openxmlformats.org/presentationml/2006/main">
  <p:tag name="OTLMARKERSHAPE" val="OTL"/>
</p:tagLst>
</file>

<file path=ppt/tags/tag178.xml><?xml version="1.0" encoding="utf-8"?>
<p:tagLst xmlns:a="http://schemas.openxmlformats.org/drawingml/2006/main" xmlns:r="http://schemas.openxmlformats.org/officeDocument/2006/relationships" xmlns:p="http://schemas.openxmlformats.org/presentationml/2006/main">
  <p:tag name="OTLMARKERSHAPE" val="OTL"/>
</p:tagLst>
</file>

<file path=ppt/tags/tag179.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80.xml><?xml version="1.0" encoding="utf-8"?>
<p:tagLst xmlns:a="http://schemas.openxmlformats.org/drawingml/2006/main" xmlns:r="http://schemas.openxmlformats.org/officeDocument/2006/relationships" xmlns:p="http://schemas.openxmlformats.org/presentationml/2006/main">
  <p:tag name="OTLMARKERSHAPE" val="OTL"/>
</p:tagLst>
</file>

<file path=ppt/tags/tag181.xml><?xml version="1.0" encoding="utf-8"?>
<p:tagLst xmlns:a="http://schemas.openxmlformats.org/drawingml/2006/main" xmlns:r="http://schemas.openxmlformats.org/officeDocument/2006/relationships" xmlns:p="http://schemas.openxmlformats.org/presentationml/2006/main">
  <p:tag name="OTLMARKERSHAPE" val="OTL"/>
</p:tagLst>
</file>

<file path=ppt/tags/tag182.xml><?xml version="1.0" encoding="utf-8"?>
<p:tagLst xmlns:a="http://schemas.openxmlformats.org/drawingml/2006/main" xmlns:r="http://schemas.openxmlformats.org/officeDocument/2006/relationships" xmlns:p="http://schemas.openxmlformats.org/presentationml/2006/main">
  <p:tag name="OTLMARKERSHAPE" val="OTL"/>
</p:tagLst>
</file>

<file path=ppt/tags/tag183.xml><?xml version="1.0" encoding="utf-8"?>
<p:tagLst xmlns:a="http://schemas.openxmlformats.org/drawingml/2006/main" xmlns:r="http://schemas.openxmlformats.org/officeDocument/2006/relationships" xmlns:p="http://schemas.openxmlformats.org/presentationml/2006/main">
  <p:tag name="OTLMARKERSHAPE" val="OTL"/>
</p:tagLst>
</file>

<file path=ppt/tags/tag184.xml><?xml version="1.0" encoding="utf-8"?>
<p:tagLst xmlns:a="http://schemas.openxmlformats.org/drawingml/2006/main" xmlns:r="http://schemas.openxmlformats.org/officeDocument/2006/relationships" xmlns:p="http://schemas.openxmlformats.org/presentationml/2006/main">
  <p:tag name="OTLMARKERSHAPE" val="OTL"/>
</p:tagLst>
</file>

<file path=ppt/tags/tag185.xml><?xml version="1.0" encoding="utf-8"?>
<p:tagLst xmlns:a="http://schemas.openxmlformats.org/drawingml/2006/main" xmlns:r="http://schemas.openxmlformats.org/officeDocument/2006/relationships" xmlns:p="http://schemas.openxmlformats.org/presentationml/2006/main">
  <p:tag name="__PART_0" val="eyIkaWQiOiIxIiwiQ3VsdHVyZUluZm9OYW1lIjoiZW4tVVMiLCJTdHlsZU5hbWUiOiJHYW50dCIsIklzVGVtcGxhdGUiOmZhbHNlLCJWZXJzaW9uIjp7IiRpZCI6IjIiLCJWZXJzaW9uIjoiMy4wLjEiLCJPcmlnaW5hbEFzc2VtYmx5VmVyc2lvbiI6IjMuMDYuMDAuMDAiLCJFZGl0aW9uIjoiUGx1cyIsIklzUGx1c0VkaXRpb24iOnRydWV9LCJFZmZlY3QiOjEsIlN0eWxlIjp7IiRpZCI6IjMiLCJUaW1lYmFuZFN0eWxlIjp7IiRpZCI6IjQiLCJTY2FsZU1hcmtpbmciOjEsIlNoYXBlIjoxMCwiU2hhcGVTdHlsZSI6eyIkaWQiOiI1IiwiTWFyZ2luIjp7IiRpZCI6IjYiLCJUb3AiOjAsIkxlZnQiOjEwLCJSaWdodCI6MTAsIkJvdHRvbSI6MH0sIlBhZGRpbmciOnsiJGlkIjoiNyIsIlRvcCI6MywiTGVmdCI6MCwiUmlnaHQiOjAsIkJvdHRvbSI6M30sIkJhY2tncm91bmQiOnsiJGlkIjoiOCIsIkNvbG9yIjp7IiRpZCI6IjkiLCJBIjoyNTUsIlIiOjY4LCJHIjo4NCwiQiI6MTA2fX0sIklzVmlzaWJsZSI6dHJ1ZSwiV2lkdGgiOjg1OC4wLCJIZWlnaHQiOjIwLjAsIkJvcmRlclN0eWxlIjp7IiRpZCI6IjEwIiwiTGluZUNvbG9yIjp7IiRpZCI6IjExIiwiJHR5cGUiOiJOTFJFLkNvbW1vbi5Eb20uU29saWRDb2xvckJydXNoLCBOTFJFLkNvbW1vbiIsIkNvbG9yIjp7IiRpZCI6IjEyIiwiQSI6MjU1LCJSIjoyNTUsIkciOjAsIkIiOjB9fSwiTGluZVdlaWdodCI6MC4wLCJMaW5lVHlwZSI6MCwiUGFyZW50U3R5bGUiOm51bGx9LCJQYXJlbnRTdHlsZSI6bnVsbH0sIlJpZ2h0RW5kQ2Fwc1N0eWxlIjp7IiRpZCI6IjEzIiwiRm9udFNldHRpbmdzIjp7IiRpZCI6IjE0IiwiRm9udFNpemUiOjE4LCJGb250TmFtZSI6IkNhbGlicmkiLCJJc0JvbGQiOnRydWUsIklzSXRhbGljIjpmYWxzZSwiSXNVbmRlcmxpbmVkIjpmYWxzZSwiUGFyZW50U3R5bGUiOm51bGx9LCJBdXRvU2l6ZSI6MCwiRm9yZWdyb3VuZCI6eyIkaWQiOiIxNSIsIkNvbG9yIjp7IiRpZCI6IjE2IiwiQSI6MjU1LCJSIjoxOTAsIkciOjIwNSwiQiI6MjE1fX0sIk1heFdpZHRoIjoiSW5maW5pdHkiLCJNYXhIZWlnaHQiOiJJbmZpbml0eSIsIlNtYXJ0Rm9yZWdyb3VuZElzQWN0aXZlIjpmYWxzZSwiSG9yaXpvbnRhbEFsaWdubWVudCI6MCwiVmVydGljYWxBbGlnbm1lbnQiOjAsIlNtYXJ0Rm9yZWdyb3VuZCI6bnVsbCwiTWFyZ2luIjp7IiRpZCI6IjE3IiwiVG9wIjowLCJMZWZ0IjowLCJSaWdodCI6MjAsIkJvdHRvbSI6MH0sIlBhZGRpbmciOnsiJGlkIjoiMTgiLCJUb3AiOjAsIkxlZnQiOjAsIlJpZ2h0IjowLCJCb3R0b20iOjB9LCJCYWNrZ3JvdW5kIjp7IiRpZCI6IjE5IiwiQ29sb3IiOnsiJGlkIjoiMjAiLCJBIjo4OSwiUiI6MCwiRyI6MCwiQiI6MH19LCJJc1Zpc2libGUiOnRydWUsIldpZHRoIjowLjAsIkhlaWdodCI6MC4wLCJCb3JkZXJTdHlsZSI6bnVsbCwiUGFyZW50U3R5bGUiOm51bGx9LCJMZWZ0RW5kQ2Fwc1N0eWxlIjp7IiRpZCI6IjIxIiwiRm9udFNldHRpbmdzIjp7IiRpZCI6IjIyIiwiRm9udFNpemUiOjE4LCJGb250TmFtZSI6IkNhbGlicmkiLCJJc0JvbGQiOnRydWUsIklzSXRhbGljIjpmYWxzZSwiSXNVbmRlcmxpbmVkIjpmYWxzZSwiUGFyZW50U3R5bGUiOm51bGx9LCJBdXRvU2l6ZSI6MCwiRm9yZWdyb3VuZCI6eyIkaWQiOiIyMyIsIkNvbG9yIjp7IiRpZCI6IjI0IiwiQSI6MjU1LCJSIjoxOTAsIkciOjIwNSwiQiI6MjE1fX0sIk1heFdpZHRoIjoiSW5maW5pdHkiLCJNYXhIZWlnaHQiOiJJbmZpbml0eSIsIlNtYXJ0Rm9yZWdyb3VuZElzQWN0aXZlIjpmYWxzZSwiSG9yaXpvbnRhbEFsaWdubWVudCI6MCwiVmVydGljYWxBbGlnbm1lbnQiOjAsIlNtYXJ0Rm9yZWdyb3VuZCI6bnVsbCwiTWFyZ2luIjp7IiRpZCI6IjI1IiwiVG9wIjowLCJMZWZ0IjoyMC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1hcmdpbiI6eyIkaWQiOiIzMiIsIlRvcCI6MCwiTGVmdCI6MCwiUmlnaHQiOjAsIkJvdHRvbSI6MH0sIlBhZGRpbmciOnsiJGlkIjoiMzMiLCJUb3AiOjAsIkxlZnQiOjAsIlJpZ2h0IjowLCJCb3R0b20iOjB9LCJCYWNrZ3JvdW5kIjp7IiRpZCI6IjM0IiwiQ29sb3IiOnsiJHJlZiI6IjIwIn19LCJJc1Zpc2libGUiOnRydWUsIldpZHRoIjowLjAsIkhlaWdodCI6MC4wLCJCb3JkZXJTdHlsZSI6bnVsbCwiUGFyZW50U3R5bGUiOm51bGx9LCJUb2RheU1hcmtlclN0eWxlIjp7IiRpZCI6IjM1IiwiTWFyZ2luIjp7IiRpZCI6IjM2IiwiVG9wIjowLCJMZWZ0IjowLCJSaWdodCI6MCwiQm90dG9tIjowfSwiUGFkZGluZyI6eyIkaWQiOiIzNyIsIlRvcCI6MCwiTGVmdCI6MCwiUmlnaHQiOjAsIkJvdHRvbSI6MH0sIkJhY2tncm91bmQiOnsiJGlkIjoiMzgiLCJDb2xvciI6eyIkaWQiOiIzOSIsIkEiOjI1NSwiUiI6MjU1LCJHIjowLCJCIjowfX0sIklzVmlzaWJsZSI6dHJ1ZSwiV2lkdGgiOjAuMCwiSGVpZ2h0IjowLjAsIkJvcmRlclN0eWxlIjpudWxsLCJQYXJlbnRTdHlsZSI6bnVsbH0sIlNjYWxlU3R5bGUiOnsiJGlkIjoiNDAiLCJTaG93U2VnbWVudFNlcGFyYXRvcnMiOmZhbHNlLCJTZWdtZW50U2VwYXJhdG9yT3BhY2l0eSI6MzAsIkZvbnRTZXR0aW5ncyI6eyIkaWQiOiI0MSIsIkZvbnRTaXplIjoxMiwiRm9udE5hbWUiOiJDYWxpYnJpIiwiSXNCb2xkIjpmYWxzZSwiSXNJdGFsaWMiOmZhbHNlLCJJc1VuZGVybGluZWQiOmZhbHNlLCJQYXJlbnRTdHlsZSI6bnVsbH0sIkF1dG9TaXplIjowLCJGb3JlZ3JvdW5kIjp7IiRpZCI6IjQyIiwiQ29sb3IiOnsiJGlkIjoiNDMiLCJBIjoyNTUsIlIiOjI1NSwiRyI6MjU1LCJCIjoyNTV9fSwiTWF4V2lkdGgiOjIwMC4wLCJNYXhIZWlnaHQiOiJJbmZpbml0eSIsIlNtYXJ0Rm9yZWdyb3VuZElzQWN0aXZlIjpmYWxzZSwiSG9yaXpvbnRhbEFsaWdubWVudCI6MCwiVmVydGljYWxBbGlnbm1lbnQiOjEsIlNtYXJ0Rm9yZWdyb3VuZCI6bnVsb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NTUsIkciOjAsIkIiOjB9fSwiQXBwZW5kWWVhck9uWWVhckNoYW5nZSI6ZmFsc2UsIkVsYXBzZWRUaW1lRm9ybWF0IjoyLCJUb2RheU1hcmtlclBvc2l0aW9uIjozLCJRdWlja1Bvc2l0aW9uIjoyLCJBYnNvbHV0ZVBvc2l0aW9uIjo0MDUuMDkzNzUsIk1hcmdpbiI6eyIkaWQiOiI0OSIsIlRvcCI6MCwiTGVmdCI6MTAsIlJpZ2h0IjoxMCwiQm90dG9tIjowfSwiUGFkZGluZyI6eyIkaWQiOiI1MCIsIlRvcCI6MCwiTGVmdCI6MCwiUmlnaHQiOjAsIkJvdHRvbSI6MH0sIkJhY2tncm91bmQiOnsiJGlkIjoiNTEiLCJDb2xvciI6eyIkaWQiOiI1MiIsIkEiOjI1NSwiUiI6MzEsIkciOjczLCJCIjoxMjV9fSwiSXNWaXNpYmxlIjp0cnVlLCJXaWR0aCI6MC4wLCJIZWlnaHQiOjAuMCwiQm9yZGVyU3R5bGUiOm51bGwsIlBhcmVudFN0eWxlIjpudWxsfSwiRGVmYXVsdE1pbGVzdG9uZVN0eWxlIjp7IiRpZCI6IjUzIiwiU2hhcGUiOjIsIkNvbm5lY3Rvck1hcmdpbiI6eyIkaWQiOiI1NCIsIlRvcCI6MCwiTGVmdCI6MiwiUmlnaHQiOjIsIkJvdHRvbSI6MH0sIkNvbm5lY3RvclN0eWxlIjp7IiRpZCI6IjU1IiwiTGluZUNvbG9yIjp7IiRpZCI6IjU2IiwiJHR5cGUiOiJOTFJFLkNvbW1vbi5Eb20uU29saWRDb2xvckJydXNoLCBOTFJFLkNvbW1vbiIsIkNvbG9yIjp7IiRpZCI6IjU3IiwiQSI6MjU1LCJSIjozMSwiRyI6NzMsIkIiOjEyNn19LCJMaW5lV2VpZ2h0IjoxLjAsIkxpbmVUeXBlIjowLCJQYXJlbnRTdHlsZSI6bnVsbH0sIklzQmVsb3dUaW1lYmFuZCI6ZmFsc2UsIkhpZGVEYXRlIjpmYWxzZSwiU2hhcGVTaXplIjoxLCJTcGFjaW5nIjoy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m51bGwsIklzVmlzaWJsZSI6dHJ1ZSwiV2lkdGgiOjEzLjAsIkhlaWdodCI6MTMuMCwiQm9yZGVyU3R5bGUiOnsiJGlkIjoiNjIiLCJMaW5lQ29sb3IiOnsiJGlkIjoiNjMiLCIkdHlwZSI6Ik5MUkUuQ29tbW9uLkRvbS5Tb2xpZENvbG9yQnJ1c2gsIE5MUkUuQ29tbW9uIiwiQ29sb3IiOnsiJGlkIjoiNjQiLCJBIjoyNTUsIlIiOjI1NSwiRyI6MCwiQiI6MH19LCJMaW5lV2VpZ2h0IjowLjAsIkxpbmVUeXBlIjowLCJQYXJlbnRTdHlsZSI6bnVsbH0sIlBhcmVudFN0eWxlIjpudWxsfSwiVGl0bGVTdHlsZSI6eyIkaWQiOiI2NSIsIkZvbnRTZXR0aW5ncyI6eyIkaWQiOiI2NiIsIkZvbnRTaXplIjoxMSwiRm9udE5hbWUiOiJDYWxpYnJpIiwiSXNCb2xkIjp0cnVlLCJJc0l0YWxpYyI6ZmFsc2UsIklzVW5kZXJsaW5lZCI6ZmFsc2UsIlBhcmVudFN0eWxlIjpudWxsfSwiQXV0b1NpemUiOjAsIkZvcmVncm91bmQiOnsiJGlkIjoiNjciLCJDb2xvciI6eyIkaWQiOiI2OCIsIkEiOjI1NSwiUiI6MCwiRyI6MCwiQiI6MH19LCJNYXhXaWR0aCI6MjAwLjAsIk1heEhlaWdodCI6IkluZmluaXR5IiwiU21hcnRGb3JlZ3JvdW5kSXNBY3RpdmUiOmZhbHNlLCJIb3Jpem9udGFsQWxpZ25tZW50IjowLCJWZXJ0aWNhbEFsaWdubWVudCI6MCwiU21hcnRGb3JlZ3JvdW5kIjpudWxsLCJNYXJnaW4iOnsiJGlkIjoiNjkiLCJUb3AiOjAsIkxlZnQiOjAsIlJpZ2h0IjowLCJCb3R0b20iOjB9LCJQYWRkaW5nIjp7IiRpZCI6IjcwIiwiVG9wIjowLCJMZWZ0IjowLCJSaWdodCI6MCwiQm90dG9tIjowfSwiQmFja2dyb3VuZCI6eyIkaWQiOiI3MSIsIkNvbG9yIjp7IiRyZWYiOiIyMCJ9fSwiSXNWaXNpYmxlIjp0cnVlLCJXaWR0aCI6MC4wLCJIZWlnaHQiOjAuMCwiQm9yZGVyU3R5bGUiOm51bGwsIlBhcmVudFN0eWxlIjpudWxsfSwiRGF0ZVN0eWxlIjp7IiRpZCI6IjcyIiwiRm9udFNldHRpbmdzIjp7IiRpZCI6IjczIiwiRm9udFNpemUiOjEwLCJGb250TmFtZSI6IkNhbGlicmkiLCJJc0JvbGQiOmZhbHNlLCJJc0l0YWxpYyI6ZmFsc2UsIklzVW5kZXJsaW5lZCI6ZmFsc2UsIlBhcmVudFN0eWxlIjpudWxsfSwiQXV0b1NpemUiOjAsIkZvcmVncm91bmQiOnsiJGlkIjoiNzQiLCJDb2xvciI6eyIkaWQiOiI3NSIsIkEiOjI1NSwiUiI6MCwiRyI6MCwiQiI6MH19LCJNYXhXaWR0aCI6MjAwLjAsIk1heEhlaWdodCI6IkluZmluaXR5IiwiU21hcnRGb3JlZ3JvdW5kSXNBY3RpdmUiOmZhbHNlLCJIb3Jpem9udGFsQWxpZ25tZW50IjowLCJWZXJ0aWNhbEFsaWdubWVudCI6MCwiU21hcnRGb3JlZ3JvdW5kIjpudWxsLCJNYXJnaW4iOnsiJGlkIjoiNzYiLCJUb3AiOjAsIkxlZnQiOjAsIlJpZ2h0IjowLCJCb3R0b20iOjB9LCJQYWRkaW5nIjp7IiRpZCI6Ijc3IiwiVG9wIjowLCJMZWZ0IjowLCJSaWdodCI6MCwiQm90dG9tIjowfSwiQmFja2dyb3VuZCI6eyIkaWQiOiI3OCIsIkNvbG9yIjp7IiRyZWYiOiIyMCJ9fSwiSXNWaXNpYmxlIjp0cnVlLCJXaWR0aCI6MC4wLCJIZWlnaHQiOjAuMCwiQm9yZGVyU3R5bGUiOm51bGwsIlBhcmVudFN0eWxlIjpudWxsfSwiRGF0ZUZvcm1hdCI6eyIkaWQiOiI3OSIsIkZvcm1hdFN0cmluZyI6Ik1NTSBkIiwiU2VwYXJhdG9yIjoiLyIsIlVzZUludGVybmF0aW9uYWxEYXRlRm9ybWF0IjpmYWxzZX0sIklzVmlzaWJsZSI6dHJ1ZSwiUGFyZW50U3R5bGUiOm51bGx9LCJEZWZhdWx0VGFza1N0eWxlIjp7IiRpZCI6IjgwIiwiU2hhcGUiOjEsIlNoYXBlVGhpY2tuZXNzIjowLCJEdXJhdGlvbkZvcm1hdCI6MCwiSW5jbHVkZU5vbldvcmtpbmdEYXlzSW5EdXJhdGlvbiI6dHJ1ZSwiUGVyY2VudGFnZUNvbXBsZXRlU3R5bGUiOnsiJGlkIjoiODEiLCJGb250U2V0dGluZ3MiOnsiJGlkIjoiODIiLCJGb250U2l6ZSI6MTAsIkZvbnROYW1lIjoiQ2FsaWJyaSIsIklzQm9sZCI6ZmFsc2UsIklzSXRhbGljIjpmYWxzZSwiSXNVbmRlcmxpbmVkIjpmYWxzZSwiUGFyZW50U3R5bGUiOm51bGx9LCJBdXRvU2l6ZSI6MCwiRm9yZWdyb3VuZCI6eyIkaWQiOiI4MyIsIkNvbG9yIjp7IiRpZCI6Ijg0IiwiQSI6MjU1LCJSIjoxOTIsIkciOjgwLCJCIjo3N319LCJNYXhXaWR0aCI6MjAwLjAsIk1heEhlaWdodCI6IkluZmluaXR5IiwiU21hcnRGb3JlZ3JvdW5kSXNBY3RpdmUiOmZhbHNlLCJIb3Jpem9udGFsQWxpZ25tZW50IjowLCJWZXJ0aWNhbEFsaWdubWVudCI6MCwiU21hcnRGb3JlZ3JvdW5kIjpudWxsLCJNYXJnaW4iOnsiJGlkIjoiODUiLCJUb3AiOjAsIkxlZnQiOjAsIlJpZ2h0IjowLCJCb3R0b20iOjB9LCJQYWRkaW5nIjp7IiRpZCI6Ijg2IiwiVG9wIjowLCJMZWZ0IjowLCJSaWdodCI6MCwiQm90dG9tIjowfSwiQmFja2dyb3VuZCI6eyIkaWQiOiI4NyIsIkNvbG9yIjp7IiRyZWYiOiIyMCJ9fSwiSXNWaXNpYmxlIjp0cnVlLCJXaWR0aCI6MC4wLCJIZWlnaHQiOjAuMCwiQm9yZGVyU3R5bGUiOm51bGwsIlBhcmVudFN0eWxlIjpudWxsfSwiRHVyYXRpb25TdHlsZSI6eyIkaWQiOiI4OCIsIkZvbnRTZXR0aW5ncyI6eyIkaWQiOiI4OSIsIkZvbnRTaXplIjoxMCwiRm9udE5hbWUiOiJDYWxpYnJpIiwiSXNCb2xkIjpmYWxzZSwiSXNJdGFsaWMiOmZhbHNlLCJJc1VuZGVybGluZWQiOmZhbHNlLCJQYXJlbnRTdHlsZSI6bnVsbH0sIkF1dG9TaXplIjowLCJGb3JlZ3JvdW5kIjp7IiRpZCI6IjkwIiwiQ29sb3IiOnsiJGlkIjoiOTEiLCJBIjoyNTUsIlIiOjE5MCwiRyI6MjA1LCJCIjoyMTV9fSwiTWF4V2lkdGgiOjIwMC4wLCJNYXhIZWlnaHQiOiJJbmZpbml0eSIsIlNtYXJ0Rm9yZWdyb3VuZElzQWN0aXZlIjpmYWxzZSwiSG9yaXpvbnRhbEFsaWdubWVudCI6MCwiVmVydGljYWxBbGlnbm1lbnQiOjAsIlNtYXJ0Rm9yZWdyb3VuZCI6bnVsbCwiTWFyZ2luIjp7IiRpZCI6IjkyIiwiVG9wIjowLCJMZWZ0IjowLCJSaWdodCI6MCwiQm90dG9tIjowfSwiUGFkZGluZyI6eyIkaWQiOiI5MyIsIlRvcCI6MCwiTGVmdCI6MCwiUmlnaHQiOjAsIkJvdHRvbSI6MH0sIkJhY2tncm91bmQiOnsiJGlkIjoiOTQiLCJDb2xvciI6eyIkcmVmIjoiMjAifX0sIklzVmlzaWJsZSI6dHJ1ZSwiV2lkdGgiOjAuMCwiSGVpZ2h0IjowLjAsIkJvcmRlclN0eWxlIjpudWxsLCJQYXJlbnRTdHlsZSI6bnVsbH0sIkhvcml6b250YWxDb25uZWN0b3JTdHlsZSI6eyIkaWQiOiI5NSIsIkxpbmVDb2xvciI6eyIkaWQiOiI5NiIsIiR0eXBlIjoiTkxSRS5Db21tb24uRG9tLlNvbGlkQ29sb3JCcnVzaCwgTkxSRS5Db21tb24iLCJDb2xvciI6eyIkaWQiOiI5NyIsIkEiOjI1NSwiUiI6MjA0LCJHIjoyMDQsIkIiOjIwNH19LCJMaW5lV2VpZ2h0IjowLjAsIkxpbmVUeXBlIjowLCJQYXJlbnRTdHlsZSI6bnVsbH0sIlZlcnRpY2FsQ29ubmVjdG9yU3R5bGUiOnsiJGlkIjoiOTgiLCJMaW5lQ29sb3IiOnsiJGlkIjoiOTkiLCIkdHlwZSI6Ik5MUkUuQ29tbW9uLkRvbS5Tb2xpZENvbG9yQnJ1c2gsIE5MUkUuQ29tbW9uIiwiQ29sb3IiOnsiJGlkIjoiMTAwIiwiQSI6MjU1LCJSIjoyMDQsIkciOjIwNCwiQiI6MjA0fX0sIkxpbmVXZWlnaHQiOjAuMCwiTGluZVR5cGUiOjAsIlBhcmVudFN0eWxlIjpudWxs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TAxIiwiTWFyZ2luIjp7IiRpZCI6IjEwMiIsIlRvcCI6MCwiTGVmdCI6NCwiUmlnaHQiOjQsIkJvdHRvbSI6MH0sIlBhZGRpbmciOnsiJGlkIjoiMTAzIiwiVG9wIjowLCJMZWZ0IjowLCJSaWdodCI6MCwiQm90dG9tIjowfSwiQmFja2dyb3VuZCI6bnVsbCwiSXNWaXNpYmxlIjp0cnVlLCJXaWR0aCI6MC4wLCJIZWlnaHQiOjEwLjAsIkJvcmRlclN0eWxlIjp7IiRpZCI6IjEwNCIsIkxpbmVDb2xvciI6eyIkaWQiOiIxMDUiLCIkdHlwZSI6Ik5MUkUuQ29tbW9uLkRvbS5Tb2xpZENvbG9yQnJ1c2gsIE5MUkUuQ29tbW9uIiwiQ29sb3IiOnsiJGlkIjoiMTA2IiwiQSI6MjU1LCJSIjoyNTUsIkciOjAsIkIiOjB9fSwiTGluZVdlaWdodCI6MC4wLCJMaW5lVHlwZSI6MCwiUGFyZW50U3R5bGUiOm51bGx9LCJQYXJlbnRTdHlsZSI6bnVsbH0sIlRpdGxlU3R5bGUiOnsiJGlkIjoiMTA3IiwiRm9udFNldHRpbmdzIjp7IiRpZCI6IjEwOCIsIkZvbnRTaXplIjoxMSwiRm9udE5hbWUiOiJDYWxpYnJpIiwiSXNCb2xkIjp0cnVlLCJJc0l0YWxpYyI6ZmFsc2UsIklzVW5kZXJsaW5lZCI6ZmFsc2UsIlBhcmVudFN0eWxlIjpudWxsfSwiQXV0b1NpemUiOjAsIkZvcmVncm91bmQiOnsiJGlkIjoiMTA5IiwiQ29sb3IiOnsiJGlkIjoiMTEwIiwiQSI6MjU1LCJSIjowLCJHIjowLCJCIjowfX0sIk1heFdpZHRoIjo5NjAuNSwiTWF4SGVpZ2h0IjoiSW5maW5pdHkiLCJTbWFydEZvcmVncm91bmRJc0FjdGl2ZSI6ZmFsc2UsIkhvcml6b250YWxBbGlnbm1lbnQiOjIsIlZlcnRpY2FsQWxpZ25tZW50IjowLCJTbWFydEZvcmVncm91bmQiOm51bGwsIk1hcmdpbiI6eyIkaWQiOiIxMTEiLCJUb3AiOjAsIkxlZnQiOjAsIlJpZ2h0IjowLCJCb3R0b20iOjB9LCJQYWRkaW5nIjp7IiRpZCI6IjExMiIsIlRvcCI6MCwiTGVmdCI6MCwiUmlnaHQiOjAsIkJvdHRvbSI6MH0sIkJhY2tncm91bmQiOnsiJGlkIjoiMTEzIiwiQ29sb3IiOnsiJHJlZiI6IjIwIn19LCJJc1Zpc2libGUiOnRydWUsIldpZHRoIjowLjAsIkhlaWdodCI6MC4wLCJCb3JkZXJTdHlsZSI6bnVsbCwiUGFyZW50U3R5bGUiOm51bGx9LCJEYXRlU3R5bGUiOnsiJGlkIjoiMTE0IiwiRm9udFNldHRpbmdzIjp7IiRpZCI6IjExNSIsIkZvbnRTaXplIjoxMCwiRm9udE5hbWUiOiJDYWxpYnJpIiwiSXNCb2xkIjpmYWxzZSwiSXNJdGFsaWMiOmZhbHNlLCJJc1VuZGVybGluZWQiOmZhbHNlLCJQYXJlbnRTdHlsZSI6bnVsbH0sIkF1dG9TaXplIjowLCJGb3JlZ3JvdW5kIjp7IiRpZCI6IjExNiIsIkNvbG9yIjp7IiRpZCI6IjExNyIsIkEiOjI1NSwiUiI6MCwiRyI6MCwiQiI6MH19LCJNYXhXaWR0aCI6MjAwLjAsIk1heEhlaWdodCI6IkluZmluaXR5IiwiU21hcnRGb3JlZ3JvdW5kSXNBY3RpdmUiOmZhbHNlLCJIb3Jpem9udGFsQWxpZ25tZW50IjowLCJWZXJ0aWNhbEFsaWdubWVudCI6MCwiU21hcnRGb3JlZ3JvdW5kIjpudWxsLCJNYXJnaW4iOnsiJGlkIjoiMTE4IiwiVG9wIjowLCJMZWZ0IjowLCJSaWdodCI6MCwiQm90dG9tIjowfSwiUGFkZGluZyI6eyIkaWQiOiIxMTkiLCJUb3AiOjAsIkxlZnQiOjAsIlJpZ2h0IjowLCJCb3R0b20iOjB9LCJCYWNrZ3JvdW5kIjp7IiRpZCI6IjEyMCIsIkNvbG9yIjp7IiRyZWYiOiIyMCJ9fSwiSXNWaXNpYmxlIjp0cnVlLCJXaWR0aCI6MC4wLCJIZWlnaHQiOjAuMCwiQm9yZGVyU3R5bGUiOm51bGwsIlBhcmVudFN0eWxlIjpudWxsfSwiRGF0ZUZvcm1hdCI6eyIkaWQiOiIxMjEiLCJGb3JtYXRTdHJpbmciOiJNTU0gZCIsIlNlcGFyYXRvciI6Ii8iLCJVc2VJbnRlcm5hdGlvbmFsRGF0ZUZvcm1hdCI6ZmFsc2V9LCJJc1Zpc2libGUiOnRydWUsIlBhcmVudFN0eWxlIjpudWxsfSwiU2hvd0VsYXBzZWRUaW1lR3JhZGllbnRTdHlsZSI6ZmFsc2V9LCJTY2FsZSI6eyIkaWQiOiIxMjIiLCJTdGFydERhdGUiOiIyMDE3LTA4LTExVDAwOjAwOjAwWiIsIkVuZERhdGUiOiIyMDE4LTAzLTMxVDIzOjU5OjU5Ljk5OVoiLCJGb3JtYXQiOiJNTU0iLCJUeXBlIjoyLCJBdXRvRGF0ZVJhbmdlIjp0cnVlLCJXb3JraW5nRGF5cyI6MzEsIlRvZGF5TWFya2VyVGV4dCI6IlRvZGF5IiwiQXV0b1NjYWxlVHlwZSI6dHJ1ZX0sIk1pbGVzdG9uZXMiOlt7IiRpZCI6IjEyMyIsIkRhdGUiOiIyMDE3LTEwLTMxVDIzOjU5OjU5Ljk5OVoiLCJTdHlsZSI6eyIkaWQiOiIxMjQiLCJTaGFwZSI6MiwiQ29ubmVjdG9yTWFyZ2luIjp7IiRyZWYiOiI1NCJ9LCJDb25uZWN0b3JTdHlsZSI6eyIkaWQiOiIxMjUiLCJMaW5lQ29sb3IiOnsiJGlkIjoiMTI2IiwiJHR5cGUiOiJOTFJFLkNvbW1vbi5Eb20uU29saWRDb2xvckJydXNoLCBOTFJFLkNvbW1vbiIsIkNvbG9yIjp7IiRpZCI6IjEyNyIsIkEiOjEyNywiUiI6MCwiRyI6MTE0LCJCIjoxODh9fSwiTGluZVdlaWdodCI6MS4wLCJMaW5lVHlwZSI6MCwiUGFyZW50U3R5bGUiOnsiJHJlZiI6IjU1In19LCJJc0JlbG93VGltZWJhbmQiOmZhbHNlLCJIaWRlRGF0ZSI6ZmFsc2UsIlNoYXBlU2l6ZSI6MSwiU3BhY2luZyI6Mi4wLCJQYWRkaW5nIjp7IiRyZWYiOiI1OCJ9LCJTaGFwZVN0eWxlIjp7IiRpZCI6IjEyOCIsIk1hcmdpbiI6eyIkcmVmIjoiNjAifSwiUGFkZGluZyI6eyIkcmVmIjoiNjEifSwiQmFja2dyb3VuZCI6eyIkaWQiOiIxMjkiLCJDb2xvciI6eyIkaWQiOiIxMzAiLCJBIjoyNTUsIlIiOjAsIkciOjExNCwiQiI6MTg4fX0sIklzVmlzaWJsZSI6dHJ1ZSwiV2lkdGgiOjEzLjAsIkhlaWdodCI6MTMuMCwiQm9yZGVyU3R5bGUiOnsiJGlkIjoiMTMxIiwiTGluZUNvbG9yIjp7IiRyZWYiOiI2MyJ9LCJMaW5lV2VpZ2h0IjowLjAsIkxpbmVUeXBlIjowLCJQYXJlbnRTdHlsZSI6eyIkcmVmIjoiNjIifX0sIlBhcmVudFN0eWxlIjp7IiRyZWYiOiI1OSJ9fSwiVGl0bGVTdHlsZSI6eyIkaWQiOiIxMzIiLCJGb250U2V0dGluZ3MiOnsiJGlkIjoiMTMzIiwiRm9udFNpemUiOjExLCJGb250TmFtZSI6IkNhbGlicmkiLCJJc0JvbGQiOnRydWUsIklzSXRhbGljIjpmYWxzZSwiSXNVbmRlcmxpbmVkIjpmYWxzZSwiUGFyZW50U3R5bGUiOnsiJHJlZiI6IjY2In19LCJBdXRvU2l6ZSI6MCwiRm9yZWdyb3VuZCI6eyIkcmVmIjoiNjcifSwiTWF4V2lkdGgiOjIwMC4w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xMzQiLCJMaW5lQ29sb3IiOm51bGwsIkxpbmVXZWlnaHQiOjAuMCwiTGluZVR5cGUiOjAsIlBhcmVudFN0eWxlIjpudWxsfSwiUGFyZW50U3R5bGUiOnsiJHJlZiI6IjY1In19LCJEYXRlU3R5bGUiOnsiJGlkIjoiMTM1IiwiRm9udFNldHRpbmdzIjp7IiRpZCI6IjEzNi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zNyIsIkxpbmVDb2xvciI6bnVsbCwiTGluZVdlaWdodCI6MC4wLCJMaW5lVHlwZSI6MCwiUGFyZW50U3R5bGUiOm51bGx9LCJQYXJlbnRTdHlsZSI6eyIkcmVmIjoiNzIifX0sIkRhdGVGb3JtYXQiOnsiJHJlZiI6Ijc5In0sIklzVmlzaWJsZSI6dHJ1ZSwiUGFyZW50U3R5bGUiOnsiJHJlZiI6IjUzIn19LCJQb3NpdGlvbiI6eyJSYXRpbyI6MC4wLCJJc0N1c3RvbSI6ZmFsc2V9LCJJZCI6Ijg4NTFlMjIyLThiM2UtNGZjMC05ODFjLWExYTI5YWIzN2ZhMyIsIkltcG9ydElkIjpudWxsLCJUaXRsZSI6Ik1pbmRzcGhlcmUgMi4wLiBBZGFwdGVyIE1WUCIsIk5vdGUiOm51bGwsIkh5cGVybGluayI6bnVsbCwiSXNDaGFuZ2VkIjpmYWxzZSwiSXNOZXciOmZhbHNlfSx7IiRpZCI6IjEzOCIsIkRhdGUiOiIyMDE3LTExLTMwVDIzOjU5OjU5Ljk5OVoiLCJTdHlsZSI6eyIkaWQiOiIxMzkiLCJTaGFwZSI6MiwiQ29ubmVjdG9yTWFyZ2luIjp7IiRyZWYiOiI1NCJ9LCJDb25uZWN0b3JTdHlsZSI6eyIkaWQiOiIxNDAiLCJMaW5lQ29sb3IiOnsiJGlkIjoiMTQxIiwiJHR5cGUiOiJOTFJFLkNvbW1vbi5Eb20uU29saWRDb2xvckJydXNoLCBOTFJFLkNvbW1vbiIsIkNvbG9yIjp7IiRpZCI6IjE0MiIsIkEiOjEyNywiUiI6MjM1LCJHIjoxMjAsIkIiOjEwfX0sIkxpbmVXZWlnaHQiOjEuMCwiTGluZVR5cGUiOjAsIlBhcmVudFN0eWxlIjp7IiRyZWYiOiI1NSJ9fSwiSXNCZWxvd1RpbWViYW5kIjpmYWxzZSwiSGlkZURhdGUiOmZhbHNlLCJTaGFwZVNpemUiOjEsIlNwYWNpbmciOjIuMCwiUGFkZGluZyI6eyIkcmVmIjoiNTgifSwiU2hhcGVTdHlsZSI6eyIkaWQiOiIxNDMiLCJNYXJnaW4iOnsiJHJlZiI6IjYwIn0sIlBhZGRpbmciOnsiJHJlZiI6IjYxIn0sIkJhY2tncm91bmQiOnsiJGlkIjoiMTQ0IiwiQ29sb3IiOnsiJGlkIjoiMTQ1IiwiQSI6MjU1LCJSIjoyMzUsIkciOjEyMCwiQiI6MTB9fSwiSXNWaXNpYmxlIjp0cnVlLCJXaWR0aCI6MTMuMCwiSGVpZ2h0IjoxMy4wLCJCb3JkZXJTdHlsZSI6eyIkaWQiOiIxNDYiLCJMaW5lQ29sb3IiOnsiJHJlZiI6IjYzIn0sIkxpbmVXZWlnaHQiOjAuMCwiTGluZVR5cGUiOjAsIlBhcmVudFN0eWxlIjp7IiRyZWYiOiI2MiJ9fSwiUGFyZW50U3R5bGUiOnsiJHJlZiI6IjU5In19LCJUaXRsZVN0eWxlIjp7IiRpZCI6IjE0NyIsIkZvbnRTZXR0aW5ncyI6eyIkaWQiOiIxNDgiLCJGb250U2l6ZSI6MTEsIkZvbnROYW1lIjoiQ2FsaWJyaSIsIklzQm9sZCI6dHJ1ZSwiSXNJdGFsaWMiOmZhbHNlLCJJc1VuZGVybGluZWQiOmZhbHNlLCJQYXJlbnRTdHlsZSI6eyIkcmVmIjoiNjYifX0sIkF1dG9TaXplIjoyLCJGb3JlZ3JvdW5kIjp7IiRyZWYiOiI2NyJ9LCJNYXhXaWR0aCI6MTU1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0OSIsIkxpbmVDb2xvciI6bnVsbCwiTGluZVdlaWdodCI6MC4wLCJMaW5lVHlwZSI6MCwiUGFyZW50U3R5bGUiOm51bGx9LCJQYXJlbnRTdHlsZSI6eyIkcmVmIjoiNjUifX0sIkRhdGVTdHlsZSI6eyIkaWQiOiIxNTAiLCJGb250U2V0dGluZ3MiOnsiJGlkIjoiMTU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U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Tg4ZTkxMjMtNDkyMC00ZDVjLWJlN2MtYTZkYmI1ODgyZGU0IiwiSW1wb3J0SWQiOm51bGwsIlRpdGxlIjoiTWluZHNwaGVyZSAzLjAuIEFQSSBBdmFpbGFiaWxpdHkgZm9yIE1pbmRzcGhlcmUgMy4wLiBBZGFwdGVyIE1WUCIsIk5vdGUiOm51bGwsIkh5cGVybGluayI6bnVsbCwiSXNDaGFuZ2VkIjpmYWxzZSwiSXNOZXciOmZhbHNlfSx7IiRpZCI6IjE1MyIsIkRhdGUiOiIyMDE3LTEyLTMxVDIzOjU5OjU5Ljk5OVoiLCJTdHlsZSI6eyIkaWQiOiIxNTQiLCJTaGFwZSI6MiwiQ29ubmVjdG9yTWFyZ2luIjp7IiRyZWYiOiI1NCJ9LCJDb25uZWN0b3JTdHlsZSI6eyIkaWQiOiIxNTUiLCJMaW5lQ29sb3IiOnsiJGlkIjoiMTU2IiwiJHR5cGUiOiJOTFJFLkNvbW1vbi5Eb20uU29saWRDb2xvckJydXNoLCBOTFJFLkNvbW1vbiIsIkNvbG9yIjp7IiRpZCI6IjE1NyIsIkEiOjEyNywiUiI6MTM1LCJHIjoxNTUsIkIiOjE3MH19LCJMaW5lV2VpZ2h0IjoxLjAsIkxpbmVUeXBlIjowLCJQYXJlbnRTdHlsZSI6eyIkcmVmIjoiNTUifX0sIklzQmVsb3dUaW1lYmFuZCI6ZmFsc2UsIkhpZGVEYXRlIjpmYWxzZSwiU2hhcGVTaXplIjoxLCJTcGFjaW5nIjoyLjAsIlBhZGRpbmciOnsiJHJlZiI6IjU4In0sIlNoYXBlU3R5bGUiOnsiJGlkIjoiMTU4IiwiTWFyZ2luIjp7IiRyZWYiOiI2MCJ9LCJQYWRkaW5nIjp7IiRyZWYiOiI2MSJ9LCJCYWNrZ3JvdW5kIjp7IiRpZCI6IjE1OSIsIkNvbG9yIjp7IiRpZCI6IjE2MCIsIkEiOjI1NSwiUiI6MTM1LCJHIjoxNTUsIkIiOjE3MH19LCJJc1Zpc2libGUiOnRydWUsIldpZHRoIjoxMy4wLCJIZWlnaHQiOjEzLjAsIkJvcmRlclN0eWxlIjp7IiRpZCI6IjE2MSIsIkxpbmVDb2xvciI6eyIkcmVmIjoiNjMifSwiTGluZVdlaWdodCI6MC4wLCJMaW5lVHlwZSI6MCwiUGFyZW50U3R5bGUiOnsiJHJlZiI6IjYyIn19LCJQYXJlbnRTdHlsZSI6eyIkcmVmIjoiNTkifX0sIlRpdGxlU3R5bGUiOnsiJGlkIjoiMTYyIiwiRm9udFNldHRpbmdzIjp7IiRpZCI6IjE2MyIsIkZvbnRTaXplIjoxMSwiRm9udE5hbWUiOiJDYWxpYnJpIiwiSXNCb2xkIjp0cnVlLCJJc0l0YWxpYyI6ZmFsc2UsIklzVW5kZXJsaW5lZCI6ZmFsc2UsIlBhcmVudFN0eWxlIjp7IiRyZWYiOiI2NiJ9fSwiQXV0b1NpemUiOjAsIkZvcmVncm91bmQiOnsiJHJlZiI6IjY3In0sIk1heFdpZHRoIjoyMDAuMCwiTWF4SGVpZ2h0IjoiSW5maW5pdHkiLCJTbWFydEZvcmVncm91bmRJc0FjdGl2ZSI6ZmFsc2UsIkhvcml6b250YWxBbGlnbm1lbnQiOjEsIlZlcnRpY2FsQWxpZ25tZW50IjowLCJTbWFydEZvcmVncm91bmQiOm51bGwsIk1hcmdpbiI6eyIkcmVmIjoiNjkifSwiUGFkZGluZyI6eyIkcmVmIjoiNzAifSwiQmFja2dyb3VuZCI6eyIkcmVmIjoiNzEifSwiSXNWaXNpYmxlIjp0cnVlLCJXaWR0aCI6MC4wLCJIZWlnaHQiOjAuMCwiQm9yZGVyU3R5bGUiOnsiJGlkIjoiMTY0IiwiTGluZUNvbG9yIjpudWxsLCJMaW5lV2VpZ2h0IjowLjAsIkxpbmVUeXBlIjowLCJQYXJlbnRTdHlsZSI6bnVsbH0sIlBhcmVudFN0eWxlIjp7IiRyZWYiOiI2NSJ9fSwiRGF0ZVN0eWxlIjp7IiRpZCI6IjE2NSIsIkZvbnRTZXR0aW5ncyI6eyIkaWQiOiIxNjYiLCJGb250U2l6ZSI6MTAsIkZvbnROYW1lIjoiQ2FsaWJyaSIsIklzQm9sZCI6ZmFsc2UsIklzSXRhbGljIjpmYWxzZSwiSXNVbmRlcmxpbmVkIjpmYWxzZSwiUGFyZW50U3R5bGUiOnsiJHJlZiI6IjczIn19LCJBdXRvU2l6ZSI6MCwiRm9yZWdyb3VuZCI6eyIkcmVmIjoiNzQifSwiTWF4V2lkdGgiOjIwMC4wLCJNYXhIZWlnaHQiOiJJbmZpbml0eSIsIlNtYXJ0Rm9yZWdyb3VuZElzQWN0aXZlIjpmYWxzZSwiSG9yaXpvbnRhbEFsaWdubWVudCI6MCwiVmVydGljYWxBbGlnbm1lbnQiOjAsIlNtYXJ0Rm9yZWdyb3VuZCI6bnVsbCwiTWFyZ2luIjp7IiRyZWYiOiI3NiJ9LCJQYWRkaW5nIjp7IiRyZWYiOiI3NyJ9LCJCYWNrZ3JvdW5kIjp7IiRyZWYiOiI3OCJ9LCJJc1Zpc2libGUiOnRydWUsIldpZHRoIjowLjAsIkhlaWdodCI6MC4wLCJCb3JkZXJTdHlsZSI6eyIkaWQiOiIxNjciLCJMaW5lQ29sb3IiOm51bGwsIkxpbmVXZWlnaHQiOjAuMCwiTGluZVR5cGUiOjAsIlBhcmVudFN0eWxlIjpudWxsfSwiUGFyZW50U3R5bGUiOnsiJHJlZiI6IjcyIn19LCJEYXRlRm9ybWF0Ijp7IiRyZWYiOiI3OSJ9LCJJc1Zpc2libGUiOnRydWUsIlBhcmVudFN0eWxlIjp7IiRyZWYiOiI1MyJ9fSwiUG9zaXRpb24iOnsiUmF0aW8iOjAuMCwiSXNDdXN0b20iOmZhbHNlfSwiSWQiOiIwMjg4ODFiZi1jM2NjLTQ2YWMtYTM0MS1iZTk2NzBjOTJmYWUiLCJJbXBvcnRJZCI6bnVsbCwiVGl0bGUiOiJNaW5kc3BoZXJlIDIuMC4gQWRhcHRlciBGdWxsIiwiTm90ZSI6bnVsbCwiSHlwZXJsaW5rIjpudWxsLCJJc0NoYW5nZWQiOmZhbHNlLCJJc05ldyI6ZmFsc2V9LHsiJGlkIjoiMTY4IiwiRGF0ZSI6IjIwMTgtMDMtMzFUMjM6NTk6NTkuOTk5WiIsIlN0eWxlIjp7IiRpZCI6IjE2OSIsIlNoYXBlIjoyLCJDb25uZWN0b3JNYXJnaW4iOnsiJHJlZiI6IjU0In0sIkNvbm5lY3RvclN0eWxlIjp7IiRpZCI6IjE3MCIsIkxpbmVDb2xvciI6eyIkaWQiOiIxNzEiLCIkdHlwZSI6Ik5MUkUuQ29tbW9uLkRvbS5Tb2xpZENvbG9yQnJ1c2gsIE5MUkUuQ29tbW9uIiwiQ29sb3IiOnsiJGlkIjoiMTcyIiwiQSI6MTI3LCJSIjoxOTAsIkciOjIwNSwiQiI6MjE1fX0sIkxpbmVXZWlnaHQiOjEuMCwiTGluZVR5cGUiOjAsIlBhcmVudFN0eWxlIjp7IiRyZWYiOiI1NSJ9fSwiSXNCZWxvd1RpbWViYW5kIjpmYWxzZSwiSGlkZURhdGUiOmZhbHNlLCJTaGFwZVNpemUiOjEsIlNwYWNpbmciOjIuMCwiUGFkZGluZyI6eyIkcmVmIjoiNTgifSwiU2hhcGVTdHlsZSI6eyIkaWQiOiIxNzMiLCJNYXJnaW4iOnsiJHJlZiI6IjYwIn0sIlBhZGRpbmciOnsiJHJlZiI6IjYxIn0sIkJhY2tncm91bmQiOnsiJGlkIjoiMTc0IiwiQ29sb3IiOnsiJGlkIjoiMTc1IiwiQSI6MjU1LCJSIjoxOTAsIkciOjIwNSwiQiI6MjE1fX0sIklzVmlzaWJsZSI6dHJ1ZSwiV2lkdGgiOjEzLjAsIkhlaWdodCI6MTMuMCwiQm9yZGVyU3R5bGUiOnsiJGlkIjoiMTc2IiwiTGluZUNvbG9yIjp7IiRyZWYiOiI2MyJ9LCJMaW5lV2VpZ2h0IjowLjAsIkxpbmVUeXBlIjowLCJQYXJlbnRTdHlsZSI6eyIkcmVmIjoiNjIifX0sIlBhcmVudFN0eWxlIjp7IiRyZWYiOiI1OSJ9fSwiVGl0bGVTdHlsZSI6eyIkaWQiOiIxNzciLCJGb250U2V0dGluZ3MiOnsiJGlkIjoiMTc4IiwiRm9udFNpemUiOjExLCJGb250TmFtZSI6IkNhbGlicmkiLCJJc0JvbGQiOnRydWUsIklzSXRhbGljIjpmYWxzZSwiSXNVbmRlcmxpbmVkIjpmYWxzZSwiUGFyZW50U3R5bGUiOnsiJHJlZiI6IjY2In19LCJBdXRvU2l6ZSI6MiwiRm9yZWdyb3VuZCI6eyIkcmVmIjoiNjcifSwiTWF4V2lkdGgiOjQx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3OSIsIkxpbmVDb2xvciI6bnVsbCwiTGluZVdlaWdodCI6MC4wLCJMaW5lVHlwZSI6MCwiUGFyZW50U3R5bGUiOm51bGx9LCJQYXJlbnRTdHlsZSI6eyIkcmVmIjoiNjUifX0sIkRhdGVTdHlsZSI6eyIkaWQiOiIxODAiLCJGb250U2V0dGluZ3MiOnsiJGlkIjoiMTg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g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WExYjAzZDMtNTY1ZC00MGM5LWJjMWQtNDc4YTczYTA4NjgwIiwiSW1wb3J0SWQiOm51bGwsIlRpdGxlIjoiTWluZHNwaGVyZSAzLjAuIEFkYXB0ZXIgTVZQIiwiTm90ZSI6bnVsbCwiSHlwZXJsaW5rIjpudWxsLCJJc0NoYW5nZWQiOmZhbHNlLCJJc05ldyI6ZmFsc2V9XSwiVGFza3MiOlt7IiRpZCI6IjE4MyIsIkdyb3VwTmFtZSI6bnVsbCwiU3RhcnREYXRlIjoiMjAxNy0wOC0xMVQwMDowMDowMFoiLCJFbmREYXRlIjoiMjAxNy0wOC0zMVQyMzo1OTo1OS45OTlaIiwiUGVyY2VudGFnZUNvbXBsZXRlIjpudWxsLCJTdHlsZSI6eyIkaWQiOiIxODQiLCJTaGFwZSI6MSwiU2hhcGVUaGlja25lc3MiOjEsIkR1cmF0aW9uRm9ybWF0IjowLCJJbmNsdWRlTm9uV29ya2luZ0RheXNJbkR1cmF0aW9uIjp0cnVlLCJQZXJjZW50YWdlQ29tcGxldGVTdHlsZSI6eyIkaWQiOiIxODUiLCJGb250U2V0dGluZ3MiOnsiJGlkIjoiMTg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Tg3IiwiTGluZUNvbG9yIjpudWxsLCJMaW5lV2VpZ2h0IjowLjAsIkxpbmVUeXBlIjowLCJQYXJlbnRTdHlsZSI6bnVsbH0sIlBhcmVudFN0eWxlIjp7IiRyZWYiOiI4MSJ9fSwiRHVyYXRpb25TdHlsZSI6eyIkaWQiOiIxODgiLCJGb250U2V0dGluZ3MiOnsiJGlkIjoiMTg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TkwIiwiTGluZUNvbG9yIjpudWxsLCJMaW5lV2VpZ2h0IjowLjAsIkxpbmVUeXBlIjowLCJQYXJlbnRTdHlsZSI6bnVsbH0sIlBhcmVudFN0eWxlIjp7IiRyZWYiOiI4OCJ9fSwiSG9yaXpvbnRhbENvbm5lY3RvclN0eWxlIjp7IiRpZCI6IjE5MSIsIkxpbmVDb2xvciI6eyIkcmVmIjoiOTYifSwiTGluZVdlaWdodCI6MC4wLCJMaW5lVHlwZSI6MCwiUGFyZW50U3R5bGUiOnsiJHJlZiI6Ijk1In19LCJWZXJ0aWNhbENvbm5lY3RvclN0eWxlIjp7IiRpZCI6IjE5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xOTMiLCJNYXJnaW4iOnsiJHJlZiI6IjEwMiJ9LCJQYWRkaW5nIjp7IiRyZWYiOiIxMDMifSwiQmFja2dyb3VuZCI6eyIkaWQiOiIxOTQiLCJDb2xvciI6eyIkaWQiOiIxOTUiLCJBIjoyNTUsIlIiOjE5MCwiRyI6MjA1LCJCIjoyMTV9fSwiSXNWaXNpYmxlIjp0cnVlLCJXaWR0aCI6MC4wLCJIZWlnaHQiOjE2LjAsIkJvcmRlclN0eWxlIjp7IiRpZCI6IjE5NiIsIkxpbmVDb2xvciI6eyIkcmVmIjoiMTA1In0sIkxpbmVXZWlnaHQiOjAuMCwiTGluZVR5cGUiOjAsIlBhcmVudFN0eWxlIjp7IiRyZWYiOiIxMDQifX0sIlBhcmVudFN0eWxlIjp7IiRyZWYiOiIxMDEifX0sIlRpdGxlU3R5bGUiOnsiJGlkIjoiMTk3IiwiRm9udFNldHRpbmdzIjp7IiRpZCI6IjE5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xOTkiLCJMaW5lQ29sb3IiOm51bGwsIkxpbmVXZWlnaHQiOjAuMCwiTGluZVR5cGUiOjAsIlBhcmVudFN0eWxlIjpudWxsfSwiUGFyZW50U3R5bGUiOnsiJHJlZiI6IjEwNyJ9fSwiRGF0ZVN0eWxlIjp7IiRpZCI6IjIwMCIsIkZvbnRTZXR0aW5ncyI6eyIkaWQiOiIyM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wMiIsIkxpbmVDb2xvciI6bnVsbCwiTGluZVdlaWdodCI6MC4wLCJMaW5lVHlwZSI6MCwiUGFyZW50U3R5bGUiOm51bGx9LCJQYXJlbnRTdHlsZSI6eyIkcmVmIjoiMTE0In19LCJEYXRlRm9ybWF0Ijp7IiRyZWYiOiIxMjEifSwiSXNWaXNpYmxlIjp0cnVlLCJQYXJlbnRTdHlsZSI6eyIkcmVmIjoiODAifX0sIkluZGV4IjoxLCJJZCI6IjlkMDY5NzgyLTdiYTUtNDg3Ny04Zjk5LTRiMWY4OWUyOWQ5ZCIsIkltcG9ydElkIjpudWxsLCJUaXRsZSI6Ik1pbmRzcGhlcmUgMi4wLiBNVlAgU3BlY2lmaWNhdGlvbiIsIk5vdGUiOm51bGwsIkh5cGVybGluayI6bnVsbCwiSXNDaGFuZ2VkIjpmYWxzZSwiSXNOZXciOmZhbHNlfSx7IiRpZCI6IjIwMyIsIkdyb3VwTmFtZSI6bnVsbCwiU3RhcnREYXRlIjoiMjAxNy0wOS0wMVQwMDowMDowMFoiLCJFbmREYXRlIjoiMjAxNy0xMC0zMVQyMzo1OTo1OS45OTlaIiwiUGVyY2VudGFnZUNvbXBsZXRlIjpudWxsLCJTdHlsZSI6eyIkaWQiOiIyMDQiLCJTaGFwZSI6MSwiU2hhcGVUaGlja25lc3MiOjIsIkR1cmF0aW9uRm9ybWF0IjowLCJJbmNsdWRlTm9uV29ya2luZ0RheXNJbkR1cmF0aW9uIjp0cnVlLCJQZXJjZW50YWdlQ29tcGxldGVTdHlsZSI6eyIkaWQiOiIyMDUiLCJGb250U2V0dGluZ3MiOnsiJGlkIjoiMjA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A3IiwiTGluZUNvbG9yIjpudWxsLCJMaW5lV2VpZ2h0IjowLjAsIkxpbmVUeXBlIjowLCJQYXJlbnRTdHlsZSI6bnVsbH0sIlBhcmVudFN0eWxlIjp7IiRyZWYiOiI4MSJ9fSwiRHVyYXRpb25TdHlsZSI6eyIkaWQiOiIyMDgiLCJGb250U2V0dGluZ3MiOnsiJGlkIjoiMjA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EwIiwiTGluZUNvbG9yIjpudWxsLCJMaW5lV2VpZ2h0IjowLjAsIkxpbmVUeXBlIjowLCJQYXJlbnRTdHlsZSI6bnVsbH0sIlBhcmVudFN0eWxlIjp7IiRyZWYiOiI4OCJ9fSwiSG9yaXpvbnRhbENvbm5lY3RvclN0eWxlIjp7IiRpZCI6IjIxMSIsIkxpbmVDb2xvciI6eyIkcmVmIjoiOTYifSwiTGluZVdlaWdodCI6MC4wLCJMaW5lVHlwZSI6MCwiUGFyZW50U3R5bGUiOnsiJHJlZiI6Ijk1In19LCJWZXJ0aWNhbENvbm5lY3RvclN0eWxlIjp7IiRpZCI6IjIx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MTMiLCJNYXJnaW4iOnsiJHJlZiI6IjEwMiJ9LCJQYWRkaW5nIjp7IiRyZWYiOiIxMDMifSwiQmFja2dyb3VuZCI6eyIkaWQiOiIyMTQiLCJDb2xvciI6eyIkaWQiOiIyMTUiLCJBIjoyNTUsIlIiOjExNSwiRyI6MTE1LCJCIjoxMTV9fSwiSXNWaXNpYmxlIjp0cnVlLCJXaWR0aCI6MC4wLCJIZWlnaHQiOjIyLjAsIkJvcmRlclN0eWxlIjp7IiRpZCI6IjIxNiIsIkxpbmVDb2xvciI6eyIkcmVmIjoiMTA1In0sIkxpbmVXZWlnaHQiOjAuMCwiTGluZVR5cGUiOjAsIlBhcmVudFN0eWxlIjp7IiRyZWYiOiIxMDQifX0sIlBhcmVudFN0eWxlIjp7IiRyZWYiOiIxMDEifX0sIlRpdGxlU3R5bGUiOnsiJGlkIjoiMjE3IiwiRm9udFNldHRpbmdzIjp7IiRpZCI6IjIx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TkiLCJMaW5lQ29sb3IiOm51bGwsIkxpbmVXZWlnaHQiOjAuMCwiTGluZVR5cGUiOjAsIlBhcmVudFN0eWxlIjpudWxsfSwiUGFyZW50U3R5bGUiOnsiJHJlZiI6IjEwNyJ9fSwiRGF0ZVN0eWxlIjp7IiRpZCI6IjIyMCIsIkZvbnRTZXR0aW5ncyI6eyIkaWQiOiIyMj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yMiIsIkxpbmVDb2xvciI6bnVsbCwiTGluZVdlaWdodCI6MC4wLCJMaW5lVHlwZSI6MCwiUGFyZW50U3R5bGUiOm51bGx9LCJQYXJlbnRTdHlsZSI6eyIkcmVmIjoiMTE0In19LCJEYXRlRm9ybWF0Ijp7IiRyZWYiOiIxMjEifSwiSXNWaXNpYmxlIjp0cnVlLCJQYXJlbnRTdHlsZSI6eyIkcmVmIjoiODAifX0sIkluZGV4IjoyLCJJZCI6IjE4NjY2MDFhLWZjMGItNGM4YS1iNTdhLTAxZDA1OTE3NGJmMyIsIkltcG9ydElkIjpudWxsLCJUaXRsZSI6Ik1pbmRzcGhlcmUgMi4wLiBNVlAgSW1wbGVtZW50YXRpb24iLCJOb3RlIjpudWxsLCJIeXBlcmxpbmsiOm51bGwsIklzQ2hhbmdlZCI6ZmFsc2UsIklzTmV3IjpmYWxzZX0seyIkaWQiOiIyMjMiLCJHcm91cE5hbWUiOm51bGwsIlN0YXJ0RGF0ZSI6IjIwMTctMDktMDFUMDA6MDA6MDBaIiwiRW5kRGF0ZSI6IjIwMTctMTAtMzFUMjM6NTk6NTkuOTk5WiIsIlBlcmNlbnRhZ2VDb21wbGV0ZSI6bnVsbCwiU3R5bGUiOnsiJGlkIjoiMjI0IiwiU2hhcGUiOjEsIlNoYXBlVGhpY2tuZXNzIjoxLCJEdXJhdGlvbkZvcm1hdCI6MCwiSW5jbHVkZU5vbldvcmtpbmdEYXlzSW5EdXJhdGlvbiI6dHJ1ZSwiUGVyY2VudGFnZUNvbXBsZXRlU3R5bGUiOnsiJGlkIjoiMjI1IiwiRm9udFNldHRpbmdzIjp7IiRpZCI6IjIy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yNyIsIkxpbmVDb2xvciI6bnVsbCwiTGluZVdlaWdodCI6MC4wLCJMaW5lVHlwZSI6MCwiUGFyZW50U3R5bGUiOm51bGx9LCJQYXJlbnRTdHlsZSI6eyIkcmVmIjoiODEifX0sIkR1cmF0aW9uU3R5bGUiOnsiJGlkIjoiMjI4IiwiRm9udFNldHRpbmdzIjp7IiRpZCI6IjIy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zMCIsIkxpbmVDb2xvciI6bnVsbCwiTGluZVdlaWdodCI6MC4wLCJMaW5lVHlwZSI6MCwiUGFyZW50U3R5bGUiOm51bGx9LCJQYXJlbnRTdHlsZSI6eyIkcmVmIjoiODgifX0sIkhvcml6b250YWxDb25uZWN0b3JTdHlsZSI6eyIkaWQiOiIyMzEiLCJMaW5lQ29sb3IiOnsiJHJlZiI6Ijk2In0sIkxpbmVXZWlnaHQiOjAuMCwiTGluZVR5cGUiOjAsIlBhcmVudFN0eWxlIjp7IiRyZWYiOiI5NSJ9fSwiVmVydGljYWxDb25uZWN0b3JTdHlsZSI6eyIkaWQiOiIyM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MzIiwiTWFyZ2luIjp7IiRyZWYiOiIxMDIifSwiUGFkZGluZyI6eyIkcmVmIjoiMTAzIn0sIkJhY2tncm91bmQiOnsiJGlkIjoiMjM0IiwiQ29sb3IiOnsiJGlkIjoiMjM1IiwiQSI6MjU1LCJSIjoyNTQsIkciOjE4NiwiQiI6MTB9fSwiSXNWaXNpYmxlIjp0cnVlLCJXaWR0aCI6MC4wLCJIZWlnaHQiOjE2LjAsIkJvcmRlclN0eWxlIjp7IiRpZCI6IjIzNiIsIkxpbmVDb2xvciI6eyIkcmVmIjoiMTA1In0sIkxpbmVXZWlnaHQiOjAuMCwiTGluZVR5cGUiOjAsIlBhcmVudFN0eWxlIjp7IiRyZWYiOiIxMDQifX0sIlBhcmVudFN0eWxlIjp7IiRyZWYiOiIxMDEifX0sIlRpdGxlU3R5bGUiOnsiJGlkIjoiMjM3IiwiRm9udFNldHRpbmdzIjp7IiRpZCI6IjIz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zkiLCJMaW5lQ29sb3IiOm51bGwsIkxpbmVXZWlnaHQiOjAuMCwiTGluZVR5cGUiOjAsIlBhcmVudFN0eWxlIjpudWxsfSwiUGFyZW50U3R5bGUiOnsiJHJlZiI6IjEwNyJ9fSwiRGF0ZVN0eWxlIjp7IiRpZCI6IjI0MCIsIkZvbnRTZXR0aW5ncyI6eyIkaWQiOiIyN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0MiIsIkxpbmVDb2xvciI6bnVsbCwiTGluZVdlaWdodCI6MC4wLCJMaW5lVHlwZSI6MCwiUGFyZW50U3R5bGUiOm51bGx9LCJQYXJlbnRTdHlsZSI6eyIkcmVmIjoiMTE0In19LCJEYXRlRm9ybWF0Ijp7IiRyZWYiOiIxMjEifSwiSXNWaXNpYmxlIjp0cnVlLCJQYXJlbnRTdHlsZSI6eyIkcmVmIjoiODAifX0sIkluZGV4IjozLCJJZCI6ImY5NWYxMTI4LTllZmUtNDc1NS1hMjVkLTBkNDdhN2MyMzhiMyIsIkltcG9ydElkIjpudWxsLCJUaXRsZSI6Ik1pbmRzcGhlcmUgMi4wLiBGdWxsIC0gU3BlY2lmaWNhdGlvbiIsIk5vdGUiOm51bGwsIkh5cGVybGluayI6bnVsbCwiSXNDaGFuZ2VkIjpmYWxzZSwiSXNOZXciOmZhbHNlfSx7IiRpZCI6IjI0MyIsIkdyb3VwTmFtZSI6bnVsbCwiU3RhcnREYXRlIjoiMjAxNy0xMC0zMVQwMDowMDowMFoiLCJFbmREYXRlIjoiMjAxNy0xMi0zMVQyMzo1OTo1OS45OTlaIiwiUGVyY2VudGFnZUNvbXBsZXRlIjpudWxsLCJTdHlsZSI6eyIkaWQiOiIyNDQiLCJTaGFwZSI6MSwiU2hhcGVUaGlja25lc3MiOjIsIkR1cmF0aW9uRm9ybWF0IjowLCJJbmNsdWRlTm9uV29ya2luZ0RheXNJbkR1cmF0aW9uIjp0cnVlLCJQZXJjZW50YWdlQ29tcGxldGVTdHlsZSI6eyIkaWQiOiIyNDUiLCJGb250U2V0dGluZ3MiOnsiJGlkIjoiMjQ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Q3IiwiTGluZUNvbG9yIjpudWxsLCJMaW5lV2VpZ2h0IjowLjAsIkxpbmVUeXBlIjowLCJQYXJlbnRTdHlsZSI6bnVsbH0sIlBhcmVudFN0eWxlIjp7IiRyZWYiOiI4MSJ9fSwiRHVyYXRpb25TdHlsZSI6eyIkaWQiOiIyNDgiLCJGb250U2V0dGluZ3MiOnsiJGlkIjoiMjQ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UwIiwiTGluZUNvbG9yIjpudWxsLCJMaW5lV2VpZ2h0IjowLjAsIkxpbmVUeXBlIjowLCJQYXJlbnRTdHlsZSI6bnVsbH0sIlBhcmVudFN0eWxlIjp7IiRyZWYiOiI4OCJ9fSwiSG9yaXpvbnRhbENvbm5lY3RvclN0eWxlIjp7IiRpZCI6IjI1MSIsIkxpbmVDb2xvciI6eyIkcmVmIjoiOTYifSwiTGluZVdlaWdodCI6MC4wLCJMaW5lVHlwZSI6MCwiUGFyZW50U3R5bGUiOnsiJHJlZiI6Ijk1In19LCJWZXJ0aWNhbENvbm5lY3RvclN0eWxlIjp7IiRpZCI6IjI1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NTMiLCJNYXJnaW4iOnsiJHJlZiI6IjEwMiJ9LCJQYWRkaW5nIjp7IiRyZWYiOiIxMDMifSwiQmFja2dyb3VuZCI6eyIkaWQiOiIyNTQiLCJDb2xvciI6eyIkaWQiOiIyNTUiLCJBIjoyNTUsIlIiOjIzNSwiRyI6MTIwLCJCIjoxMH19LCJJc1Zpc2libGUiOnRydWUsIldpZHRoIjowLjAsIkhlaWdodCI6MjIuMCwiQm9yZGVyU3R5bGUiOnsiJGlkIjoiMjU2IiwiTGluZUNvbG9yIjp7IiRyZWYiOiIxMDUifSwiTGluZVdlaWdodCI6MC4wLCJMaW5lVHlwZSI6MCwiUGFyZW50U3R5bGUiOnsiJHJlZiI6IjEwNCJ9fSwiUGFyZW50U3R5bGUiOnsiJHJlZiI6IjEwMSJ9fSwiVGl0bGVTdHlsZSI6eyIkaWQiOiIyNTciLCJGb250U2V0dGluZ3MiOnsiJGlkIjoiMjU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1OSIsIkxpbmVDb2xvciI6bnVsbCwiTGluZVdlaWdodCI6MC4wLCJMaW5lVHlwZSI6MCwiUGFyZW50U3R5bGUiOm51bGx9LCJQYXJlbnRTdHlsZSI6eyIkcmVmIjoiMTA3In19LCJEYXRlU3R5bGUiOnsiJGlkIjoiMjYwIiwiRm9udFNldHRpbmdzIjp7IiRpZCI6IjI2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YyIiwiTGluZUNvbG9yIjpudWxsLCJMaW5lV2VpZ2h0IjowLjAsIkxpbmVUeXBlIjowLCJQYXJlbnRTdHlsZSI6bnVsbH0sIlBhcmVudFN0eWxlIjp7IiRyZWYiOiIxMTQifX0sIkRhdGVGb3JtYXQiOnsiJHJlZiI6IjEyMSJ9LCJJc1Zpc2libGUiOnRydWUsIlBhcmVudFN0eWxlIjp7IiRyZWYiOiI4MCJ9fSwiSW5kZXgiOjQsIklkIjoiNzg5ZmNhMDctNGFhMC00YjA4LWJkNzItZDU0NzU3MDUxMGNkIiwiSW1wb3J0SWQiOm51bGwsIlRpdGxlIjoiTWluZHNwaGVyZSAyLjAuIEZ1bGwgSW1wbGVtZW50YXRpb24iLCJOb3RlIjpudWxsLCJIeXBlcmxpbmsiOm51bGwsIklzQ2hhbmdlZCI6ZmFsc2UsIklzTmV3IjpmYWxzZX0seyIkaWQiOiIyNjMiLCJHcm91cE5hbWUiOm51bGwsIlN0YXJ0RGF0ZSI6IjIwMTctMTItMDFUMDA6MDA6MDBaIiwiRW5kRGF0ZSI6IjIwMTgtMDEtMzFUMjM6NTk6NTkuOTk5WiIsIlBlcmNlbnRhZ2VDb21wbGV0ZSI6bnVsbCwiU3R5bGUiOnsiJGlkIjoiMjY0IiwiU2hhcGUiOjEsIlNoYXBlVGhpY2tuZXNzIjoxLCJEdXJhdGlvbkZvcm1hdCI6MCwiSW5jbHVkZU5vbldvcmtpbmdEYXlzSW5EdXJhdGlvbiI6dHJ1ZSwiUGVyY2VudGFnZUNvbXBsZXRlU3R5bGUiOnsiJGlkIjoiMjY1IiwiRm9udFNldHRpbmdzIjp7IiRpZCI6IjI2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2NyIsIkxpbmVDb2xvciI6bnVsbCwiTGluZVdlaWdodCI6MC4wLCJMaW5lVHlwZSI6MCwiUGFyZW50U3R5bGUiOm51bGx9LCJQYXJlbnRTdHlsZSI6eyIkcmVmIjoiODEifX0sIkR1cmF0aW9uU3R5bGUiOnsiJGlkIjoiMjY4IiwiRm9udFNldHRpbmdzIjp7IiRpZCI6IjI2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3MCIsIkxpbmVDb2xvciI6bnVsbCwiTGluZVdlaWdodCI6MC4wLCJMaW5lVHlwZSI6MCwiUGFyZW50U3R5bGUiOm51bGx9LCJQYXJlbnRTdHlsZSI6eyIkcmVmIjoiODgifX0sIkhvcml6b250YWxDb25uZWN0b3JTdHlsZSI6eyIkaWQiOiIyNzEiLCJMaW5lQ29sb3IiOnsiJHJlZiI6Ijk2In0sIkxpbmVXZWlnaHQiOjAuMCwiTGluZVR5cGUiOjAsIlBhcmVudFN0eWxlIjp7IiRyZWYiOiI5NSJ9fSwiVmVydGljYWxDb25uZWN0b3JTdHlsZSI6eyIkaWQiOiIyN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czIiwiTWFyZ2luIjp7IiRyZWYiOiIxMDIifSwiUGFkZGluZyI6eyIkcmVmIjoiMTAzIn0sIkJhY2tncm91bmQiOnsiJGlkIjoiMjc0IiwiQ29sb3IiOnsiJGlkIjoiMjc1IiwiQSI6MjU1LCJSIjoyLCJHIjoxNzgsIkIiOjIzOH19LCJJc1Zpc2libGUiOnRydWUsIldpZHRoIjowLjAsIkhlaWdodCI6MTYuMCwiQm9yZGVyU3R5bGUiOnsiJGlkIjoiMjc2IiwiTGluZUNvbG9yIjp7IiRyZWYiOiIxMDUifSwiTGluZVdlaWdodCI6MC4wLCJMaW5lVHlwZSI6MCwiUGFyZW50U3R5bGUiOnsiJHJlZiI6IjEwNCJ9fSwiUGFyZW50U3R5bGUiOnsiJHJlZiI6IjEwMSJ9fSwiVGl0bGVTdHlsZSI6eyIkaWQiOiIyNzciLCJGb250U2V0dGluZ3MiOnsiJGlkIjoiMjc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3OSIsIkxpbmVDb2xvciI6bnVsbCwiTGluZVdlaWdodCI6MC4wLCJMaW5lVHlwZSI6MCwiUGFyZW50U3R5bGUiOm51bGx9LCJQYXJlbnRTdHlsZSI6eyIkcmVmIjoiMTA3In19LCJEYXRlU3R5bGUiOnsiJGlkIjoiMjgwIiwiRm9udFNldHRpbmdzIjp7IiRpZCI6IjI4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gyIiwiTGluZUNvbG9yIjpudWxsLCJMaW5lV2VpZ2h0IjowLjAsIkxpbmVUeXBlIjowLCJQYXJlbnRTdHlsZSI6bnVsbH0sIlBhcmVudFN0eWxlIjp7IiRyZWYiOiIxMTQifX0sIkRhdGVGb3JtYXQiOnsiJHJlZiI6IjEyMSJ9LCJJc1Zpc2libGUiOnRydWUsIlBhcmVudFN0eWxlIjp7IiRyZWYiOiI4MCJ9fSwiSW5kZXgiOjUsIklkIjoiN2RkODM0ZDktZjkwZC00MWNmLWIzZTAtM2UzMjgxNzczZTFiIiwiSW1wb3J0SWQiOm51bGwsIlRpdGxlIjoiTWluZHNwaGVyZSAzLjAgTVZQIFNwZWNpZmljYXRpb24iLCJOb3RlIjpudWxsLCJIeXBlcmxpbmsiOm51bGwsIklzQ2hhbmdlZCI6ZmFsc2UsIklzTmV3IjpmYWxzZX0seyIkaWQiOiIyODMiLCJHcm91cE5hbWUiOm51bGwsIlN0YXJ0RGF0ZSI6IjIwMTgtMDEtMzFUMDA6MDA6MDBaIiwiRW5kRGF0ZSI6IjIwMTgtMDMtMzFUMjM6NTk6NTkuOTk5WiIsIlBlcmNlbnRhZ2VDb21wbGV0ZSI6bnVsbCwiU3R5bGUiOnsiJGlkIjoiMjg0IiwiU2hhcGUiOjEsIlNoYXBlVGhpY2tuZXNzIjoyLCJEdXJhdGlvbkZvcm1hdCI6MCwiSW5jbHVkZU5vbldvcmtpbmdEYXlzSW5EdXJhdGlvbiI6dHJ1ZSwiUGVyY2VudGFnZUNvbXBsZXRlU3R5bGUiOnsiJGlkIjoiMjg1IiwiRm9udFNldHRpbmdzIjp7IiRpZCI6IjI4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4NyIsIkxpbmVDb2xvciI6bnVsbCwiTGluZVdlaWdodCI6MC4wLCJMaW5lVHlwZSI6MCwiUGFyZW50U3R5bGUiOm51bGx9LCJQYXJlbnRTdHlsZSI6eyIkcmVmIjoiODEifX0sIkR1cmF0aW9uU3R5bGUiOnsiJGlkIjoiMjg4IiwiRm9udFNldHRpbmdzIjp7IiRpZCI6IjI4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5MCIsIkxpbmVDb2xvciI6bnVsbCwiTGluZVdlaWdodCI6MC4wLCJMaW5lVHlwZSI6MCwiUGFyZW50U3R5bGUiOm51bGx9LCJQYXJlbnRTdHlsZSI6eyIkcmVmIjoiODgifX0sIkhvcml6b250YWxDb25uZWN0b3JTdHlsZSI6eyIkaWQiOiIyOTEiLCJMaW5lQ29sb3IiOnsiJHJlZiI6Ijk2In0sIkxpbmVXZWlnaHQiOjAuMCwiTGluZVR5cGUiOjAsIlBhcmVudFN0eWxlIjp7IiRyZWYiOiI5NSJ9fSwiVmVydGljYWxDb25uZWN0b3JTdHlsZSI6eyIkaWQiOiIyOT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kzIiwiTWFyZ2luIjp7IiRyZWYiOiIxMDIifSwiUGFkZGluZyI6eyIkcmVmIjoiMTAzIn0sIkJhY2tncm91bmQiOnsiJGlkIjoiMjk0IiwiQ29sb3IiOnsiJGlkIjoiMjk1IiwiQSI6MjU1LCJSIjo0NywiRyI6NTQsIkIiOjE1M319LCJJc1Zpc2libGUiOnRydWUsIldpZHRoIjowLjAsIkhlaWdodCI6MjIuMCwiQm9yZGVyU3R5bGUiOnsiJGlkIjoiMjk2IiwiTGluZUNvbG9yIjp7IiRyZWYiOiIxMDUifSwiTGluZVdlaWdodCI6MC4wLCJMaW5lVHlwZSI6MCwiUGFyZW50U3R5bGUiOnsiJHJlZiI6IjEwNCJ9fSwiUGFyZW50U3R5bGUiOnsiJHJlZiI6IjEwMSJ9fSwiVGl0bGVTdHlsZSI6eyIkaWQiOiIyOTciLCJGb250U2V0dGluZ3MiOnsiJGlkIjoiMjk4IiwiRm9udFNpemUiOjExLCJGb250TmFtZSI6IkNhbGlicmkiLCJJc0JvbGQiOnRydWUsIklzSXRhbGljIjpmYWxzZSwiSXNVbmRlcmxpbmVkIjpmYWxzZSwiUGFyZW50U3R5bGUiOnsiJHJlZiI6IjEwOCJ9fSwiQXV0b1NpemUiOjIsIkZvcmVncm91bmQiOnsiJHJlZiI6IjEwOSJ9LCJNYXhXaWR0aCI6NjIuMCwiTWF4SGVpZ2h0IjoiSW5maW5pdHkiLCJTbWFydEZvcmVncm91bmRJc0FjdGl2ZSI6ZmFsc2UsIkhvcml6b250YWxBbGlnbm1lbnQiOjIsIlZlcnRpY2FsQWxpZ25tZW50IjowLCJTbWFydEZvcmVncm91bmQiOm51bGwsIk1hcmdpbiI6eyIkcmVmIjoiMTExIn0sIlBhZGRpbmciOnsiJHJlZiI6IjExMiJ9LCJCYWNrZ3JvdW5kIjp7IiRyZWYiOiIxMTMifSwiSXNWaXNpYmxlIjp0cnVlLCJXaWR0aCI6MC4wLCJIZWlnaHQiOjAuMCwiQm9yZGVyU3R5bGUiOnsiJGlkIjoiMjk5IiwiTGluZUNvbG9yIjpudWxsLCJMaW5lV2VpZ2h0IjowLjAsIkxpbmVUeXBlIjowLCJQYXJlbnRTdHlsZSI6bnVsbH0sIlBhcmVudFN0eWxlIjp7IiRyZWYiOiIxMDcifX0sIkRhdGVTdHlsZSI6eyIkaWQiOiIzMDAiLCJGb250U2V0dGluZ3MiOnsiJGlkIjoiMzAxIiwiRm9udFNpemUiOjEwLCJGb250TmFtZSI6IkNhbGlicmkiLCJJc0JvbGQiOmZhbHNlLCJJc0l0YWxpYyI6ZmFsc2UsIklzVW5kZXJsaW5lZCI6ZmFsc2UsIlBhcmVudFN0eWxlIjp7IiRyZWYiOiIxMTUifX0sIkF1dG9TaXplIjowLCJGb3JlZ3JvdW5kIjp7IiRpZCI6IjMwMiIsIkNvbG9yIjp7IiRpZCI6IjMwMyIsIkEiOjI1NSwiUiI6MjU1LCJHIjoyNTUsIkIiOjI1NX1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MwNCIsIkxpbmVDb2xvciI6bnVsbCwiTGluZVdlaWdodCI6MC4wLCJMaW5lVHlwZSI6MCwiUGFyZW50U3R5bGUiOm51bGx9LCJQYXJlbnRTdHlsZSI6eyIkcmVmIjoiMTE0In19LCJEYXRlRm9ybWF0Ijp7IiRyZWYiOiIxMjEifSwiSXNWaXNpYmxlIjp0cnVlLCJQYXJlbnRTdHlsZSI6eyIkcmVmIjoiODAifX0sIkluZGV4Ijo2LCJJZCI6ImZmYmIwMDhkLWZlMjItNGI1ZS1iMWEzLTBkNjY3NmUyYjdmMiIsIkltcG9ydElkIjpudWxsLCJUaXRsZSI6Ik1pbmRzcGhlcmUgMy4wLiBNVlAgSW1wbGVtZW50YXRpb24iLCJOb3RlIjpudWxsLCJIeXBlcmxpbmsiOm51bGwsIklzQ2hhbmdlZCI6ZmFsc2UsIklzTmV3IjpmYWxzZX1dLCJNc1Byb2plY3RJdGVtc1RyZWUiOnsiJGlkIjoiMzA1IiwiUm9vdCI6eyJJbXBvcnRJZCI6bnVsbCwiSXNJbXBvcnRlZCI6ZmFsc2UsIkNoaWxkcmVuIjpbXX19LCJNZXRhZGF0YSI6eyIkaWQiOiIzMDYifSwiU2V0dGluZ3MiOnsiJGlkIjoiMzA3IiwiSW1wYU9wdGlvbnMiOnsiJGlkIjoiMzA4IiwiTGVmdFRvUmlnaHQiOmZhbHNlLCJQYXlsb2FkT3B0aW9ucyI6Mn0sIlVzZUNvbXByZXNzaW9uIjpmYWxzZSwiQ29tcHJlc2lvblBlcmNlbnRhZ2UiOjAuMCwiSW5hY3RpdmVJbnRlcnZhbFdpZHRoVGhyZXNob2xkIjowLjAsIkluYWN0aXZlSW50ZXJ2YWxXaWR0aCI6MC4wLCJTcGxpdFRhc2tzIjpmYWxzZSwiVXNlQ2x1c3RlciI6ZmFsc2UsIkVwc2lsb24iOjAuMCwiTWluUG9pbnRzVG9Gb3JtQUNsdXN0ZXIiOjAsIkdlbmVyYXRlSW52aXNpYmxlU2hhcGVzIjpmYWxzZSwiU21hcnRUaW1lbGluZVRhc2tQZXJjZW50YWdlRml0IjpmYWxzZX0sIklzTmV3Ijp0cnVlLCJJbXBvcnRUeXBlIjowLCJGaWxlUGF0aCI6bnVsbCwiVGltZWxpbmVJbXBvcnRlZCI6ZmFsc2V9"/>
  <p:tag name="__MASTER" val="__part_0"/>
</p:tagLst>
</file>

<file path=ppt/tags/tag186.xml><?xml version="1.0" encoding="utf-8"?>
<p:tagLst xmlns:a="http://schemas.openxmlformats.org/drawingml/2006/main" xmlns:r="http://schemas.openxmlformats.org/officeDocument/2006/relationships" xmlns:p="http://schemas.openxmlformats.org/presentationml/2006/main">
  <p:tag name="OTLMARKERSHAPE" val="OTL"/>
</p:tagLst>
</file>

<file path=ppt/tags/tag187.xml><?xml version="1.0" encoding="utf-8"?>
<p:tagLst xmlns:a="http://schemas.openxmlformats.org/drawingml/2006/main" xmlns:r="http://schemas.openxmlformats.org/officeDocument/2006/relationships" xmlns:p="http://schemas.openxmlformats.org/presentationml/2006/main">
  <p:tag name="OTLMARKERSHAPE" val="OTL"/>
</p:tagLst>
</file>

<file path=ppt/tags/tag188.xml><?xml version="1.0" encoding="utf-8"?>
<p:tagLst xmlns:a="http://schemas.openxmlformats.org/drawingml/2006/main" xmlns:r="http://schemas.openxmlformats.org/officeDocument/2006/relationships" xmlns:p="http://schemas.openxmlformats.org/presentationml/2006/main">
  <p:tag name="OTLMARKERSHAPE" val="OTL"/>
</p:tagLst>
</file>

<file path=ppt/tags/tag189.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90.xml><?xml version="1.0" encoding="utf-8"?>
<p:tagLst xmlns:a="http://schemas.openxmlformats.org/drawingml/2006/main" xmlns:r="http://schemas.openxmlformats.org/officeDocument/2006/relationships" xmlns:p="http://schemas.openxmlformats.org/presentationml/2006/main">
  <p:tag name="OTLMARKERSHAPE" val="OTL"/>
</p:tagLst>
</file>

<file path=ppt/tags/tag191.xml><?xml version="1.0" encoding="utf-8"?>
<p:tagLst xmlns:a="http://schemas.openxmlformats.org/drawingml/2006/main" xmlns:r="http://schemas.openxmlformats.org/officeDocument/2006/relationships" xmlns:p="http://schemas.openxmlformats.org/presentationml/2006/main">
  <p:tag name="OTLMARKERSHAPE" val="OTL"/>
</p:tagLst>
</file>

<file path=ppt/tags/tag192.xml><?xml version="1.0" encoding="utf-8"?>
<p:tagLst xmlns:a="http://schemas.openxmlformats.org/drawingml/2006/main" xmlns:r="http://schemas.openxmlformats.org/officeDocument/2006/relationships" xmlns:p="http://schemas.openxmlformats.org/presentationml/2006/main">
  <p:tag name="OTLMARKERSHAPE" val="OTL"/>
</p:tagLst>
</file>

<file path=ppt/tags/tag193.xml><?xml version="1.0" encoding="utf-8"?>
<p:tagLst xmlns:a="http://schemas.openxmlformats.org/drawingml/2006/main" xmlns:r="http://schemas.openxmlformats.org/officeDocument/2006/relationships" xmlns:p="http://schemas.openxmlformats.org/presentationml/2006/main">
  <p:tag name="OTLMARKERSHAPE" val="OTL"/>
</p:tagLst>
</file>

<file path=ppt/tags/tag194.xml><?xml version="1.0" encoding="utf-8"?>
<p:tagLst xmlns:a="http://schemas.openxmlformats.org/drawingml/2006/main" xmlns:r="http://schemas.openxmlformats.org/officeDocument/2006/relationships" xmlns:p="http://schemas.openxmlformats.org/presentationml/2006/main">
  <p:tag name="OTLMARKERSHAPE" val="OTL"/>
</p:tagLst>
</file>

<file path=ppt/tags/tag195.xml><?xml version="1.0" encoding="utf-8"?>
<p:tagLst xmlns:a="http://schemas.openxmlformats.org/drawingml/2006/main" xmlns:r="http://schemas.openxmlformats.org/officeDocument/2006/relationships" xmlns:p="http://schemas.openxmlformats.org/presentationml/2006/main">
  <p:tag name="OTLMARKERSHAPE" val="OTL"/>
</p:tagLst>
</file>

<file path=ppt/tags/tag196.xml><?xml version="1.0" encoding="utf-8"?>
<p:tagLst xmlns:a="http://schemas.openxmlformats.org/drawingml/2006/main" xmlns:r="http://schemas.openxmlformats.org/officeDocument/2006/relationships" xmlns:p="http://schemas.openxmlformats.org/presentationml/2006/main">
  <p:tag name="OTLMARKERSHAPE" val="OTL"/>
</p:tagLst>
</file>

<file path=ppt/tags/tag197.xml><?xml version="1.0" encoding="utf-8"?>
<p:tagLst xmlns:a="http://schemas.openxmlformats.org/drawingml/2006/main" xmlns:r="http://schemas.openxmlformats.org/officeDocument/2006/relationships" xmlns:p="http://schemas.openxmlformats.org/presentationml/2006/main">
  <p:tag name="OTLMARKERSHAPE" val="OTL"/>
</p:tagLst>
</file>

<file path=ppt/tags/tag198.xml><?xml version="1.0" encoding="utf-8"?>
<p:tagLst xmlns:a="http://schemas.openxmlformats.org/drawingml/2006/main" xmlns:r="http://schemas.openxmlformats.org/officeDocument/2006/relationships" xmlns:p="http://schemas.openxmlformats.org/presentationml/2006/main">
  <p:tag name="OTLMARKERSHAPE" val="OTL"/>
</p:tagLst>
</file>

<file path=ppt/tags/tag19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00.xml><?xml version="1.0" encoding="utf-8"?>
<p:tagLst xmlns:a="http://schemas.openxmlformats.org/drawingml/2006/main" xmlns:r="http://schemas.openxmlformats.org/officeDocument/2006/relationships" xmlns:p="http://schemas.openxmlformats.org/presentationml/2006/main">
  <p:tag name="OTLMARKERSHAPE" val="OTL"/>
</p:tagLst>
</file>

<file path=ppt/tags/tag201.xml><?xml version="1.0" encoding="utf-8"?>
<p:tagLst xmlns:a="http://schemas.openxmlformats.org/drawingml/2006/main" xmlns:r="http://schemas.openxmlformats.org/officeDocument/2006/relationships" xmlns:p="http://schemas.openxmlformats.org/presentationml/2006/main">
  <p:tag name="OTLMARKERSHAPE" val="OTL"/>
</p:tagLst>
</file>

<file path=ppt/tags/tag202.xml><?xml version="1.0" encoding="utf-8"?>
<p:tagLst xmlns:a="http://schemas.openxmlformats.org/drawingml/2006/main" xmlns:r="http://schemas.openxmlformats.org/officeDocument/2006/relationships" xmlns:p="http://schemas.openxmlformats.org/presentationml/2006/main">
  <p:tag name="OTLMARKERSHAPE" val="OTL"/>
</p:tagLst>
</file>

<file path=ppt/tags/tag203.xml><?xml version="1.0" encoding="utf-8"?>
<p:tagLst xmlns:a="http://schemas.openxmlformats.org/drawingml/2006/main" xmlns:r="http://schemas.openxmlformats.org/officeDocument/2006/relationships" xmlns:p="http://schemas.openxmlformats.org/presentationml/2006/main">
  <p:tag name="OTLMARKERSHAPE" val="OTL"/>
</p:tagLst>
</file>

<file path=ppt/tags/tag204.xml><?xml version="1.0" encoding="utf-8"?>
<p:tagLst xmlns:a="http://schemas.openxmlformats.org/drawingml/2006/main" xmlns:r="http://schemas.openxmlformats.org/officeDocument/2006/relationships" xmlns:p="http://schemas.openxmlformats.org/presentationml/2006/main">
  <p:tag name="OTLMARKERSHAPE" val="OTL"/>
</p:tagLst>
</file>

<file path=ppt/tags/tag205.xml><?xml version="1.0" encoding="utf-8"?>
<p:tagLst xmlns:a="http://schemas.openxmlformats.org/drawingml/2006/main" xmlns:r="http://schemas.openxmlformats.org/officeDocument/2006/relationships" xmlns:p="http://schemas.openxmlformats.org/presentationml/2006/main">
  <p:tag name="OTLMARKERSHAPE" val="OTL"/>
</p:tagLst>
</file>

<file path=ppt/tags/tag206.xml><?xml version="1.0" encoding="utf-8"?>
<p:tagLst xmlns:a="http://schemas.openxmlformats.org/drawingml/2006/main" xmlns:r="http://schemas.openxmlformats.org/officeDocument/2006/relationships" xmlns:p="http://schemas.openxmlformats.org/presentationml/2006/main">
  <p:tag name="OTLMARKERSHAPE" val="OTL"/>
</p:tagLst>
</file>

<file path=ppt/tags/tag207.xml><?xml version="1.0" encoding="utf-8"?>
<p:tagLst xmlns:a="http://schemas.openxmlformats.org/drawingml/2006/main" xmlns:r="http://schemas.openxmlformats.org/officeDocument/2006/relationships" xmlns:p="http://schemas.openxmlformats.org/presentationml/2006/main">
  <p:tag name="OTLMARKERSHAPE" val="OTL"/>
</p:tagLst>
</file>

<file path=ppt/tags/tag208.xml><?xml version="1.0" encoding="utf-8"?>
<p:tagLst xmlns:a="http://schemas.openxmlformats.org/drawingml/2006/main" xmlns:r="http://schemas.openxmlformats.org/officeDocument/2006/relationships" xmlns:p="http://schemas.openxmlformats.org/presentationml/2006/main">
  <p:tag name="OTLMARKERSHAPE" val="OTL"/>
</p:tagLst>
</file>

<file path=ppt/tags/tag209.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10.xml><?xml version="1.0" encoding="utf-8"?>
<p:tagLst xmlns:a="http://schemas.openxmlformats.org/drawingml/2006/main" xmlns:r="http://schemas.openxmlformats.org/officeDocument/2006/relationships" xmlns:p="http://schemas.openxmlformats.org/presentationml/2006/main">
  <p:tag name="OTLMARKERSHAPE" val="OTL"/>
</p:tagLst>
</file>

<file path=ppt/tags/tag211.xml><?xml version="1.0" encoding="utf-8"?>
<p:tagLst xmlns:a="http://schemas.openxmlformats.org/drawingml/2006/main" xmlns:r="http://schemas.openxmlformats.org/officeDocument/2006/relationships" xmlns:p="http://schemas.openxmlformats.org/presentationml/2006/main">
  <p:tag name="OTLMARKERSHAPE" val="OTL"/>
</p:tagLst>
</file>

<file path=ppt/tags/tag212.xml><?xml version="1.0" encoding="utf-8"?>
<p:tagLst xmlns:a="http://schemas.openxmlformats.org/drawingml/2006/main" xmlns:r="http://schemas.openxmlformats.org/officeDocument/2006/relationships" xmlns:p="http://schemas.openxmlformats.org/presentationml/2006/main">
  <p:tag name="OTLMARKERSHAPE" val="OTL"/>
</p:tagLst>
</file>

<file path=ppt/tags/tag213.xml><?xml version="1.0" encoding="utf-8"?>
<p:tagLst xmlns:a="http://schemas.openxmlformats.org/drawingml/2006/main" xmlns:r="http://schemas.openxmlformats.org/officeDocument/2006/relationships" xmlns:p="http://schemas.openxmlformats.org/presentationml/2006/main">
  <p:tag name="OTLMARKERSHAPE" val="OTL"/>
</p:tagLst>
</file>

<file path=ppt/tags/tag214.xml><?xml version="1.0" encoding="utf-8"?>
<p:tagLst xmlns:a="http://schemas.openxmlformats.org/drawingml/2006/main" xmlns:r="http://schemas.openxmlformats.org/officeDocument/2006/relationships" xmlns:p="http://schemas.openxmlformats.org/presentationml/2006/main">
  <p:tag name="OTLMARKERSHAPE" val="OTL"/>
</p:tagLst>
</file>

<file path=ppt/tags/tag215.xml><?xml version="1.0" encoding="utf-8"?>
<p:tagLst xmlns:a="http://schemas.openxmlformats.org/drawingml/2006/main" xmlns:r="http://schemas.openxmlformats.org/officeDocument/2006/relationships" xmlns:p="http://schemas.openxmlformats.org/presentationml/2006/main">
  <p:tag name="OTLMARKERSHAPE" val="OTL"/>
</p:tagLst>
</file>

<file path=ppt/tags/tag216.xml><?xml version="1.0" encoding="utf-8"?>
<p:tagLst xmlns:a="http://schemas.openxmlformats.org/drawingml/2006/main" xmlns:r="http://schemas.openxmlformats.org/officeDocument/2006/relationships" xmlns:p="http://schemas.openxmlformats.org/presentationml/2006/main">
  <p:tag name="OTLMARKERSHAPE" val="OTL"/>
</p:tagLst>
</file>

<file path=ppt/tags/tag217.xml><?xml version="1.0" encoding="utf-8"?>
<p:tagLst xmlns:a="http://schemas.openxmlformats.org/drawingml/2006/main" xmlns:r="http://schemas.openxmlformats.org/officeDocument/2006/relationships" xmlns:p="http://schemas.openxmlformats.org/presentationml/2006/main">
  <p:tag name="__PART_0" val="eyIkaWQiOiIxIiwiQ3VsdHVyZUluZm9OYW1lIjoiZW4tVVMiLCJTdHlsZU5hbWUiOiJHYW50dCIsIklzVGVtcGxhdGUiOmZhbHNlLCJWZXJzaW9uIjp7IiRpZCI6IjIiLCJWZXJzaW9uIjoiMy4wLjEiLCJPcmlnaW5hbEFzc2VtYmx5VmVyc2lvbiI6IjMuMDYuMDAuMDAiLCJFZGl0aW9uIjoiUGx1cyIsIklzUGx1c0VkaXRpb24iOnRydWV9LCJFZmZlY3QiOjEsIlN0eWxlIjp7IiRpZCI6IjMiLCJUaW1lYmFuZFN0eWxlIjp7IiRpZCI6IjQiLCJTY2FsZU1hcmtpbmciOjEsIlNoYXBlIjoxMCwiU2hhcGVTdHlsZSI6eyIkaWQiOiI1IiwiTWFyZ2luIjp7IiRpZCI6IjYiLCJUb3AiOjAsIkxlZnQiOjEwLCJSaWdodCI6MTAsIkJvdHRvbSI6MH0sIlBhZGRpbmciOnsiJGlkIjoiNyIsIlRvcCI6MywiTGVmdCI6MCwiUmlnaHQiOjAsIkJvdHRvbSI6M30sIkJhY2tncm91bmQiOnsiJGlkIjoiOCIsIkNvbG9yIjp7IiRpZCI6IjkiLCJBIjoyNTUsIlIiOjY4LCJHIjo4NCwiQiI6MTA2fX0sIklzVmlzaWJsZSI6dHJ1ZSwiV2lkdGgiOjg1OC4wLCJIZWlnaHQiOjIwLjAsIkJvcmRlclN0eWxlIjp7IiRpZCI6IjEwIiwiTGluZUNvbG9yIjp7IiRpZCI6IjExIiwiJHR5cGUiOiJOTFJFLkNvbW1vbi5Eb20uU29saWRDb2xvckJydXNoLCBOTFJFLkNvbW1vbiIsIkNvbG9yIjp7IiRpZCI6IjEyIiwiQSI6MjU1LCJSIjoyNTUsIkciOjAsIkIiOjB9fSwiTGluZVdlaWdodCI6MC4wLCJMaW5lVHlwZSI6MCwiUGFyZW50U3R5bGUiOm51bGx9LCJQYXJlbnRTdHlsZSI6bnVsbH0sIlJpZ2h0RW5kQ2Fwc1N0eWxlIjp7IiRpZCI6IjEzIiwiRm9udFNldHRpbmdzIjp7IiRpZCI6IjE0IiwiRm9udFNpemUiOjE4LCJGb250TmFtZSI6IkNhbGlicmkiLCJJc0JvbGQiOnRydWUsIklzSXRhbGljIjpmYWxzZSwiSXNVbmRlcmxpbmVkIjpmYWxzZSwiUGFyZW50U3R5bGUiOm51bGx9LCJBdXRvU2l6ZSI6MCwiRm9yZWdyb3VuZCI6eyIkaWQiOiIxNSIsIkNvbG9yIjp7IiRpZCI6IjE2IiwiQSI6MjU1LCJSIjoxOTAsIkciOjIwNSwiQiI6MjE1fX0sIk1heFdpZHRoIjoiSW5maW5pdHkiLCJNYXhIZWlnaHQiOiJJbmZpbml0eSIsIlNtYXJ0Rm9yZWdyb3VuZElzQWN0aXZlIjpmYWxzZSwiSG9yaXpvbnRhbEFsaWdubWVudCI6MCwiVmVydGljYWxBbGlnbm1lbnQiOjAsIlNtYXJ0Rm9yZWdyb3VuZCI6bnVsbCwiTWFyZ2luIjp7IiRpZCI6IjE3IiwiVG9wIjowLCJMZWZ0IjowLCJSaWdodCI6MjAsIkJvdHRvbSI6MH0sIlBhZGRpbmciOnsiJGlkIjoiMTgiLCJUb3AiOjAsIkxlZnQiOjAsIlJpZ2h0IjowLCJCb3R0b20iOjB9LCJCYWNrZ3JvdW5kIjp7IiRpZCI6IjE5IiwiQ29sb3IiOnsiJGlkIjoiMjAiLCJBIjo4OSwiUiI6MCwiRyI6MCwiQiI6MH19LCJJc1Zpc2libGUiOnRydWUsIldpZHRoIjowLjAsIkhlaWdodCI6MC4wLCJCb3JkZXJTdHlsZSI6bnVsbCwiUGFyZW50U3R5bGUiOm51bGx9LCJMZWZ0RW5kQ2Fwc1N0eWxlIjp7IiRpZCI6IjIxIiwiRm9udFNldHRpbmdzIjp7IiRpZCI6IjIyIiwiRm9udFNpemUiOjE4LCJGb250TmFtZSI6IkNhbGlicmkiLCJJc0JvbGQiOnRydWUsIklzSXRhbGljIjpmYWxzZSwiSXNVbmRlcmxpbmVkIjpmYWxzZSwiUGFyZW50U3R5bGUiOm51bGx9LCJBdXRvU2l6ZSI6MCwiRm9yZWdyb3VuZCI6eyIkaWQiOiIyMyIsIkNvbG9yIjp7IiRpZCI6IjI0IiwiQSI6MjU1LCJSIjoxOTAsIkciOjIwNSwiQiI6MjE1fX0sIk1heFdpZHRoIjoiSW5maW5pdHkiLCJNYXhIZWlnaHQiOiJJbmZpbml0eSIsIlNtYXJ0Rm9yZWdyb3VuZElzQWN0aXZlIjpmYWxzZSwiSG9yaXpvbnRhbEFsaWdubWVudCI6MCwiVmVydGljYWxBbGlnbm1lbnQiOjAsIlNtYXJ0Rm9yZWdyb3VuZCI6bnVsbCwiTWFyZ2luIjp7IiRpZCI6IjI1IiwiVG9wIjowLCJMZWZ0IjoyMC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1hcmdpbiI6eyIkaWQiOiIzMiIsIlRvcCI6MCwiTGVmdCI6MCwiUmlnaHQiOjAsIkJvdHRvbSI6MH0sIlBhZGRpbmciOnsiJGlkIjoiMzMiLCJUb3AiOjAsIkxlZnQiOjAsIlJpZ2h0IjowLCJCb3R0b20iOjB9LCJCYWNrZ3JvdW5kIjp7IiRpZCI6IjM0IiwiQ29sb3IiOnsiJHJlZiI6IjIwIn19LCJJc1Zpc2libGUiOnRydWUsIldpZHRoIjowLjAsIkhlaWdodCI6MC4wLCJCb3JkZXJTdHlsZSI6bnVsbCwiUGFyZW50U3R5bGUiOm51bGx9LCJUb2RheU1hcmtlclN0eWxlIjp7IiRpZCI6IjM1IiwiTWFyZ2luIjp7IiRpZCI6IjM2IiwiVG9wIjowLCJMZWZ0IjowLCJSaWdodCI6MCwiQm90dG9tIjowfSwiUGFkZGluZyI6eyIkaWQiOiIzNyIsIlRvcCI6MCwiTGVmdCI6MCwiUmlnaHQiOjAsIkJvdHRvbSI6MH0sIkJhY2tncm91bmQiOnsiJGlkIjoiMzgiLCJDb2xvciI6eyIkaWQiOiIzOSIsIkEiOjI1NSwiUiI6MjU1LCJHIjowLCJCIjowfX0sIklzVmlzaWJsZSI6dHJ1ZSwiV2lkdGgiOjAuMCwiSGVpZ2h0IjowLjAsIkJvcmRlclN0eWxlIjpudWxsLCJQYXJlbnRTdHlsZSI6bnVsbH0sIlNjYWxlU3R5bGUiOnsiJGlkIjoiNDAiLCJTaG93U2VnbWVudFNlcGFyYXRvcnMiOmZhbHNlLCJTZWdtZW50U2VwYXJhdG9yT3BhY2l0eSI6MzAsIkZvbnRTZXR0aW5ncyI6eyIkaWQiOiI0MSIsIkZvbnRTaXplIjoxMiwiRm9udE5hbWUiOiJDYWxpYnJpIiwiSXNCb2xkIjpmYWxzZSwiSXNJdGFsaWMiOmZhbHNlLCJJc1VuZGVybGluZWQiOmZhbHNlLCJQYXJlbnRTdHlsZSI6bnVsbH0sIkF1dG9TaXplIjowLCJGb3JlZ3JvdW5kIjp7IiRpZCI6IjQyIiwiQ29sb3IiOnsiJGlkIjoiNDMiLCJBIjoyNTUsIlIiOjI1NSwiRyI6MjU1LCJCIjoyNTV9fSwiTWF4V2lkdGgiOjIwMC4wLCJNYXhIZWlnaHQiOiJJbmZpbml0eSIsIlNtYXJ0Rm9yZWdyb3VuZElzQWN0aXZlIjpmYWxzZSwiSG9yaXpvbnRhbEFsaWdubWVudCI6MCwiVmVydGljYWxBbGlnbm1lbnQiOjEsIlNtYXJ0Rm9yZWdyb3VuZCI6bnVsb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NTUsIkciOjAsIkIiOjB9fSwiQXBwZW5kWWVhck9uWWVhckNoYW5nZSI6ZmFsc2UsIkVsYXBzZWRUaW1lRm9ybWF0IjoyLCJUb2RheU1hcmtlclBvc2l0aW9uIjozLCJRdWlja1Bvc2l0aW9uIjoyLCJBYnNvbHV0ZVBvc2l0aW9uIjo0MDUuMDkzNzUsIk1hcmdpbiI6eyIkaWQiOiI0OSIsIlRvcCI6MCwiTGVmdCI6MTAsIlJpZ2h0IjoxMCwiQm90dG9tIjowfSwiUGFkZGluZyI6eyIkaWQiOiI1MCIsIlRvcCI6MCwiTGVmdCI6MCwiUmlnaHQiOjAsIkJvdHRvbSI6MH0sIkJhY2tncm91bmQiOnsiJGlkIjoiNTEiLCJDb2xvciI6eyIkaWQiOiI1MiIsIkEiOjI1NSwiUiI6MzEsIkciOjczLCJCIjoxMjV9fSwiSXNWaXNpYmxlIjp0cnVlLCJXaWR0aCI6MC4wLCJIZWlnaHQiOjAuMCwiQm9yZGVyU3R5bGUiOm51bGwsIlBhcmVudFN0eWxlIjpudWxsfSwiRGVmYXVsdE1pbGVzdG9uZVN0eWxlIjp7IiRpZCI6IjUzIiwiU2hhcGUiOjIsIkNvbm5lY3Rvck1hcmdpbiI6eyIkaWQiOiI1NCIsIlRvcCI6MCwiTGVmdCI6MiwiUmlnaHQiOjIsIkJvdHRvbSI6MH0sIkNvbm5lY3RvclN0eWxlIjp7IiRpZCI6IjU1IiwiTGluZUNvbG9yIjp7IiRpZCI6IjU2IiwiJHR5cGUiOiJOTFJFLkNvbW1vbi5Eb20uU29saWRDb2xvckJydXNoLCBOTFJFLkNvbW1vbiIsIkNvbG9yIjp7IiRpZCI6IjU3IiwiQSI6MjU1LCJSIjozMSwiRyI6NzMsIkIiOjEyNn19LCJMaW5lV2VpZ2h0IjoxLjAsIkxpbmVUeXBlIjowLCJQYXJlbnRTdHlsZSI6bnVsbH0sIklzQmVsb3dUaW1lYmFuZCI6ZmFsc2UsIkhpZGVEYXRlIjpmYWxzZSwiU2hhcGVTaXplIjoxLCJTcGFjaW5nIjoy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m51bGwsIklzVmlzaWJsZSI6dHJ1ZSwiV2lkdGgiOjEzLjAsIkhlaWdodCI6MTMuMCwiQm9yZGVyU3R5bGUiOnsiJGlkIjoiNjIiLCJMaW5lQ29sb3IiOnsiJGlkIjoiNjMiLCIkdHlwZSI6Ik5MUkUuQ29tbW9uLkRvbS5Tb2xpZENvbG9yQnJ1c2gsIE5MUkUuQ29tbW9uIiwiQ29sb3IiOnsiJGlkIjoiNjQiLCJBIjoyNTUsIlIiOjI1NSwiRyI6MCwiQiI6MH19LCJMaW5lV2VpZ2h0IjowLjAsIkxpbmVUeXBlIjowLCJQYXJlbnRTdHlsZSI6bnVsbH0sIlBhcmVudFN0eWxlIjpudWxsfSwiVGl0bGVTdHlsZSI6eyIkaWQiOiI2NSIsIkZvbnRTZXR0aW5ncyI6eyIkaWQiOiI2NiIsIkZvbnRTaXplIjoxMSwiRm9udE5hbWUiOiJDYWxpYnJpIiwiSXNCb2xkIjp0cnVlLCJJc0l0YWxpYyI6ZmFsc2UsIklzVW5kZXJsaW5lZCI6ZmFsc2UsIlBhcmVudFN0eWxlIjpudWxsfSwiQXV0b1NpemUiOjAsIkZvcmVncm91bmQiOnsiJGlkIjoiNjciLCJDb2xvciI6eyIkaWQiOiI2OCIsIkEiOjI1NSwiUiI6MCwiRyI6MCwiQiI6MH19LCJNYXhXaWR0aCI6MjAwLjAsIk1heEhlaWdodCI6IkluZmluaXR5IiwiU21hcnRGb3JlZ3JvdW5kSXNBY3RpdmUiOmZhbHNlLCJIb3Jpem9udGFsQWxpZ25tZW50IjowLCJWZXJ0aWNhbEFsaWdubWVudCI6MCwiU21hcnRGb3JlZ3JvdW5kIjpudWxsLCJNYXJnaW4iOnsiJGlkIjoiNjkiLCJUb3AiOjAsIkxlZnQiOjAsIlJpZ2h0IjowLCJCb3R0b20iOjB9LCJQYWRkaW5nIjp7IiRpZCI6IjcwIiwiVG9wIjowLCJMZWZ0IjowLCJSaWdodCI6MCwiQm90dG9tIjowfSwiQmFja2dyb3VuZCI6eyIkaWQiOiI3MSIsIkNvbG9yIjp7IiRyZWYiOiIyMCJ9fSwiSXNWaXNpYmxlIjp0cnVlLCJXaWR0aCI6MC4wLCJIZWlnaHQiOjAuMCwiQm9yZGVyU3R5bGUiOm51bGwsIlBhcmVudFN0eWxlIjpudWxsfSwiRGF0ZVN0eWxlIjp7IiRpZCI6IjcyIiwiRm9udFNldHRpbmdzIjp7IiRpZCI6IjczIiwiRm9udFNpemUiOjEwLCJGb250TmFtZSI6IkNhbGlicmkiLCJJc0JvbGQiOmZhbHNlLCJJc0l0YWxpYyI6ZmFsc2UsIklzVW5kZXJsaW5lZCI6ZmFsc2UsIlBhcmVudFN0eWxlIjpudWxsfSwiQXV0b1NpemUiOjAsIkZvcmVncm91bmQiOnsiJGlkIjoiNzQiLCJDb2xvciI6eyIkaWQiOiI3NSIsIkEiOjI1NSwiUiI6MCwiRyI6MCwiQiI6MH19LCJNYXhXaWR0aCI6MjAwLjAsIk1heEhlaWdodCI6IkluZmluaXR5IiwiU21hcnRGb3JlZ3JvdW5kSXNBY3RpdmUiOmZhbHNlLCJIb3Jpem9udGFsQWxpZ25tZW50IjowLCJWZXJ0aWNhbEFsaWdubWVudCI6MCwiU21hcnRGb3JlZ3JvdW5kIjpudWxsLCJNYXJnaW4iOnsiJGlkIjoiNzYiLCJUb3AiOjAsIkxlZnQiOjAsIlJpZ2h0IjowLCJCb3R0b20iOjB9LCJQYWRkaW5nIjp7IiRpZCI6Ijc3IiwiVG9wIjowLCJMZWZ0IjowLCJSaWdodCI6MCwiQm90dG9tIjowfSwiQmFja2dyb3VuZCI6eyIkaWQiOiI3OCIsIkNvbG9yIjp7IiRyZWYiOiIyMCJ9fSwiSXNWaXNpYmxlIjp0cnVlLCJXaWR0aCI6MC4wLCJIZWlnaHQiOjAuMCwiQm9yZGVyU3R5bGUiOm51bGwsIlBhcmVudFN0eWxlIjpudWxsfSwiRGF0ZUZvcm1hdCI6eyIkaWQiOiI3OSIsIkZvcm1hdFN0cmluZyI6Ik1NTSBkIiwiU2VwYXJhdG9yIjoiLyIsIlVzZUludGVybmF0aW9uYWxEYXRlRm9ybWF0IjpmYWxzZX0sIklzVmlzaWJsZSI6dHJ1ZSwiUGFyZW50U3R5bGUiOm51bGx9LCJEZWZhdWx0VGFza1N0eWxlIjp7IiRpZCI6IjgwIiwiU2hhcGUiOjEsIlNoYXBlVGhpY2tuZXNzIjowLCJEdXJhdGlvbkZvcm1hdCI6MCwiSW5jbHVkZU5vbldvcmtpbmdEYXlzSW5EdXJhdGlvbiI6dHJ1ZSwiUGVyY2VudGFnZUNvbXBsZXRlU3R5bGUiOnsiJGlkIjoiODEiLCJGb250U2V0dGluZ3MiOnsiJGlkIjoiODIiLCJGb250U2l6ZSI6MTAsIkZvbnROYW1lIjoiQ2FsaWJyaSIsIklzQm9sZCI6ZmFsc2UsIklzSXRhbGljIjpmYWxzZSwiSXNVbmRlcmxpbmVkIjpmYWxzZSwiUGFyZW50U3R5bGUiOm51bGx9LCJBdXRvU2l6ZSI6MCwiRm9yZWdyb3VuZCI6eyIkaWQiOiI4MyIsIkNvbG9yIjp7IiRpZCI6Ijg0IiwiQSI6MjU1LCJSIjoxOTIsIkciOjgwLCJCIjo3N319LCJNYXhXaWR0aCI6MjAwLjAsIk1heEhlaWdodCI6IkluZmluaXR5IiwiU21hcnRGb3JlZ3JvdW5kSXNBY3RpdmUiOmZhbHNlLCJIb3Jpem9udGFsQWxpZ25tZW50IjowLCJWZXJ0aWNhbEFsaWdubWVudCI6MCwiU21hcnRGb3JlZ3JvdW5kIjpudWxsLCJNYXJnaW4iOnsiJGlkIjoiODUiLCJUb3AiOjAsIkxlZnQiOjAsIlJpZ2h0IjowLCJCb3R0b20iOjB9LCJQYWRkaW5nIjp7IiRpZCI6Ijg2IiwiVG9wIjowLCJMZWZ0IjowLCJSaWdodCI6MCwiQm90dG9tIjowfSwiQmFja2dyb3VuZCI6eyIkaWQiOiI4NyIsIkNvbG9yIjp7IiRyZWYiOiIyMCJ9fSwiSXNWaXNpYmxlIjp0cnVlLCJXaWR0aCI6MC4wLCJIZWlnaHQiOjAuMCwiQm9yZGVyU3R5bGUiOm51bGwsIlBhcmVudFN0eWxlIjpudWxsfSwiRHVyYXRpb25TdHlsZSI6eyIkaWQiOiI4OCIsIkZvbnRTZXR0aW5ncyI6eyIkaWQiOiI4OSIsIkZvbnRTaXplIjoxMCwiRm9udE5hbWUiOiJDYWxpYnJpIiwiSXNCb2xkIjpmYWxzZSwiSXNJdGFsaWMiOmZhbHNlLCJJc1VuZGVybGluZWQiOmZhbHNlLCJQYXJlbnRTdHlsZSI6bnVsbH0sIkF1dG9TaXplIjowLCJGb3JlZ3JvdW5kIjp7IiRpZCI6IjkwIiwiQ29sb3IiOnsiJGlkIjoiOTEiLCJBIjoyNTUsIlIiOjE5MCwiRyI6MjA1LCJCIjoyMTV9fSwiTWF4V2lkdGgiOjIwMC4wLCJNYXhIZWlnaHQiOiJJbmZpbml0eSIsIlNtYXJ0Rm9yZWdyb3VuZElzQWN0aXZlIjpmYWxzZSwiSG9yaXpvbnRhbEFsaWdubWVudCI6MCwiVmVydGljYWxBbGlnbm1lbnQiOjAsIlNtYXJ0Rm9yZWdyb3VuZCI6bnVsbCwiTWFyZ2luIjp7IiRpZCI6IjkyIiwiVG9wIjowLCJMZWZ0IjowLCJSaWdodCI6MCwiQm90dG9tIjowfSwiUGFkZGluZyI6eyIkaWQiOiI5MyIsIlRvcCI6MCwiTGVmdCI6MCwiUmlnaHQiOjAsIkJvdHRvbSI6MH0sIkJhY2tncm91bmQiOnsiJGlkIjoiOTQiLCJDb2xvciI6eyIkcmVmIjoiMjAifX0sIklzVmlzaWJsZSI6dHJ1ZSwiV2lkdGgiOjAuMCwiSGVpZ2h0IjowLjAsIkJvcmRlclN0eWxlIjpudWxsLCJQYXJlbnRTdHlsZSI6bnVsbH0sIkhvcml6b250YWxDb25uZWN0b3JTdHlsZSI6eyIkaWQiOiI5NSIsIkxpbmVDb2xvciI6eyIkaWQiOiI5NiIsIiR0eXBlIjoiTkxSRS5Db21tb24uRG9tLlNvbGlkQ29sb3JCcnVzaCwgTkxSRS5Db21tb24iLCJDb2xvciI6eyIkaWQiOiI5NyIsIkEiOjI1NSwiUiI6MjA0LCJHIjoyMDQsIkIiOjIwNH19LCJMaW5lV2VpZ2h0IjowLjAsIkxpbmVUeXBlIjowLCJQYXJlbnRTdHlsZSI6bnVsbH0sIlZlcnRpY2FsQ29ubmVjdG9yU3R5bGUiOnsiJGlkIjoiOTgiLCJMaW5lQ29sb3IiOnsiJGlkIjoiOTkiLCIkdHlwZSI6Ik5MUkUuQ29tbW9uLkRvbS5Tb2xpZENvbG9yQnJ1c2gsIE5MUkUuQ29tbW9uIiwiQ29sb3IiOnsiJGlkIjoiMTAwIiwiQSI6MjU1LCJSIjoyMDQsIkciOjIwNCwiQiI6MjA0fX0sIkxpbmVXZWlnaHQiOjAuMCwiTGluZVR5cGUiOjAsIlBhcmVudFN0eWxlIjpudWxs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TAxIiwiTWFyZ2luIjp7IiRpZCI6IjEwMiIsIlRvcCI6MCwiTGVmdCI6NCwiUmlnaHQiOjQsIkJvdHRvbSI6MH0sIlBhZGRpbmciOnsiJGlkIjoiMTAzIiwiVG9wIjowLCJMZWZ0IjowLCJSaWdodCI6MCwiQm90dG9tIjowfSwiQmFja2dyb3VuZCI6bnVsbCwiSXNWaXNpYmxlIjp0cnVlLCJXaWR0aCI6MC4wLCJIZWlnaHQiOjEwLjAsIkJvcmRlclN0eWxlIjp7IiRpZCI6IjEwNCIsIkxpbmVDb2xvciI6eyIkaWQiOiIxMDUiLCIkdHlwZSI6Ik5MUkUuQ29tbW9uLkRvbS5Tb2xpZENvbG9yQnJ1c2gsIE5MUkUuQ29tbW9uIiwiQ29sb3IiOnsiJGlkIjoiMTA2IiwiQSI6MjU1LCJSIjoyNTUsIkciOjAsIkIiOjB9fSwiTGluZVdlaWdodCI6MC4wLCJMaW5lVHlwZSI6MCwiUGFyZW50U3R5bGUiOm51bGx9LCJQYXJlbnRTdHlsZSI6bnVsbH0sIlRpdGxlU3R5bGUiOnsiJGlkIjoiMTA3IiwiRm9udFNldHRpbmdzIjp7IiRpZCI6IjEwOCIsIkZvbnRTaXplIjoxMSwiRm9udE5hbWUiOiJDYWxpYnJpIiwiSXNCb2xkIjp0cnVlLCJJc0l0YWxpYyI6ZmFsc2UsIklzVW5kZXJsaW5lZCI6ZmFsc2UsIlBhcmVudFN0eWxlIjpudWxsfSwiQXV0b1NpemUiOjAsIkZvcmVncm91bmQiOnsiJGlkIjoiMTA5IiwiQ29sb3IiOnsiJGlkIjoiMTEwIiwiQSI6MjU1LCJSIjowLCJHIjowLCJCIjowfX0sIk1heFdpZHRoIjo5NjAuNSwiTWF4SGVpZ2h0IjoiSW5maW5pdHkiLCJTbWFydEZvcmVncm91bmRJc0FjdGl2ZSI6ZmFsc2UsIkhvcml6b250YWxBbGlnbm1lbnQiOjIsIlZlcnRpY2FsQWxpZ25tZW50IjowLCJTbWFydEZvcmVncm91bmQiOm51bGwsIk1hcmdpbiI6eyIkaWQiOiIxMTEiLCJUb3AiOjAsIkxlZnQiOjAsIlJpZ2h0IjowLCJCb3R0b20iOjB9LCJQYWRkaW5nIjp7IiRpZCI6IjExMiIsIlRvcCI6MCwiTGVmdCI6MCwiUmlnaHQiOjAsIkJvdHRvbSI6MH0sIkJhY2tncm91bmQiOnsiJGlkIjoiMTEzIiwiQ29sb3IiOnsiJHJlZiI6IjIwIn19LCJJc1Zpc2libGUiOnRydWUsIldpZHRoIjowLjAsIkhlaWdodCI6MC4wLCJCb3JkZXJTdHlsZSI6bnVsbCwiUGFyZW50U3R5bGUiOm51bGx9LCJEYXRlU3R5bGUiOnsiJGlkIjoiMTE0IiwiRm9udFNldHRpbmdzIjp7IiRpZCI6IjExNSIsIkZvbnRTaXplIjoxMCwiRm9udE5hbWUiOiJDYWxpYnJpIiwiSXNCb2xkIjpmYWxzZSwiSXNJdGFsaWMiOmZhbHNlLCJJc1VuZGVybGluZWQiOmZhbHNlLCJQYXJlbnRTdHlsZSI6bnVsbH0sIkF1dG9TaXplIjowLCJGb3JlZ3JvdW5kIjp7IiRpZCI6IjExNiIsIkNvbG9yIjp7IiRpZCI6IjExNyIsIkEiOjI1NSwiUiI6MCwiRyI6MCwiQiI6MH19LCJNYXhXaWR0aCI6MjAwLjAsIk1heEhlaWdodCI6IkluZmluaXR5IiwiU21hcnRGb3JlZ3JvdW5kSXNBY3RpdmUiOmZhbHNlLCJIb3Jpem9udGFsQWxpZ25tZW50IjowLCJWZXJ0aWNhbEFsaWdubWVudCI6MCwiU21hcnRGb3JlZ3JvdW5kIjpudWxsLCJNYXJnaW4iOnsiJGlkIjoiMTE4IiwiVG9wIjowLCJMZWZ0IjowLCJSaWdodCI6MCwiQm90dG9tIjowfSwiUGFkZGluZyI6eyIkaWQiOiIxMTkiLCJUb3AiOjAsIkxlZnQiOjAsIlJpZ2h0IjowLCJCb3R0b20iOjB9LCJCYWNrZ3JvdW5kIjp7IiRpZCI6IjEyMCIsIkNvbG9yIjp7IiRyZWYiOiIyMCJ9fSwiSXNWaXNpYmxlIjp0cnVlLCJXaWR0aCI6MC4wLCJIZWlnaHQiOjAuMCwiQm9yZGVyU3R5bGUiOm51bGwsIlBhcmVudFN0eWxlIjpudWxsfSwiRGF0ZUZvcm1hdCI6eyIkaWQiOiIxMjEiLCJGb3JtYXRTdHJpbmciOiJNTU0gZCIsIlNlcGFyYXRvciI6Ii8iLCJVc2VJbnRlcm5hdGlvbmFsRGF0ZUZvcm1hdCI6ZmFsc2V9LCJJc1Zpc2libGUiOnRydWUsIlBhcmVudFN0eWxlIjpudWxsfSwiU2hvd0VsYXBzZWRUaW1lR3JhZGllbnRTdHlsZSI6ZmFsc2V9LCJTY2FsZSI6eyIkaWQiOiIxMjIiLCJTdGFydERhdGUiOiIyMDE3LTA4LTExVDAwOjAwOjAwWiIsIkVuZERhdGUiOiIyMDE4LTAzLTMxVDIzOjU5OjU5Ljk5OVoiLCJGb3JtYXQiOiJNTU0iLCJUeXBlIjoyLCJBdXRvRGF0ZVJhbmdlIjp0cnVlLCJXb3JraW5nRGF5cyI6MzEsIlRvZGF5TWFya2VyVGV4dCI6IlRvZGF5IiwiQXV0b1NjYWxlVHlwZSI6dHJ1ZX0sIk1pbGVzdG9uZXMiOlt7IiRpZCI6IjEyMyIsIkRhdGUiOiIyMDE3LTEwLTMxVDIzOjU5OjU5Ljk5OVoiLCJTdHlsZSI6eyIkaWQiOiIxMjQiLCJTaGFwZSI6MiwiQ29ubmVjdG9yTWFyZ2luIjp7IiRyZWYiOiI1NCJ9LCJDb25uZWN0b3JTdHlsZSI6eyIkaWQiOiIxMjUiLCJMaW5lQ29sb3IiOnsiJGlkIjoiMTI2IiwiJHR5cGUiOiJOTFJFLkNvbW1vbi5Eb20uU29saWRDb2xvckJydXNoLCBOTFJFLkNvbW1vbiIsIkNvbG9yIjp7IiRpZCI6IjEyNyIsIkEiOjEyNywiUiI6MCwiRyI6MTE0LCJCIjoxODh9fSwiTGluZVdlaWdodCI6MS4wLCJMaW5lVHlwZSI6MCwiUGFyZW50U3R5bGUiOnsiJHJlZiI6IjU1In19LCJJc0JlbG93VGltZWJhbmQiOmZhbHNlLCJIaWRlRGF0ZSI6ZmFsc2UsIlNoYXBlU2l6ZSI6MSwiU3BhY2luZyI6Mi4wLCJQYWRkaW5nIjp7IiRyZWYiOiI1OCJ9LCJTaGFwZVN0eWxlIjp7IiRpZCI6IjEyOCIsIk1hcmdpbiI6eyIkcmVmIjoiNjAifSwiUGFkZGluZyI6eyIkcmVmIjoiNjEifSwiQmFja2dyb3VuZCI6eyIkaWQiOiIxMjkiLCJDb2xvciI6eyIkaWQiOiIxMzAiLCJBIjoyNTUsIlIiOjAsIkciOjExNCwiQiI6MTg4fX0sIklzVmlzaWJsZSI6dHJ1ZSwiV2lkdGgiOjEzLjAsIkhlaWdodCI6MTMuMCwiQm9yZGVyU3R5bGUiOnsiJGlkIjoiMTMxIiwiTGluZUNvbG9yIjp7IiRyZWYiOiI2MyJ9LCJMaW5lV2VpZ2h0IjowLjAsIkxpbmVUeXBlIjowLCJQYXJlbnRTdHlsZSI6eyIkcmVmIjoiNjIifX0sIlBhcmVudFN0eWxlIjp7IiRyZWYiOiI1OSJ9fSwiVGl0bGVTdHlsZSI6eyIkaWQiOiIxMzIiLCJGb250U2V0dGluZ3MiOnsiJGlkIjoiMTMzIiwiRm9udFNpemUiOjExLCJGb250TmFtZSI6IkNhbGlicmkiLCJJc0JvbGQiOnRydWUsIklzSXRhbGljIjpmYWxzZSwiSXNVbmRlcmxpbmVkIjpmYWxzZSwiUGFyZW50U3R5bGUiOnsiJHJlZiI6IjY2In19LCJBdXRvU2l6ZSI6MCwiRm9yZWdyb3VuZCI6eyIkcmVmIjoiNjcifSwiTWF4V2lkdGgiOjIwMC4w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xMzQiLCJMaW5lQ29sb3IiOm51bGwsIkxpbmVXZWlnaHQiOjAuMCwiTGluZVR5cGUiOjAsIlBhcmVudFN0eWxlIjpudWxsfSwiUGFyZW50U3R5bGUiOnsiJHJlZiI6IjY1In19LCJEYXRlU3R5bGUiOnsiJGlkIjoiMTM1IiwiRm9udFNldHRpbmdzIjp7IiRpZCI6IjEzNi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zNyIsIkxpbmVDb2xvciI6bnVsbCwiTGluZVdlaWdodCI6MC4wLCJMaW5lVHlwZSI6MCwiUGFyZW50U3R5bGUiOm51bGx9LCJQYXJlbnRTdHlsZSI6eyIkcmVmIjoiNzIifX0sIkRhdGVGb3JtYXQiOnsiJHJlZiI6Ijc5In0sIklzVmlzaWJsZSI6dHJ1ZSwiUGFyZW50U3R5bGUiOnsiJHJlZiI6IjUzIn19LCJQb3NpdGlvbiI6eyJSYXRpbyI6MC4wLCJJc0N1c3RvbSI6ZmFsc2V9LCJJZCI6Ijg4NTFlMjIyLThiM2UtNGZjMC05ODFjLWExYTI5YWIzN2ZhMyIsIkltcG9ydElkIjpudWxsLCJUaXRsZSI6Ik1pbmRzcGhlcmUgMi4wLiBBZGFwdGVyIE1WUCIsIk5vdGUiOm51bGwsIkh5cGVybGluayI6bnVsbCwiSXNDaGFuZ2VkIjpmYWxzZSwiSXNOZXciOmZhbHNlfSx7IiRpZCI6IjEzOCIsIkRhdGUiOiIyMDE3LTExLTMwVDIzOjU5OjU5Ljk5OVoiLCJTdHlsZSI6eyIkaWQiOiIxMzkiLCJTaGFwZSI6MiwiQ29ubmVjdG9yTWFyZ2luIjp7IiRyZWYiOiI1NCJ9LCJDb25uZWN0b3JTdHlsZSI6eyIkaWQiOiIxNDAiLCJMaW5lQ29sb3IiOnsiJGlkIjoiMTQxIiwiJHR5cGUiOiJOTFJFLkNvbW1vbi5Eb20uU29saWRDb2xvckJydXNoLCBOTFJFLkNvbW1vbiIsIkNvbG9yIjp7IiRpZCI6IjE0MiIsIkEiOjEyNywiUiI6MjM1LCJHIjoxMjAsIkIiOjEwfX0sIkxpbmVXZWlnaHQiOjEuMCwiTGluZVR5cGUiOjAsIlBhcmVudFN0eWxlIjp7IiRyZWYiOiI1NSJ9fSwiSXNCZWxvd1RpbWViYW5kIjpmYWxzZSwiSGlkZURhdGUiOmZhbHNlLCJTaGFwZVNpemUiOjEsIlNwYWNpbmciOjIuMCwiUGFkZGluZyI6eyIkcmVmIjoiNTgifSwiU2hhcGVTdHlsZSI6eyIkaWQiOiIxNDMiLCJNYXJnaW4iOnsiJHJlZiI6IjYwIn0sIlBhZGRpbmciOnsiJHJlZiI6IjYxIn0sIkJhY2tncm91bmQiOnsiJGlkIjoiMTQ0IiwiQ29sb3IiOnsiJGlkIjoiMTQ1IiwiQSI6MjU1LCJSIjoyMzUsIkciOjEyMCwiQiI6MTB9fSwiSXNWaXNpYmxlIjp0cnVlLCJXaWR0aCI6MTMuMCwiSGVpZ2h0IjoxMy4wLCJCb3JkZXJTdHlsZSI6eyIkaWQiOiIxNDYiLCJMaW5lQ29sb3IiOnsiJHJlZiI6IjYzIn0sIkxpbmVXZWlnaHQiOjAuMCwiTGluZVR5cGUiOjAsIlBhcmVudFN0eWxlIjp7IiRyZWYiOiI2MiJ9fSwiUGFyZW50U3R5bGUiOnsiJHJlZiI6IjU5In19LCJUaXRsZVN0eWxlIjp7IiRpZCI6IjE0NyIsIkZvbnRTZXR0aW5ncyI6eyIkaWQiOiIxNDgiLCJGb250U2l6ZSI6MTEsIkZvbnROYW1lIjoiQ2FsaWJyaSIsIklzQm9sZCI6dHJ1ZSwiSXNJdGFsaWMiOmZhbHNlLCJJc1VuZGVybGluZWQiOmZhbHNlLCJQYXJlbnRTdHlsZSI6eyIkcmVmIjoiNjYifX0sIkF1dG9TaXplIjoyLCJGb3JlZ3JvdW5kIjp7IiRyZWYiOiI2NyJ9LCJNYXhXaWR0aCI6MTU1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0OSIsIkxpbmVDb2xvciI6bnVsbCwiTGluZVdlaWdodCI6MC4wLCJMaW5lVHlwZSI6MCwiUGFyZW50U3R5bGUiOm51bGx9LCJQYXJlbnRTdHlsZSI6eyIkcmVmIjoiNjUifX0sIkRhdGVTdHlsZSI6eyIkaWQiOiIxNTAiLCJGb250U2V0dGluZ3MiOnsiJGlkIjoiMTU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U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Tg4ZTkxMjMtNDkyMC00ZDVjLWJlN2MtYTZkYmI1ODgyZGU0IiwiSW1wb3J0SWQiOm51bGwsIlRpdGxlIjoiTWluZHNwaGVyZSAzLjAuIEFQSSBBdmFpbGFiaWxpdHkgZm9yIE1pbmRzcGhlcmUgMy4wLiBBZGFwdGVyIE1WUCIsIk5vdGUiOm51bGwsIkh5cGVybGluayI6bnVsbCwiSXNDaGFuZ2VkIjpmYWxzZSwiSXNOZXciOmZhbHNlfSx7IiRpZCI6IjE1MyIsIkRhdGUiOiIyMDE3LTEyLTMxVDIzOjU5OjU5Ljk5OVoiLCJTdHlsZSI6eyIkaWQiOiIxNTQiLCJTaGFwZSI6MiwiQ29ubmVjdG9yTWFyZ2luIjp7IiRyZWYiOiI1NCJ9LCJDb25uZWN0b3JTdHlsZSI6eyIkaWQiOiIxNTUiLCJMaW5lQ29sb3IiOnsiJGlkIjoiMTU2IiwiJHR5cGUiOiJOTFJFLkNvbW1vbi5Eb20uU29saWRDb2xvckJydXNoLCBOTFJFLkNvbW1vbiIsIkNvbG9yIjp7IiRpZCI6IjE1NyIsIkEiOjEyNywiUiI6MTM1LCJHIjoxNTUsIkIiOjE3MH19LCJMaW5lV2VpZ2h0IjoxLjAsIkxpbmVUeXBlIjowLCJQYXJlbnRTdHlsZSI6eyIkcmVmIjoiNTUifX0sIklzQmVsb3dUaW1lYmFuZCI6ZmFsc2UsIkhpZGVEYXRlIjpmYWxzZSwiU2hhcGVTaXplIjoxLCJTcGFjaW5nIjoyLjAsIlBhZGRpbmciOnsiJHJlZiI6IjU4In0sIlNoYXBlU3R5bGUiOnsiJGlkIjoiMTU4IiwiTWFyZ2luIjp7IiRyZWYiOiI2MCJ9LCJQYWRkaW5nIjp7IiRyZWYiOiI2MSJ9LCJCYWNrZ3JvdW5kIjp7IiRpZCI6IjE1OSIsIkNvbG9yIjp7IiRpZCI6IjE2MCIsIkEiOjI1NSwiUiI6MTM1LCJHIjoxNTUsIkIiOjE3MH19LCJJc1Zpc2libGUiOnRydWUsIldpZHRoIjoxMy4wLCJIZWlnaHQiOjEzLjAsIkJvcmRlclN0eWxlIjp7IiRpZCI6IjE2MSIsIkxpbmVDb2xvciI6eyIkcmVmIjoiNjMifSwiTGluZVdlaWdodCI6MC4wLCJMaW5lVHlwZSI6MCwiUGFyZW50U3R5bGUiOnsiJHJlZiI6IjYyIn19LCJQYXJlbnRTdHlsZSI6eyIkcmVmIjoiNTkifX0sIlRpdGxlU3R5bGUiOnsiJGlkIjoiMTYyIiwiRm9udFNldHRpbmdzIjp7IiRpZCI6IjE2MyIsIkZvbnRTaXplIjoxMSwiRm9udE5hbWUiOiJDYWxpYnJpIiwiSXNCb2xkIjp0cnVlLCJJc0l0YWxpYyI6ZmFsc2UsIklzVW5kZXJsaW5lZCI6ZmFsc2UsIlBhcmVudFN0eWxlIjp7IiRyZWYiOiI2NiJ9fSwiQXV0b1NpemUiOjAsIkZvcmVncm91bmQiOnsiJHJlZiI6IjY3In0sIk1heFdpZHRoIjoyMDAuMCwiTWF4SGVpZ2h0IjoiSW5maW5pdHkiLCJTbWFydEZvcmVncm91bmRJc0FjdGl2ZSI6ZmFsc2UsIkhvcml6b250YWxBbGlnbm1lbnQiOjEsIlZlcnRpY2FsQWxpZ25tZW50IjowLCJTbWFydEZvcmVncm91bmQiOm51bGwsIk1hcmdpbiI6eyIkcmVmIjoiNjkifSwiUGFkZGluZyI6eyIkcmVmIjoiNzAifSwiQmFja2dyb3VuZCI6eyIkcmVmIjoiNzEifSwiSXNWaXNpYmxlIjp0cnVlLCJXaWR0aCI6MC4wLCJIZWlnaHQiOjAuMCwiQm9yZGVyU3R5bGUiOnsiJGlkIjoiMTY0IiwiTGluZUNvbG9yIjpudWxsLCJMaW5lV2VpZ2h0IjowLjAsIkxpbmVUeXBlIjowLCJQYXJlbnRTdHlsZSI6bnVsbH0sIlBhcmVudFN0eWxlIjp7IiRyZWYiOiI2NSJ9fSwiRGF0ZVN0eWxlIjp7IiRpZCI6IjE2NSIsIkZvbnRTZXR0aW5ncyI6eyIkaWQiOiIxNjYiLCJGb250U2l6ZSI6MTAsIkZvbnROYW1lIjoiQ2FsaWJyaSIsIklzQm9sZCI6ZmFsc2UsIklzSXRhbGljIjpmYWxzZSwiSXNVbmRlcmxpbmVkIjpmYWxzZSwiUGFyZW50U3R5bGUiOnsiJHJlZiI6IjczIn19LCJBdXRvU2l6ZSI6MCwiRm9yZWdyb3VuZCI6eyIkcmVmIjoiNzQifSwiTWF4V2lkdGgiOjIwMC4wLCJNYXhIZWlnaHQiOiJJbmZpbml0eSIsIlNtYXJ0Rm9yZWdyb3VuZElzQWN0aXZlIjpmYWxzZSwiSG9yaXpvbnRhbEFsaWdubWVudCI6MCwiVmVydGljYWxBbGlnbm1lbnQiOjAsIlNtYXJ0Rm9yZWdyb3VuZCI6bnVsbCwiTWFyZ2luIjp7IiRyZWYiOiI3NiJ9LCJQYWRkaW5nIjp7IiRyZWYiOiI3NyJ9LCJCYWNrZ3JvdW5kIjp7IiRyZWYiOiI3OCJ9LCJJc1Zpc2libGUiOnRydWUsIldpZHRoIjowLjAsIkhlaWdodCI6MC4wLCJCb3JkZXJTdHlsZSI6eyIkaWQiOiIxNjciLCJMaW5lQ29sb3IiOm51bGwsIkxpbmVXZWlnaHQiOjAuMCwiTGluZVR5cGUiOjAsIlBhcmVudFN0eWxlIjpudWxsfSwiUGFyZW50U3R5bGUiOnsiJHJlZiI6IjcyIn19LCJEYXRlRm9ybWF0Ijp7IiRyZWYiOiI3OSJ9LCJJc1Zpc2libGUiOnRydWUsIlBhcmVudFN0eWxlIjp7IiRyZWYiOiI1MyJ9fSwiUG9zaXRpb24iOnsiUmF0aW8iOjAuMCwiSXNDdXN0b20iOmZhbHNlfSwiSWQiOiIwMjg4ODFiZi1jM2NjLTQ2YWMtYTM0MS1iZTk2NzBjOTJmYWUiLCJJbXBvcnRJZCI6bnVsbCwiVGl0bGUiOiJNaW5kc3BoZXJlIDIuMC4gQWRhcHRlciBGdWxsIiwiTm90ZSI6bnVsbCwiSHlwZXJsaW5rIjpudWxsLCJJc0NoYW5nZWQiOmZhbHNlLCJJc05ldyI6ZmFsc2V9LHsiJGlkIjoiMTY4IiwiRGF0ZSI6IjIwMTgtMDMtMzFUMjM6NTk6NTkuOTk5WiIsIlN0eWxlIjp7IiRpZCI6IjE2OSIsIlNoYXBlIjoyLCJDb25uZWN0b3JNYXJnaW4iOnsiJHJlZiI6IjU0In0sIkNvbm5lY3RvclN0eWxlIjp7IiRpZCI6IjE3MCIsIkxpbmVDb2xvciI6eyIkaWQiOiIxNzEiLCIkdHlwZSI6Ik5MUkUuQ29tbW9uLkRvbS5Tb2xpZENvbG9yQnJ1c2gsIE5MUkUuQ29tbW9uIiwiQ29sb3IiOnsiJGlkIjoiMTcyIiwiQSI6MTI3LCJSIjoxOTAsIkciOjIwNSwiQiI6MjE1fX0sIkxpbmVXZWlnaHQiOjEuMCwiTGluZVR5cGUiOjAsIlBhcmVudFN0eWxlIjp7IiRyZWYiOiI1NSJ9fSwiSXNCZWxvd1RpbWViYW5kIjpmYWxzZSwiSGlkZURhdGUiOmZhbHNlLCJTaGFwZVNpemUiOjEsIlNwYWNpbmciOjIuMCwiUGFkZGluZyI6eyIkcmVmIjoiNTgifSwiU2hhcGVTdHlsZSI6eyIkaWQiOiIxNzMiLCJNYXJnaW4iOnsiJHJlZiI6IjYwIn0sIlBhZGRpbmciOnsiJHJlZiI6IjYxIn0sIkJhY2tncm91bmQiOnsiJGlkIjoiMTc0IiwiQ29sb3IiOnsiJGlkIjoiMTc1IiwiQSI6MjU1LCJSIjoxOTAsIkciOjIwNSwiQiI6MjE1fX0sIklzVmlzaWJsZSI6dHJ1ZSwiV2lkdGgiOjEzLjAsIkhlaWdodCI6MTMuMCwiQm9yZGVyU3R5bGUiOnsiJGlkIjoiMTc2IiwiTGluZUNvbG9yIjp7IiRyZWYiOiI2MyJ9LCJMaW5lV2VpZ2h0IjowLjAsIkxpbmVUeXBlIjowLCJQYXJlbnRTdHlsZSI6eyIkcmVmIjoiNjIifX0sIlBhcmVudFN0eWxlIjp7IiRyZWYiOiI1OSJ9fSwiVGl0bGVTdHlsZSI6eyIkaWQiOiIxNzciLCJGb250U2V0dGluZ3MiOnsiJGlkIjoiMTc4IiwiRm9udFNpemUiOjExLCJGb250TmFtZSI6IkNhbGlicmkiLCJJc0JvbGQiOnRydWUsIklzSXRhbGljIjpmYWxzZSwiSXNVbmRlcmxpbmVkIjpmYWxzZSwiUGFyZW50U3R5bGUiOnsiJHJlZiI6IjY2In19LCJBdXRvU2l6ZSI6MiwiRm9yZWdyb3VuZCI6eyIkcmVmIjoiNjcifSwiTWF4V2lkdGgiOjQx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3OSIsIkxpbmVDb2xvciI6bnVsbCwiTGluZVdlaWdodCI6MC4wLCJMaW5lVHlwZSI6MCwiUGFyZW50U3R5bGUiOm51bGx9LCJQYXJlbnRTdHlsZSI6eyIkcmVmIjoiNjUifX0sIkRhdGVTdHlsZSI6eyIkaWQiOiIxODAiLCJGb250U2V0dGluZ3MiOnsiJGlkIjoiMTg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g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WExYjAzZDMtNTY1ZC00MGM5LWJjMWQtNDc4YTczYTA4NjgwIiwiSW1wb3J0SWQiOm51bGwsIlRpdGxlIjoiTWluZHNwaGVyZSAzLjAuIEFkYXB0ZXIgTVZQIiwiTm90ZSI6bnVsbCwiSHlwZXJsaW5rIjpudWxsLCJJc0NoYW5nZWQiOmZhbHNlLCJJc05ldyI6ZmFsc2V9XSwiVGFza3MiOlt7IiRpZCI6IjE4MyIsIkdyb3VwTmFtZSI6bnVsbCwiU3RhcnREYXRlIjoiMjAxNy0wOC0xMVQwMDowMDowMFoiLCJFbmREYXRlIjoiMjAxNy0wOC0zMVQyMzo1OTo1OS45OTlaIiwiUGVyY2VudGFnZUNvbXBsZXRlIjpudWxsLCJTdHlsZSI6eyIkaWQiOiIxODQiLCJTaGFwZSI6MSwiU2hhcGVUaGlja25lc3MiOjEsIkR1cmF0aW9uRm9ybWF0IjowLCJJbmNsdWRlTm9uV29ya2luZ0RheXNJbkR1cmF0aW9uIjp0cnVlLCJQZXJjZW50YWdlQ29tcGxldGVTdHlsZSI6eyIkaWQiOiIxODUiLCJGb250U2V0dGluZ3MiOnsiJGlkIjoiMTg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Tg3IiwiTGluZUNvbG9yIjpudWxsLCJMaW5lV2VpZ2h0IjowLjAsIkxpbmVUeXBlIjowLCJQYXJlbnRTdHlsZSI6bnVsbH0sIlBhcmVudFN0eWxlIjp7IiRyZWYiOiI4MSJ9fSwiRHVyYXRpb25TdHlsZSI6eyIkaWQiOiIxODgiLCJGb250U2V0dGluZ3MiOnsiJGlkIjoiMTg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TkwIiwiTGluZUNvbG9yIjpudWxsLCJMaW5lV2VpZ2h0IjowLjAsIkxpbmVUeXBlIjowLCJQYXJlbnRTdHlsZSI6bnVsbH0sIlBhcmVudFN0eWxlIjp7IiRyZWYiOiI4OCJ9fSwiSG9yaXpvbnRhbENvbm5lY3RvclN0eWxlIjp7IiRpZCI6IjE5MSIsIkxpbmVDb2xvciI6eyIkcmVmIjoiOTYifSwiTGluZVdlaWdodCI6MC4wLCJMaW5lVHlwZSI6MCwiUGFyZW50U3R5bGUiOnsiJHJlZiI6Ijk1In19LCJWZXJ0aWNhbENvbm5lY3RvclN0eWxlIjp7IiRpZCI6IjE5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xOTMiLCJNYXJnaW4iOnsiJHJlZiI6IjEwMiJ9LCJQYWRkaW5nIjp7IiRyZWYiOiIxMDMifSwiQmFja2dyb3VuZCI6eyIkaWQiOiIxOTQiLCJDb2xvciI6eyIkaWQiOiIxOTUiLCJBIjoyNTUsIlIiOjE5MCwiRyI6MjA1LCJCIjoyMTV9fSwiSXNWaXNpYmxlIjp0cnVlLCJXaWR0aCI6MC4wLCJIZWlnaHQiOjE2LjAsIkJvcmRlclN0eWxlIjp7IiRpZCI6IjE5NiIsIkxpbmVDb2xvciI6eyIkcmVmIjoiMTA1In0sIkxpbmVXZWlnaHQiOjAuMCwiTGluZVR5cGUiOjAsIlBhcmVudFN0eWxlIjp7IiRyZWYiOiIxMDQifX0sIlBhcmVudFN0eWxlIjp7IiRyZWYiOiIxMDEifX0sIlRpdGxlU3R5bGUiOnsiJGlkIjoiMTk3IiwiRm9udFNldHRpbmdzIjp7IiRpZCI6IjE5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xOTkiLCJMaW5lQ29sb3IiOm51bGwsIkxpbmVXZWlnaHQiOjAuMCwiTGluZVR5cGUiOjAsIlBhcmVudFN0eWxlIjpudWxsfSwiUGFyZW50U3R5bGUiOnsiJHJlZiI6IjEwNyJ9fSwiRGF0ZVN0eWxlIjp7IiRpZCI6IjIwMCIsIkZvbnRTZXR0aW5ncyI6eyIkaWQiOiIyM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wMiIsIkxpbmVDb2xvciI6bnVsbCwiTGluZVdlaWdodCI6MC4wLCJMaW5lVHlwZSI6MCwiUGFyZW50U3R5bGUiOm51bGx9LCJQYXJlbnRTdHlsZSI6eyIkcmVmIjoiMTE0In19LCJEYXRlRm9ybWF0Ijp7IiRyZWYiOiIxMjEifSwiSXNWaXNpYmxlIjp0cnVlLCJQYXJlbnRTdHlsZSI6eyIkcmVmIjoiODAifX0sIkluZGV4IjoxLCJJZCI6IjlkMDY5NzgyLTdiYTUtNDg3Ny04Zjk5LTRiMWY4OWUyOWQ5ZCIsIkltcG9ydElkIjpudWxsLCJUaXRsZSI6Ik1pbmRzcGhlcmUgMi4wLiBNVlAgU3BlY2lmaWNhdGlvbiIsIk5vdGUiOm51bGwsIkh5cGVybGluayI6bnVsbCwiSXNDaGFuZ2VkIjpmYWxzZSwiSXNOZXciOmZhbHNlfSx7IiRpZCI6IjIwMyIsIkdyb3VwTmFtZSI6bnVsbCwiU3RhcnREYXRlIjoiMjAxNy0wOS0wMVQwMDowMDowMFoiLCJFbmREYXRlIjoiMjAxNy0xMC0zMVQyMzo1OTo1OS45OTlaIiwiUGVyY2VudGFnZUNvbXBsZXRlIjpudWxsLCJTdHlsZSI6eyIkaWQiOiIyMDQiLCJTaGFwZSI6MSwiU2hhcGVUaGlja25lc3MiOjIsIkR1cmF0aW9uRm9ybWF0IjowLCJJbmNsdWRlTm9uV29ya2luZ0RheXNJbkR1cmF0aW9uIjp0cnVlLCJQZXJjZW50YWdlQ29tcGxldGVTdHlsZSI6eyIkaWQiOiIyMDUiLCJGb250U2V0dGluZ3MiOnsiJGlkIjoiMjA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A3IiwiTGluZUNvbG9yIjpudWxsLCJMaW5lV2VpZ2h0IjowLjAsIkxpbmVUeXBlIjowLCJQYXJlbnRTdHlsZSI6bnVsbH0sIlBhcmVudFN0eWxlIjp7IiRyZWYiOiI4MSJ9fSwiRHVyYXRpb25TdHlsZSI6eyIkaWQiOiIyMDgiLCJGb250U2V0dGluZ3MiOnsiJGlkIjoiMjA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EwIiwiTGluZUNvbG9yIjpudWxsLCJMaW5lV2VpZ2h0IjowLjAsIkxpbmVUeXBlIjowLCJQYXJlbnRTdHlsZSI6bnVsbH0sIlBhcmVudFN0eWxlIjp7IiRyZWYiOiI4OCJ9fSwiSG9yaXpvbnRhbENvbm5lY3RvclN0eWxlIjp7IiRpZCI6IjIxMSIsIkxpbmVDb2xvciI6eyIkcmVmIjoiOTYifSwiTGluZVdlaWdodCI6MC4wLCJMaW5lVHlwZSI6MCwiUGFyZW50U3R5bGUiOnsiJHJlZiI6Ijk1In19LCJWZXJ0aWNhbENvbm5lY3RvclN0eWxlIjp7IiRpZCI6IjIx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MTMiLCJNYXJnaW4iOnsiJHJlZiI6IjEwMiJ9LCJQYWRkaW5nIjp7IiRyZWYiOiIxMDMifSwiQmFja2dyb3VuZCI6eyIkaWQiOiIyMTQiLCJDb2xvciI6eyIkaWQiOiIyMTUiLCJBIjoyNTUsIlIiOjExNSwiRyI6MTE1LCJCIjoxMTV9fSwiSXNWaXNpYmxlIjp0cnVlLCJXaWR0aCI6MC4wLCJIZWlnaHQiOjIyLjAsIkJvcmRlclN0eWxlIjp7IiRpZCI6IjIxNiIsIkxpbmVDb2xvciI6eyIkcmVmIjoiMTA1In0sIkxpbmVXZWlnaHQiOjAuMCwiTGluZVR5cGUiOjAsIlBhcmVudFN0eWxlIjp7IiRyZWYiOiIxMDQifX0sIlBhcmVudFN0eWxlIjp7IiRyZWYiOiIxMDEifX0sIlRpdGxlU3R5bGUiOnsiJGlkIjoiMjE3IiwiRm9udFNldHRpbmdzIjp7IiRpZCI6IjIx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TkiLCJMaW5lQ29sb3IiOm51bGwsIkxpbmVXZWlnaHQiOjAuMCwiTGluZVR5cGUiOjAsIlBhcmVudFN0eWxlIjpudWxsfSwiUGFyZW50U3R5bGUiOnsiJHJlZiI6IjEwNyJ9fSwiRGF0ZVN0eWxlIjp7IiRpZCI6IjIyMCIsIkZvbnRTZXR0aW5ncyI6eyIkaWQiOiIyMj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yMiIsIkxpbmVDb2xvciI6bnVsbCwiTGluZVdlaWdodCI6MC4wLCJMaW5lVHlwZSI6MCwiUGFyZW50U3R5bGUiOm51bGx9LCJQYXJlbnRTdHlsZSI6eyIkcmVmIjoiMTE0In19LCJEYXRlRm9ybWF0Ijp7IiRyZWYiOiIxMjEifSwiSXNWaXNpYmxlIjp0cnVlLCJQYXJlbnRTdHlsZSI6eyIkcmVmIjoiODAifX0sIkluZGV4IjoyLCJJZCI6IjE4NjY2MDFhLWZjMGItNGM4YS1iNTdhLTAxZDA1OTE3NGJmMyIsIkltcG9ydElkIjpudWxsLCJUaXRsZSI6Ik1pbmRzcGhlcmUgMi4wLiBNVlAgSW1wbGVtZW50YXRpb24iLCJOb3RlIjpudWxsLCJIeXBlcmxpbmsiOm51bGwsIklzQ2hhbmdlZCI6ZmFsc2UsIklzTmV3IjpmYWxzZX0seyIkaWQiOiIyMjMiLCJHcm91cE5hbWUiOm51bGwsIlN0YXJ0RGF0ZSI6IjIwMTctMDktMDFUMDA6MDA6MDBaIiwiRW5kRGF0ZSI6IjIwMTctMTAtMzFUMjM6NTk6NTkuOTk5WiIsIlBlcmNlbnRhZ2VDb21wbGV0ZSI6bnVsbCwiU3R5bGUiOnsiJGlkIjoiMjI0IiwiU2hhcGUiOjEsIlNoYXBlVGhpY2tuZXNzIjoxLCJEdXJhdGlvbkZvcm1hdCI6MCwiSW5jbHVkZU5vbldvcmtpbmdEYXlzSW5EdXJhdGlvbiI6dHJ1ZSwiUGVyY2VudGFnZUNvbXBsZXRlU3R5bGUiOnsiJGlkIjoiMjI1IiwiRm9udFNldHRpbmdzIjp7IiRpZCI6IjIy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yNyIsIkxpbmVDb2xvciI6bnVsbCwiTGluZVdlaWdodCI6MC4wLCJMaW5lVHlwZSI6MCwiUGFyZW50U3R5bGUiOm51bGx9LCJQYXJlbnRTdHlsZSI6eyIkcmVmIjoiODEifX0sIkR1cmF0aW9uU3R5bGUiOnsiJGlkIjoiMjI4IiwiRm9udFNldHRpbmdzIjp7IiRpZCI6IjIy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zMCIsIkxpbmVDb2xvciI6bnVsbCwiTGluZVdlaWdodCI6MC4wLCJMaW5lVHlwZSI6MCwiUGFyZW50U3R5bGUiOm51bGx9LCJQYXJlbnRTdHlsZSI6eyIkcmVmIjoiODgifX0sIkhvcml6b250YWxDb25uZWN0b3JTdHlsZSI6eyIkaWQiOiIyMzEiLCJMaW5lQ29sb3IiOnsiJHJlZiI6Ijk2In0sIkxpbmVXZWlnaHQiOjAuMCwiTGluZVR5cGUiOjAsIlBhcmVudFN0eWxlIjp7IiRyZWYiOiI5NSJ9fSwiVmVydGljYWxDb25uZWN0b3JTdHlsZSI6eyIkaWQiOiIyM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MzIiwiTWFyZ2luIjp7IiRyZWYiOiIxMDIifSwiUGFkZGluZyI6eyIkcmVmIjoiMTAzIn0sIkJhY2tncm91bmQiOnsiJGlkIjoiMjM0IiwiQ29sb3IiOnsiJGlkIjoiMjM1IiwiQSI6MjU1LCJSIjoyNTQsIkciOjE4NiwiQiI6MTB9fSwiSXNWaXNpYmxlIjp0cnVlLCJXaWR0aCI6MC4wLCJIZWlnaHQiOjE2LjAsIkJvcmRlclN0eWxlIjp7IiRpZCI6IjIzNiIsIkxpbmVDb2xvciI6eyIkcmVmIjoiMTA1In0sIkxpbmVXZWlnaHQiOjAuMCwiTGluZVR5cGUiOjAsIlBhcmVudFN0eWxlIjp7IiRyZWYiOiIxMDQifX0sIlBhcmVudFN0eWxlIjp7IiRyZWYiOiIxMDEifX0sIlRpdGxlU3R5bGUiOnsiJGlkIjoiMjM3IiwiRm9udFNldHRpbmdzIjp7IiRpZCI6IjIz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zkiLCJMaW5lQ29sb3IiOm51bGwsIkxpbmVXZWlnaHQiOjAuMCwiTGluZVR5cGUiOjAsIlBhcmVudFN0eWxlIjpudWxsfSwiUGFyZW50U3R5bGUiOnsiJHJlZiI6IjEwNyJ9fSwiRGF0ZVN0eWxlIjp7IiRpZCI6IjI0MCIsIkZvbnRTZXR0aW5ncyI6eyIkaWQiOiIyN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0MiIsIkxpbmVDb2xvciI6bnVsbCwiTGluZVdlaWdodCI6MC4wLCJMaW5lVHlwZSI6MCwiUGFyZW50U3R5bGUiOm51bGx9LCJQYXJlbnRTdHlsZSI6eyIkcmVmIjoiMTE0In19LCJEYXRlRm9ybWF0Ijp7IiRyZWYiOiIxMjEifSwiSXNWaXNpYmxlIjp0cnVlLCJQYXJlbnRTdHlsZSI6eyIkcmVmIjoiODAifX0sIkluZGV4IjozLCJJZCI6ImY5NWYxMTI4LTllZmUtNDc1NS1hMjVkLTBkNDdhN2MyMzhiMyIsIkltcG9ydElkIjpudWxsLCJUaXRsZSI6Ik1pbmRzcGhlcmUgMi4wLiBGdWxsIC0gU3BlY2lmaWNhdGlvbiIsIk5vdGUiOm51bGwsIkh5cGVybGluayI6bnVsbCwiSXNDaGFuZ2VkIjpmYWxzZSwiSXNOZXciOmZhbHNlfSx7IiRpZCI6IjI0MyIsIkdyb3VwTmFtZSI6bnVsbCwiU3RhcnREYXRlIjoiMjAxNy0xMC0zMVQwMDowMDowMFoiLCJFbmREYXRlIjoiMjAxNy0xMi0zMVQyMzo1OTo1OS45OTlaIiwiUGVyY2VudGFnZUNvbXBsZXRlIjpudWxsLCJTdHlsZSI6eyIkaWQiOiIyNDQiLCJTaGFwZSI6MSwiU2hhcGVUaGlja25lc3MiOjIsIkR1cmF0aW9uRm9ybWF0IjowLCJJbmNsdWRlTm9uV29ya2luZ0RheXNJbkR1cmF0aW9uIjp0cnVlLCJQZXJjZW50YWdlQ29tcGxldGVTdHlsZSI6eyIkaWQiOiIyNDUiLCJGb250U2V0dGluZ3MiOnsiJGlkIjoiMjQ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Q3IiwiTGluZUNvbG9yIjpudWxsLCJMaW5lV2VpZ2h0IjowLjAsIkxpbmVUeXBlIjowLCJQYXJlbnRTdHlsZSI6bnVsbH0sIlBhcmVudFN0eWxlIjp7IiRyZWYiOiI4MSJ9fSwiRHVyYXRpb25TdHlsZSI6eyIkaWQiOiIyNDgiLCJGb250U2V0dGluZ3MiOnsiJGlkIjoiMjQ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UwIiwiTGluZUNvbG9yIjpudWxsLCJMaW5lV2VpZ2h0IjowLjAsIkxpbmVUeXBlIjowLCJQYXJlbnRTdHlsZSI6bnVsbH0sIlBhcmVudFN0eWxlIjp7IiRyZWYiOiI4OCJ9fSwiSG9yaXpvbnRhbENvbm5lY3RvclN0eWxlIjp7IiRpZCI6IjI1MSIsIkxpbmVDb2xvciI6eyIkcmVmIjoiOTYifSwiTGluZVdlaWdodCI6MC4wLCJMaW5lVHlwZSI6MCwiUGFyZW50U3R5bGUiOnsiJHJlZiI6Ijk1In19LCJWZXJ0aWNhbENvbm5lY3RvclN0eWxlIjp7IiRpZCI6IjI1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NTMiLCJNYXJnaW4iOnsiJHJlZiI6IjEwMiJ9LCJQYWRkaW5nIjp7IiRyZWYiOiIxMDMifSwiQmFja2dyb3VuZCI6eyIkaWQiOiIyNTQiLCJDb2xvciI6eyIkaWQiOiIyNTUiLCJBIjoyNTUsIlIiOjIzNSwiRyI6MTIwLCJCIjoxMH19LCJJc1Zpc2libGUiOnRydWUsIldpZHRoIjowLjAsIkhlaWdodCI6MjIuMCwiQm9yZGVyU3R5bGUiOnsiJGlkIjoiMjU2IiwiTGluZUNvbG9yIjp7IiRyZWYiOiIxMDUifSwiTGluZVdlaWdodCI6MC4wLCJMaW5lVHlwZSI6MCwiUGFyZW50U3R5bGUiOnsiJHJlZiI6IjEwNCJ9fSwiUGFyZW50U3R5bGUiOnsiJHJlZiI6IjEwMSJ9fSwiVGl0bGVTdHlsZSI6eyIkaWQiOiIyNTciLCJGb250U2V0dGluZ3MiOnsiJGlkIjoiMjU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1OSIsIkxpbmVDb2xvciI6bnVsbCwiTGluZVdlaWdodCI6MC4wLCJMaW5lVHlwZSI6MCwiUGFyZW50U3R5bGUiOm51bGx9LCJQYXJlbnRTdHlsZSI6eyIkcmVmIjoiMTA3In19LCJEYXRlU3R5bGUiOnsiJGlkIjoiMjYwIiwiRm9udFNldHRpbmdzIjp7IiRpZCI6IjI2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YyIiwiTGluZUNvbG9yIjpudWxsLCJMaW5lV2VpZ2h0IjowLjAsIkxpbmVUeXBlIjowLCJQYXJlbnRTdHlsZSI6bnVsbH0sIlBhcmVudFN0eWxlIjp7IiRyZWYiOiIxMTQifX0sIkRhdGVGb3JtYXQiOnsiJHJlZiI6IjEyMSJ9LCJJc1Zpc2libGUiOnRydWUsIlBhcmVudFN0eWxlIjp7IiRyZWYiOiI4MCJ9fSwiSW5kZXgiOjQsIklkIjoiNzg5ZmNhMDctNGFhMC00YjA4LWJkNzItZDU0NzU3MDUxMGNkIiwiSW1wb3J0SWQiOm51bGwsIlRpdGxlIjoiTWluZHNwaGVyZSAyLjAuIEZ1bGwgSW1wbGVtZW50YXRpb24iLCJOb3RlIjpudWxsLCJIeXBlcmxpbmsiOm51bGwsIklzQ2hhbmdlZCI6ZmFsc2UsIklzTmV3IjpmYWxzZX0seyIkaWQiOiIyNjMiLCJHcm91cE5hbWUiOm51bGwsIlN0YXJ0RGF0ZSI6IjIwMTctMTItMDFUMDA6MDA6MDBaIiwiRW5kRGF0ZSI6IjIwMTgtMDEtMzFUMjM6NTk6NTkuOTk5WiIsIlBlcmNlbnRhZ2VDb21wbGV0ZSI6bnVsbCwiU3R5bGUiOnsiJGlkIjoiMjY0IiwiU2hhcGUiOjEsIlNoYXBlVGhpY2tuZXNzIjoxLCJEdXJhdGlvbkZvcm1hdCI6MCwiSW5jbHVkZU5vbldvcmtpbmdEYXlzSW5EdXJhdGlvbiI6dHJ1ZSwiUGVyY2VudGFnZUNvbXBsZXRlU3R5bGUiOnsiJGlkIjoiMjY1IiwiRm9udFNldHRpbmdzIjp7IiRpZCI6IjI2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2NyIsIkxpbmVDb2xvciI6bnVsbCwiTGluZVdlaWdodCI6MC4wLCJMaW5lVHlwZSI6MCwiUGFyZW50U3R5bGUiOm51bGx9LCJQYXJlbnRTdHlsZSI6eyIkcmVmIjoiODEifX0sIkR1cmF0aW9uU3R5bGUiOnsiJGlkIjoiMjY4IiwiRm9udFNldHRpbmdzIjp7IiRpZCI6IjI2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3MCIsIkxpbmVDb2xvciI6bnVsbCwiTGluZVdlaWdodCI6MC4wLCJMaW5lVHlwZSI6MCwiUGFyZW50U3R5bGUiOm51bGx9LCJQYXJlbnRTdHlsZSI6eyIkcmVmIjoiODgifX0sIkhvcml6b250YWxDb25uZWN0b3JTdHlsZSI6eyIkaWQiOiIyNzEiLCJMaW5lQ29sb3IiOnsiJHJlZiI6Ijk2In0sIkxpbmVXZWlnaHQiOjAuMCwiTGluZVR5cGUiOjAsIlBhcmVudFN0eWxlIjp7IiRyZWYiOiI5NSJ9fSwiVmVydGljYWxDb25uZWN0b3JTdHlsZSI6eyIkaWQiOiIyN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czIiwiTWFyZ2luIjp7IiRyZWYiOiIxMDIifSwiUGFkZGluZyI6eyIkcmVmIjoiMTAzIn0sIkJhY2tncm91bmQiOnsiJGlkIjoiMjc0IiwiQ29sb3IiOnsiJGlkIjoiMjc1IiwiQSI6MjU1LCJSIjoyLCJHIjoxNzgsIkIiOjIzOH19LCJJc1Zpc2libGUiOnRydWUsIldpZHRoIjowLjAsIkhlaWdodCI6MTYuMCwiQm9yZGVyU3R5bGUiOnsiJGlkIjoiMjc2IiwiTGluZUNvbG9yIjp7IiRyZWYiOiIxMDUifSwiTGluZVdlaWdodCI6MC4wLCJMaW5lVHlwZSI6MCwiUGFyZW50U3R5bGUiOnsiJHJlZiI6IjEwNCJ9fSwiUGFyZW50U3R5bGUiOnsiJHJlZiI6IjEwMSJ9fSwiVGl0bGVTdHlsZSI6eyIkaWQiOiIyNzciLCJGb250U2V0dGluZ3MiOnsiJGlkIjoiMjc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3OSIsIkxpbmVDb2xvciI6bnVsbCwiTGluZVdlaWdodCI6MC4wLCJMaW5lVHlwZSI6MCwiUGFyZW50U3R5bGUiOm51bGx9LCJQYXJlbnRTdHlsZSI6eyIkcmVmIjoiMTA3In19LCJEYXRlU3R5bGUiOnsiJGlkIjoiMjgwIiwiRm9udFNldHRpbmdzIjp7IiRpZCI6IjI4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gyIiwiTGluZUNvbG9yIjpudWxsLCJMaW5lV2VpZ2h0IjowLjAsIkxpbmVUeXBlIjowLCJQYXJlbnRTdHlsZSI6bnVsbH0sIlBhcmVudFN0eWxlIjp7IiRyZWYiOiIxMTQifX0sIkRhdGVGb3JtYXQiOnsiJHJlZiI6IjEyMSJ9LCJJc1Zpc2libGUiOnRydWUsIlBhcmVudFN0eWxlIjp7IiRyZWYiOiI4MCJ9fSwiSW5kZXgiOjUsIklkIjoiN2RkODM0ZDktZjkwZC00MWNmLWIzZTAtM2UzMjgxNzczZTFiIiwiSW1wb3J0SWQiOm51bGwsIlRpdGxlIjoiTWluZHNwaGVyZSAzLjAgTVZQIFNwZWNpZmljYXRpb24iLCJOb3RlIjpudWxsLCJIeXBlcmxpbmsiOm51bGwsIklzQ2hhbmdlZCI6ZmFsc2UsIklzTmV3IjpmYWxzZX0seyIkaWQiOiIyODMiLCJHcm91cE5hbWUiOm51bGwsIlN0YXJ0RGF0ZSI6IjIwMTgtMDEtMzFUMDA6MDA6MDBaIiwiRW5kRGF0ZSI6IjIwMTgtMDMtMzFUMjM6NTk6NTkuOTk5WiIsIlBlcmNlbnRhZ2VDb21wbGV0ZSI6bnVsbCwiU3R5bGUiOnsiJGlkIjoiMjg0IiwiU2hhcGUiOjEsIlNoYXBlVGhpY2tuZXNzIjoyLCJEdXJhdGlvbkZvcm1hdCI6MCwiSW5jbHVkZU5vbldvcmtpbmdEYXlzSW5EdXJhdGlvbiI6dHJ1ZSwiUGVyY2VudGFnZUNvbXBsZXRlU3R5bGUiOnsiJGlkIjoiMjg1IiwiRm9udFNldHRpbmdzIjp7IiRpZCI6IjI4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4NyIsIkxpbmVDb2xvciI6bnVsbCwiTGluZVdlaWdodCI6MC4wLCJMaW5lVHlwZSI6MCwiUGFyZW50U3R5bGUiOm51bGx9LCJQYXJlbnRTdHlsZSI6eyIkcmVmIjoiODEifX0sIkR1cmF0aW9uU3R5bGUiOnsiJGlkIjoiMjg4IiwiRm9udFNldHRpbmdzIjp7IiRpZCI6IjI4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5MCIsIkxpbmVDb2xvciI6bnVsbCwiTGluZVdlaWdodCI6MC4wLCJMaW5lVHlwZSI6MCwiUGFyZW50U3R5bGUiOm51bGx9LCJQYXJlbnRTdHlsZSI6eyIkcmVmIjoiODgifX0sIkhvcml6b250YWxDb25uZWN0b3JTdHlsZSI6eyIkaWQiOiIyOTEiLCJMaW5lQ29sb3IiOnsiJHJlZiI6Ijk2In0sIkxpbmVXZWlnaHQiOjAuMCwiTGluZVR5cGUiOjAsIlBhcmVudFN0eWxlIjp7IiRyZWYiOiI5NSJ9fSwiVmVydGljYWxDb25uZWN0b3JTdHlsZSI6eyIkaWQiOiIyOT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kzIiwiTWFyZ2luIjp7IiRyZWYiOiIxMDIifSwiUGFkZGluZyI6eyIkcmVmIjoiMTAzIn0sIkJhY2tncm91bmQiOnsiJGlkIjoiMjk0IiwiQ29sb3IiOnsiJGlkIjoiMjk1IiwiQSI6MjU1LCJSIjo0NywiRyI6NTQsIkIiOjE1M319LCJJc1Zpc2libGUiOnRydWUsIldpZHRoIjowLjAsIkhlaWdodCI6MjIuMCwiQm9yZGVyU3R5bGUiOnsiJGlkIjoiMjk2IiwiTGluZUNvbG9yIjp7IiRyZWYiOiIxMDUifSwiTGluZVdlaWdodCI6MC4wLCJMaW5lVHlwZSI6MCwiUGFyZW50U3R5bGUiOnsiJHJlZiI6IjEwNCJ9fSwiUGFyZW50U3R5bGUiOnsiJHJlZiI6IjEwMSJ9fSwiVGl0bGVTdHlsZSI6eyIkaWQiOiIyOTciLCJGb250U2V0dGluZ3MiOnsiJGlkIjoiMjk4IiwiRm9udFNpemUiOjExLCJGb250TmFtZSI6IkNhbGlicmkiLCJJc0JvbGQiOnRydWUsIklzSXRhbGljIjpmYWxzZSwiSXNVbmRlcmxpbmVkIjpmYWxzZSwiUGFyZW50U3R5bGUiOnsiJHJlZiI6IjEwOCJ9fSwiQXV0b1NpemUiOjIsIkZvcmVncm91bmQiOnsiJHJlZiI6IjEwOSJ9LCJNYXhXaWR0aCI6NjIuMCwiTWF4SGVpZ2h0IjoiSW5maW5pdHkiLCJTbWFydEZvcmVncm91bmRJc0FjdGl2ZSI6ZmFsc2UsIkhvcml6b250YWxBbGlnbm1lbnQiOjIsIlZlcnRpY2FsQWxpZ25tZW50IjowLCJTbWFydEZvcmVncm91bmQiOm51bGwsIk1hcmdpbiI6eyIkcmVmIjoiMTExIn0sIlBhZGRpbmciOnsiJHJlZiI6IjExMiJ9LCJCYWNrZ3JvdW5kIjp7IiRyZWYiOiIxMTMifSwiSXNWaXNpYmxlIjp0cnVlLCJXaWR0aCI6MC4wLCJIZWlnaHQiOjAuMCwiQm9yZGVyU3R5bGUiOnsiJGlkIjoiMjk5IiwiTGluZUNvbG9yIjpudWxsLCJMaW5lV2VpZ2h0IjowLjAsIkxpbmVUeXBlIjowLCJQYXJlbnRTdHlsZSI6bnVsbH0sIlBhcmVudFN0eWxlIjp7IiRyZWYiOiIxMDcifX0sIkRhdGVTdHlsZSI6eyIkaWQiOiIzMDAiLCJGb250U2V0dGluZ3MiOnsiJGlkIjoiMzAxIiwiRm9udFNpemUiOjEwLCJGb250TmFtZSI6IkNhbGlicmkiLCJJc0JvbGQiOmZhbHNlLCJJc0l0YWxpYyI6ZmFsc2UsIklzVW5kZXJsaW5lZCI6ZmFsc2UsIlBhcmVudFN0eWxlIjp7IiRyZWYiOiIxMTUifX0sIkF1dG9TaXplIjowLCJGb3JlZ3JvdW5kIjp7IiRpZCI6IjMwMiIsIkNvbG9yIjp7IiRpZCI6IjMwMyIsIkEiOjI1NSwiUiI6MjU1LCJHIjoyNTUsIkIiOjI1NX1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MwNCIsIkxpbmVDb2xvciI6bnVsbCwiTGluZVdlaWdodCI6MC4wLCJMaW5lVHlwZSI6MCwiUGFyZW50U3R5bGUiOm51bGx9LCJQYXJlbnRTdHlsZSI6eyIkcmVmIjoiMTE0In19LCJEYXRlRm9ybWF0Ijp7IiRyZWYiOiIxMjEifSwiSXNWaXNpYmxlIjp0cnVlLCJQYXJlbnRTdHlsZSI6eyIkcmVmIjoiODAifX0sIkluZGV4Ijo2LCJJZCI6ImZmYmIwMDhkLWZlMjItNGI1ZS1iMWEzLTBkNjY3NmUyYjdmMiIsIkltcG9ydElkIjpudWxsLCJUaXRsZSI6Ik1pbmRzcGhlcmUgMy4wLiBNVlAgSW1wbGVtZW50YXRpb24iLCJOb3RlIjpudWxsLCJIeXBlcmxpbmsiOm51bGwsIklzQ2hhbmdlZCI6ZmFsc2UsIklzTmV3IjpmYWxzZX1dLCJNc1Byb2plY3RJdGVtc1RyZWUiOnsiJGlkIjoiMzA1IiwiUm9vdCI6eyJJbXBvcnRJZCI6bnVsbCwiSXNJbXBvcnRlZCI6ZmFsc2UsIkNoaWxkcmVuIjpbXX19LCJNZXRhZGF0YSI6eyIkaWQiOiIzMDYifSwiU2V0dGluZ3MiOnsiJGlkIjoiMzA3IiwiSW1wYU9wdGlvbnMiOnsiJGlkIjoiMzA4IiwiTGVmdFRvUmlnaHQiOmZhbHNlLCJQYXlsb2FkT3B0aW9ucyI6Mn0sIlVzZUNvbXByZXNzaW9uIjpmYWxzZSwiQ29tcHJlc2lvblBlcmNlbnRhZ2UiOjAuMCwiSW5hY3RpdmVJbnRlcnZhbFdpZHRoVGhyZXNob2xkIjowLjAsIkluYWN0aXZlSW50ZXJ2YWxXaWR0aCI6MC4wLCJTcGxpdFRhc2tzIjpmYWxzZSwiVXNlQ2x1c3RlciI6ZmFsc2UsIkVwc2lsb24iOjAuMCwiTWluUG9pbnRzVG9Gb3JtQUNsdXN0ZXIiOjAsIkdlbmVyYXRlSW52aXNpYmxlU2hhcGVzIjpmYWxzZSwiU21hcnRUaW1lbGluZVRhc2tQZXJjZW50YWdlRml0IjpmYWxzZX0sIklzTmV3Ijp0cnVlLCJJbXBvcnRUeXBlIjowLCJGaWxlUGF0aCI6bnVsbCwiVGltZWxpbmVJbXBvcnRlZCI6ZmFsc2V9"/>
  <p:tag name="__MASTER" val="__part_0"/>
</p:tagLst>
</file>

<file path=ppt/tags/tag218.xml><?xml version="1.0" encoding="utf-8"?>
<p:tagLst xmlns:a="http://schemas.openxmlformats.org/drawingml/2006/main" xmlns:r="http://schemas.openxmlformats.org/officeDocument/2006/relationships" xmlns:p="http://schemas.openxmlformats.org/presentationml/2006/main">
  <p:tag name="OTLMARKERSHAPE" val="OTL"/>
</p:tagLst>
</file>

<file path=ppt/tags/tag219.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20.xml><?xml version="1.0" encoding="utf-8"?>
<p:tagLst xmlns:a="http://schemas.openxmlformats.org/drawingml/2006/main" xmlns:r="http://schemas.openxmlformats.org/officeDocument/2006/relationships" xmlns:p="http://schemas.openxmlformats.org/presentationml/2006/main">
  <p:tag name="OTLMARKERSHAPE" val="OTL"/>
</p:tagLst>
</file>

<file path=ppt/tags/tag2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2.xml><?xml version="1.0" encoding="utf-8"?>
<p:tagLst xmlns:a="http://schemas.openxmlformats.org/drawingml/2006/main" xmlns:r="http://schemas.openxmlformats.org/officeDocument/2006/relationships" xmlns:p="http://schemas.openxmlformats.org/presentationml/2006/main">
  <p:tag name="OTLMARKERSHAPE" val="OTL"/>
</p:tagLst>
</file>

<file path=ppt/tags/tag223.xml><?xml version="1.0" encoding="utf-8"?>
<p:tagLst xmlns:a="http://schemas.openxmlformats.org/drawingml/2006/main" xmlns:r="http://schemas.openxmlformats.org/officeDocument/2006/relationships" xmlns:p="http://schemas.openxmlformats.org/presentationml/2006/main">
  <p:tag name="OTLMARKERSHAPE" val="OTL"/>
</p:tagLst>
</file>

<file path=ppt/tags/tag224.xml><?xml version="1.0" encoding="utf-8"?>
<p:tagLst xmlns:a="http://schemas.openxmlformats.org/drawingml/2006/main" xmlns:r="http://schemas.openxmlformats.org/officeDocument/2006/relationships" xmlns:p="http://schemas.openxmlformats.org/presentationml/2006/main">
  <p:tag name="OTLMARKERSHAPE" val="OTL"/>
</p:tagLst>
</file>

<file path=ppt/tags/tag225.xml><?xml version="1.0" encoding="utf-8"?>
<p:tagLst xmlns:a="http://schemas.openxmlformats.org/drawingml/2006/main" xmlns:r="http://schemas.openxmlformats.org/officeDocument/2006/relationships" xmlns:p="http://schemas.openxmlformats.org/presentationml/2006/main">
  <p:tag name="OTLMARKERSHAPE" val="OTL"/>
</p:tagLst>
</file>

<file path=ppt/tags/tag226.xml><?xml version="1.0" encoding="utf-8"?>
<p:tagLst xmlns:a="http://schemas.openxmlformats.org/drawingml/2006/main" xmlns:r="http://schemas.openxmlformats.org/officeDocument/2006/relationships" xmlns:p="http://schemas.openxmlformats.org/presentationml/2006/main">
  <p:tag name="OTLMARKERSHAPE" val="OTL"/>
</p:tagLst>
</file>

<file path=ppt/tags/tag227.xml><?xml version="1.0" encoding="utf-8"?>
<p:tagLst xmlns:a="http://schemas.openxmlformats.org/drawingml/2006/main" xmlns:r="http://schemas.openxmlformats.org/officeDocument/2006/relationships" xmlns:p="http://schemas.openxmlformats.org/presentationml/2006/main">
  <p:tag name="OTLMARKERSHAPE" val="OTL"/>
</p:tagLst>
</file>

<file path=ppt/tags/tag228.xml><?xml version="1.0" encoding="utf-8"?>
<p:tagLst xmlns:a="http://schemas.openxmlformats.org/drawingml/2006/main" xmlns:r="http://schemas.openxmlformats.org/officeDocument/2006/relationships" xmlns:p="http://schemas.openxmlformats.org/presentationml/2006/main">
  <p:tag name="OTLMARKERSHAPE" val="OTL"/>
</p:tagLst>
</file>

<file path=ppt/tags/tag229.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30.xml><?xml version="1.0" encoding="utf-8"?>
<p:tagLst xmlns:a="http://schemas.openxmlformats.org/drawingml/2006/main" xmlns:r="http://schemas.openxmlformats.org/officeDocument/2006/relationships" xmlns:p="http://schemas.openxmlformats.org/presentationml/2006/main">
  <p:tag name="OTLMARKERSHAPE" val="OTL"/>
</p:tagLst>
</file>

<file path=ppt/tags/tag231.xml><?xml version="1.0" encoding="utf-8"?>
<p:tagLst xmlns:a="http://schemas.openxmlformats.org/drawingml/2006/main" xmlns:r="http://schemas.openxmlformats.org/officeDocument/2006/relationships" xmlns:p="http://schemas.openxmlformats.org/presentationml/2006/main">
  <p:tag name="OTLMARKERSHAPE" val="OTL"/>
</p:tagLst>
</file>

<file path=ppt/tags/tag232.xml><?xml version="1.0" encoding="utf-8"?>
<p:tagLst xmlns:a="http://schemas.openxmlformats.org/drawingml/2006/main" xmlns:r="http://schemas.openxmlformats.org/officeDocument/2006/relationships" xmlns:p="http://schemas.openxmlformats.org/presentationml/2006/main">
  <p:tag name="OTLMARKERSHAPE" val="OTL"/>
</p:tagLst>
</file>

<file path=ppt/tags/tag233.xml><?xml version="1.0" encoding="utf-8"?>
<p:tagLst xmlns:a="http://schemas.openxmlformats.org/drawingml/2006/main" xmlns:r="http://schemas.openxmlformats.org/officeDocument/2006/relationships" xmlns:p="http://schemas.openxmlformats.org/presentationml/2006/main">
  <p:tag name="OTLMARKERSHAPE" val="OTL"/>
</p:tagLst>
</file>

<file path=ppt/tags/tag234.xml><?xml version="1.0" encoding="utf-8"?>
<p:tagLst xmlns:a="http://schemas.openxmlformats.org/drawingml/2006/main" xmlns:r="http://schemas.openxmlformats.org/officeDocument/2006/relationships" xmlns:p="http://schemas.openxmlformats.org/presentationml/2006/main">
  <p:tag name="OTLMARKERSHAPE" val="OTL"/>
</p:tagLst>
</file>

<file path=ppt/tags/tag235.xml><?xml version="1.0" encoding="utf-8"?>
<p:tagLst xmlns:a="http://schemas.openxmlformats.org/drawingml/2006/main" xmlns:r="http://schemas.openxmlformats.org/officeDocument/2006/relationships" xmlns:p="http://schemas.openxmlformats.org/presentationml/2006/main">
  <p:tag name="OTLMARKERSHAPE" val="OTL"/>
</p:tagLst>
</file>

<file path=ppt/tags/tag236.xml><?xml version="1.0" encoding="utf-8"?>
<p:tagLst xmlns:a="http://schemas.openxmlformats.org/drawingml/2006/main" xmlns:r="http://schemas.openxmlformats.org/officeDocument/2006/relationships" xmlns:p="http://schemas.openxmlformats.org/presentationml/2006/main">
  <p:tag name="OTLMARKERSHAPE" val="OTL"/>
</p:tagLst>
</file>

<file path=ppt/tags/tag237.xml><?xml version="1.0" encoding="utf-8"?>
<p:tagLst xmlns:a="http://schemas.openxmlformats.org/drawingml/2006/main" xmlns:r="http://schemas.openxmlformats.org/officeDocument/2006/relationships" xmlns:p="http://schemas.openxmlformats.org/presentationml/2006/main">
  <p:tag name="OTLMARKERSHAPE" val="OTL"/>
</p:tagLst>
</file>

<file path=ppt/tags/tag238.xml><?xml version="1.0" encoding="utf-8"?>
<p:tagLst xmlns:a="http://schemas.openxmlformats.org/drawingml/2006/main" xmlns:r="http://schemas.openxmlformats.org/officeDocument/2006/relationships" xmlns:p="http://schemas.openxmlformats.org/presentationml/2006/main">
  <p:tag name="OTLMARKERSHAPE" val="OTL"/>
</p:tagLst>
</file>

<file path=ppt/tags/tag239.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40.xml><?xml version="1.0" encoding="utf-8"?>
<p:tagLst xmlns:a="http://schemas.openxmlformats.org/drawingml/2006/main" xmlns:r="http://schemas.openxmlformats.org/officeDocument/2006/relationships" xmlns:p="http://schemas.openxmlformats.org/presentationml/2006/main">
  <p:tag name="OTLMARKERSHAPE" val="OTL"/>
</p:tagLst>
</file>

<file path=ppt/tags/tag241.xml><?xml version="1.0" encoding="utf-8"?>
<p:tagLst xmlns:a="http://schemas.openxmlformats.org/drawingml/2006/main" xmlns:r="http://schemas.openxmlformats.org/officeDocument/2006/relationships" xmlns:p="http://schemas.openxmlformats.org/presentationml/2006/main">
  <p:tag name="OTLMARKERSHAPE" val="OTL"/>
</p:tagLst>
</file>

<file path=ppt/tags/tag242.xml><?xml version="1.0" encoding="utf-8"?>
<p:tagLst xmlns:a="http://schemas.openxmlformats.org/drawingml/2006/main" xmlns:r="http://schemas.openxmlformats.org/officeDocument/2006/relationships" xmlns:p="http://schemas.openxmlformats.org/presentationml/2006/main">
  <p:tag name="OTLMARKERSHAPE" val="OTL"/>
</p:tagLst>
</file>

<file path=ppt/tags/tag243.xml><?xml version="1.0" encoding="utf-8"?>
<p:tagLst xmlns:a="http://schemas.openxmlformats.org/drawingml/2006/main" xmlns:r="http://schemas.openxmlformats.org/officeDocument/2006/relationships" xmlns:p="http://schemas.openxmlformats.org/presentationml/2006/main">
  <p:tag name="OTLMARKERSHAPE" val="OTL"/>
</p:tagLst>
</file>

<file path=ppt/tags/tag244.xml><?xml version="1.0" encoding="utf-8"?>
<p:tagLst xmlns:a="http://schemas.openxmlformats.org/drawingml/2006/main" xmlns:r="http://schemas.openxmlformats.org/officeDocument/2006/relationships" xmlns:p="http://schemas.openxmlformats.org/presentationml/2006/main">
  <p:tag name="OTLMARKERSHAPE" val="OTL"/>
</p:tagLst>
</file>

<file path=ppt/tags/tag245.xml><?xml version="1.0" encoding="utf-8"?>
<p:tagLst xmlns:a="http://schemas.openxmlformats.org/drawingml/2006/main" xmlns:r="http://schemas.openxmlformats.org/officeDocument/2006/relationships" xmlns:p="http://schemas.openxmlformats.org/presentationml/2006/main">
  <p:tag name="OTLMARKERSHAPE" val="OTL"/>
</p:tagLst>
</file>

<file path=ppt/tags/tag246.xml><?xml version="1.0" encoding="utf-8"?>
<p:tagLst xmlns:a="http://schemas.openxmlformats.org/drawingml/2006/main" xmlns:r="http://schemas.openxmlformats.org/officeDocument/2006/relationships" xmlns:p="http://schemas.openxmlformats.org/presentationml/2006/main">
  <p:tag name="OTLMARKERSHAPE" val="OTL"/>
</p:tagLst>
</file>

<file path=ppt/tags/tag247.xml><?xml version="1.0" encoding="utf-8"?>
<p:tagLst xmlns:a="http://schemas.openxmlformats.org/drawingml/2006/main" xmlns:r="http://schemas.openxmlformats.org/officeDocument/2006/relationships" xmlns:p="http://schemas.openxmlformats.org/presentationml/2006/main">
  <p:tag name="OTLMARKERSHAPE" val="OTL"/>
</p:tagLst>
</file>

<file path=ppt/tags/tag248.xml><?xml version="1.0" encoding="utf-8"?>
<p:tagLst xmlns:a="http://schemas.openxmlformats.org/drawingml/2006/main" xmlns:r="http://schemas.openxmlformats.org/officeDocument/2006/relationships" xmlns:p="http://schemas.openxmlformats.org/presentationml/2006/main">
  <p:tag name="OTLMARKERSHAPE" val="OTL"/>
</p:tagLst>
</file>

<file path=ppt/tags/tag249.xml><?xml version="1.0" encoding="utf-8"?>
<p:tagLst xmlns:a="http://schemas.openxmlformats.org/drawingml/2006/main" xmlns:r="http://schemas.openxmlformats.org/officeDocument/2006/relationships" xmlns:p="http://schemas.openxmlformats.org/presentationml/2006/main">
  <p:tag name="__PART_0" val="eyIkaWQiOiIxIiwiQ3VsdHVyZUluZm9OYW1lIjoiZW4tVVMiLCJTdHlsZU5hbWUiOiJHYW50dCIsIklzVGVtcGxhdGUiOmZhbHNlLCJWZXJzaW9uIjp7IiRpZCI6IjIiLCJWZXJzaW9uIjoiMy4wLjEiLCJPcmlnaW5hbEFzc2VtYmx5VmVyc2lvbiI6IjMuMDYuMDAuMDAiLCJFZGl0aW9uIjoiUGx1cyIsIklzUGx1c0VkaXRpb24iOnRydWV9LCJFZmZlY3QiOjEsIlN0eWxlIjp7IiRpZCI6IjMiLCJUaW1lYmFuZFN0eWxlIjp7IiRpZCI6IjQiLCJTY2FsZU1hcmtpbmciOjEsIlNoYXBlIjoxMCwiU2hhcGVTdHlsZSI6eyIkaWQiOiI1IiwiTWFyZ2luIjp7IiRpZCI6IjYiLCJUb3AiOjAsIkxlZnQiOjEwLCJSaWdodCI6MTAsIkJvdHRvbSI6MH0sIlBhZGRpbmciOnsiJGlkIjoiNyIsIlRvcCI6MywiTGVmdCI6MCwiUmlnaHQiOjAsIkJvdHRvbSI6M30sIkJhY2tncm91bmQiOnsiJGlkIjoiOCIsIkNvbG9yIjp7IiRpZCI6IjkiLCJBIjoyNTUsIlIiOjY4LCJHIjo4NCwiQiI6MTA2fX0sIklzVmlzaWJsZSI6dHJ1ZSwiV2lkdGgiOjg1OC4wLCJIZWlnaHQiOjIwLjAsIkJvcmRlclN0eWxlIjp7IiRpZCI6IjEwIiwiTGluZUNvbG9yIjp7IiRpZCI6IjExIiwiJHR5cGUiOiJOTFJFLkNvbW1vbi5Eb20uU29saWRDb2xvckJydXNoLCBOTFJFLkNvbW1vbiIsIkNvbG9yIjp7IiRpZCI6IjEyIiwiQSI6MjU1LCJSIjoyNTUsIkciOjAsIkIiOjB9fSwiTGluZVdlaWdodCI6MC4wLCJMaW5lVHlwZSI6MCwiUGFyZW50U3R5bGUiOm51bGx9LCJQYXJlbnRTdHlsZSI6bnVsbH0sIlJpZ2h0RW5kQ2Fwc1N0eWxlIjp7IiRpZCI6IjEzIiwiRm9udFNldHRpbmdzIjp7IiRpZCI6IjE0IiwiRm9udFNpemUiOjE4LCJGb250TmFtZSI6IkNhbGlicmkiLCJJc0JvbGQiOnRydWUsIklzSXRhbGljIjpmYWxzZSwiSXNVbmRlcmxpbmVkIjpmYWxzZSwiUGFyZW50U3R5bGUiOm51bGx9LCJBdXRvU2l6ZSI6MCwiRm9yZWdyb3VuZCI6eyIkaWQiOiIxNSIsIkNvbG9yIjp7IiRpZCI6IjE2IiwiQSI6MjU1LCJSIjoxOTAsIkciOjIwNSwiQiI6MjE1fX0sIk1heFdpZHRoIjoiSW5maW5pdHkiLCJNYXhIZWlnaHQiOiJJbmZpbml0eSIsIlNtYXJ0Rm9yZWdyb3VuZElzQWN0aXZlIjpmYWxzZSwiSG9yaXpvbnRhbEFsaWdubWVudCI6MCwiVmVydGljYWxBbGlnbm1lbnQiOjAsIlNtYXJ0Rm9yZWdyb3VuZCI6bnVsbCwiTWFyZ2luIjp7IiRpZCI6IjE3IiwiVG9wIjowLCJMZWZ0IjowLCJSaWdodCI6MjAsIkJvdHRvbSI6MH0sIlBhZGRpbmciOnsiJGlkIjoiMTgiLCJUb3AiOjAsIkxlZnQiOjAsIlJpZ2h0IjowLCJCb3R0b20iOjB9LCJCYWNrZ3JvdW5kIjp7IiRpZCI6IjE5IiwiQ29sb3IiOnsiJGlkIjoiMjAiLCJBIjo4OSwiUiI6MCwiRyI6MCwiQiI6MH19LCJJc1Zpc2libGUiOnRydWUsIldpZHRoIjowLjAsIkhlaWdodCI6MC4wLCJCb3JkZXJTdHlsZSI6bnVsbCwiUGFyZW50U3R5bGUiOm51bGx9LCJMZWZ0RW5kQ2Fwc1N0eWxlIjp7IiRpZCI6IjIxIiwiRm9udFNldHRpbmdzIjp7IiRpZCI6IjIyIiwiRm9udFNpemUiOjE4LCJGb250TmFtZSI6IkNhbGlicmkiLCJJc0JvbGQiOnRydWUsIklzSXRhbGljIjpmYWxzZSwiSXNVbmRlcmxpbmVkIjpmYWxzZSwiUGFyZW50U3R5bGUiOm51bGx9LCJBdXRvU2l6ZSI6MCwiRm9yZWdyb3VuZCI6eyIkaWQiOiIyMyIsIkNvbG9yIjp7IiRpZCI6IjI0IiwiQSI6MjU1LCJSIjoxOTAsIkciOjIwNSwiQiI6MjE1fX0sIk1heFdpZHRoIjoiSW5maW5pdHkiLCJNYXhIZWlnaHQiOiJJbmZpbml0eSIsIlNtYXJ0Rm9yZWdyb3VuZElzQWN0aXZlIjpmYWxzZSwiSG9yaXpvbnRhbEFsaWdubWVudCI6MCwiVmVydGljYWxBbGlnbm1lbnQiOjAsIlNtYXJ0Rm9yZWdyb3VuZCI6bnVsbCwiTWFyZ2luIjp7IiRpZCI6IjI1IiwiVG9wIjowLCJMZWZ0IjoyMC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1hcmdpbiI6eyIkaWQiOiIzMiIsIlRvcCI6MCwiTGVmdCI6MCwiUmlnaHQiOjAsIkJvdHRvbSI6MH0sIlBhZGRpbmciOnsiJGlkIjoiMzMiLCJUb3AiOjAsIkxlZnQiOjAsIlJpZ2h0IjowLCJCb3R0b20iOjB9LCJCYWNrZ3JvdW5kIjp7IiRpZCI6IjM0IiwiQ29sb3IiOnsiJHJlZiI6IjIwIn19LCJJc1Zpc2libGUiOnRydWUsIldpZHRoIjowLjAsIkhlaWdodCI6MC4wLCJCb3JkZXJTdHlsZSI6bnVsbCwiUGFyZW50U3R5bGUiOm51bGx9LCJUb2RheU1hcmtlclN0eWxlIjp7IiRpZCI6IjM1IiwiTWFyZ2luIjp7IiRpZCI6IjM2IiwiVG9wIjowLCJMZWZ0IjowLCJSaWdodCI6MCwiQm90dG9tIjowfSwiUGFkZGluZyI6eyIkaWQiOiIzNyIsIlRvcCI6MCwiTGVmdCI6MCwiUmlnaHQiOjAsIkJvdHRvbSI6MH0sIkJhY2tncm91bmQiOnsiJGlkIjoiMzgiLCJDb2xvciI6eyIkaWQiOiIzOSIsIkEiOjI1NSwiUiI6MjU1LCJHIjowLCJCIjowfX0sIklzVmlzaWJsZSI6dHJ1ZSwiV2lkdGgiOjAuMCwiSGVpZ2h0IjowLjAsIkJvcmRlclN0eWxlIjpudWxsLCJQYXJlbnRTdHlsZSI6bnVsbH0sIlNjYWxlU3R5bGUiOnsiJGlkIjoiNDAiLCJTaG93U2VnbWVudFNlcGFyYXRvcnMiOmZhbHNlLCJTZWdtZW50U2VwYXJhdG9yT3BhY2l0eSI6MzAsIkZvbnRTZXR0aW5ncyI6eyIkaWQiOiI0MSIsIkZvbnRTaXplIjoxMiwiRm9udE5hbWUiOiJDYWxpYnJpIiwiSXNCb2xkIjpmYWxzZSwiSXNJdGFsaWMiOmZhbHNlLCJJc1VuZGVybGluZWQiOmZhbHNlLCJQYXJlbnRTdHlsZSI6bnVsbH0sIkF1dG9TaXplIjowLCJGb3JlZ3JvdW5kIjp7IiRpZCI6IjQyIiwiQ29sb3IiOnsiJGlkIjoiNDMiLCJBIjoyNTUsIlIiOjI1NSwiRyI6MjU1LCJCIjoyNTV9fSwiTWF4V2lkdGgiOjIwMC4wLCJNYXhIZWlnaHQiOiJJbmZpbml0eSIsIlNtYXJ0Rm9yZWdyb3VuZElzQWN0aXZlIjpmYWxzZSwiSG9yaXpvbnRhbEFsaWdubWVudCI6MCwiVmVydGljYWxBbGlnbm1lbnQiOjEsIlNtYXJ0Rm9yZWdyb3VuZCI6bnVsb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NTUsIkciOjAsIkIiOjB9fSwiQXBwZW5kWWVhck9uWWVhckNoYW5nZSI6ZmFsc2UsIkVsYXBzZWRUaW1lRm9ybWF0IjoyLCJUb2RheU1hcmtlclBvc2l0aW9uIjozLCJRdWlja1Bvc2l0aW9uIjoyLCJBYnNvbHV0ZVBvc2l0aW9uIjo0MDUuMDkzNzUsIk1hcmdpbiI6eyIkaWQiOiI0OSIsIlRvcCI6MCwiTGVmdCI6MTAsIlJpZ2h0IjoxMCwiQm90dG9tIjowfSwiUGFkZGluZyI6eyIkaWQiOiI1MCIsIlRvcCI6MCwiTGVmdCI6MCwiUmlnaHQiOjAsIkJvdHRvbSI6MH0sIkJhY2tncm91bmQiOnsiJGlkIjoiNTEiLCJDb2xvciI6eyIkaWQiOiI1MiIsIkEiOjI1NSwiUiI6MzEsIkciOjczLCJCIjoxMjV9fSwiSXNWaXNpYmxlIjp0cnVlLCJXaWR0aCI6MC4wLCJIZWlnaHQiOjAuMCwiQm9yZGVyU3R5bGUiOm51bGwsIlBhcmVudFN0eWxlIjpudWxsfSwiRGVmYXVsdE1pbGVzdG9uZVN0eWxlIjp7IiRpZCI6IjUzIiwiU2hhcGUiOjIsIkNvbm5lY3Rvck1hcmdpbiI6eyIkaWQiOiI1NCIsIlRvcCI6MCwiTGVmdCI6MiwiUmlnaHQiOjIsIkJvdHRvbSI6MH0sIkNvbm5lY3RvclN0eWxlIjp7IiRpZCI6IjU1IiwiTGluZUNvbG9yIjp7IiRpZCI6IjU2IiwiJHR5cGUiOiJOTFJFLkNvbW1vbi5Eb20uU29saWRDb2xvckJydXNoLCBOTFJFLkNvbW1vbiIsIkNvbG9yIjp7IiRpZCI6IjU3IiwiQSI6MjU1LCJSIjozMSwiRyI6NzMsIkIiOjEyNn19LCJMaW5lV2VpZ2h0IjoxLjAsIkxpbmVUeXBlIjowLCJQYXJlbnRTdHlsZSI6bnVsbH0sIklzQmVsb3dUaW1lYmFuZCI6ZmFsc2UsIkhpZGVEYXRlIjpmYWxzZSwiU2hhcGVTaXplIjoxLCJTcGFjaW5nIjoy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m51bGwsIklzVmlzaWJsZSI6dHJ1ZSwiV2lkdGgiOjEzLjAsIkhlaWdodCI6MTMuMCwiQm9yZGVyU3R5bGUiOnsiJGlkIjoiNjIiLCJMaW5lQ29sb3IiOnsiJGlkIjoiNjMiLCIkdHlwZSI6Ik5MUkUuQ29tbW9uLkRvbS5Tb2xpZENvbG9yQnJ1c2gsIE5MUkUuQ29tbW9uIiwiQ29sb3IiOnsiJGlkIjoiNjQiLCJBIjoyNTUsIlIiOjI1NSwiRyI6MCwiQiI6MH19LCJMaW5lV2VpZ2h0IjowLjAsIkxpbmVUeXBlIjowLCJQYXJlbnRTdHlsZSI6bnVsbH0sIlBhcmVudFN0eWxlIjpudWxsfSwiVGl0bGVTdHlsZSI6eyIkaWQiOiI2NSIsIkZvbnRTZXR0aW5ncyI6eyIkaWQiOiI2NiIsIkZvbnRTaXplIjoxMSwiRm9udE5hbWUiOiJDYWxpYnJpIiwiSXNCb2xkIjp0cnVlLCJJc0l0YWxpYyI6ZmFsc2UsIklzVW5kZXJsaW5lZCI6ZmFsc2UsIlBhcmVudFN0eWxlIjpudWxsfSwiQXV0b1NpemUiOjAsIkZvcmVncm91bmQiOnsiJGlkIjoiNjciLCJDb2xvciI6eyIkaWQiOiI2OCIsIkEiOjI1NSwiUiI6MCwiRyI6MCwiQiI6MH19LCJNYXhXaWR0aCI6MjAwLjAsIk1heEhlaWdodCI6IkluZmluaXR5IiwiU21hcnRGb3JlZ3JvdW5kSXNBY3RpdmUiOmZhbHNlLCJIb3Jpem9udGFsQWxpZ25tZW50IjowLCJWZXJ0aWNhbEFsaWdubWVudCI6MCwiU21hcnRGb3JlZ3JvdW5kIjpudWxsLCJNYXJnaW4iOnsiJGlkIjoiNjkiLCJUb3AiOjAsIkxlZnQiOjAsIlJpZ2h0IjowLCJCb3R0b20iOjB9LCJQYWRkaW5nIjp7IiRpZCI6IjcwIiwiVG9wIjowLCJMZWZ0IjowLCJSaWdodCI6MCwiQm90dG9tIjowfSwiQmFja2dyb3VuZCI6eyIkaWQiOiI3MSIsIkNvbG9yIjp7IiRyZWYiOiIyMCJ9fSwiSXNWaXNpYmxlIjp0cnVlLCJXaWR0aCI6MC4wLCJIZWlnaHQiOjAuMCwiQm9yZGVyU3R5bGUiOm51bGwsIlBhcmVudFN0eWxlIjpudWxsfSwiRGF0ZVN0eWxlIjp7IiRpZCI6IjcyIiwiRm9udFNldHRpbmdzIjp7IiRpZCI6IjczIiwiRm9udFNpemUiOjEwLCJGb250TmFtZSI6IkNhbGlicmkiLCJJc0JvbGQiOmZhbHNlLCJJc0l0YWxpYyI6ZmFsc2UsIklzVW5kZXJsaW5lZCI6ZmFsc2UsIlBhcmVudFN0eWxlIjpudWxsfSwiQXV0b1NpemUiOjAsIkZvcmVncm91bmQiOnsiJGlkIjoiNzQiLCJDb2xvciI6eyIkaWQiOiI3NSIsIkEiOjI1NSwiUiI6MCwiRyI6MCwiQiI6MH19LCJNYXhXaWR0aCI6MjAwLjAsIk1heEhlaWdodCI6IkluZmluaXR5IiwiU21hcnRGb3JlZ3JvdW5kSXNBY3RpdmUiOmZhbHNlLCJIb3Jpem9udGFsQWxpZ25tZW50IjowLCJWZXJ0aWNhbEFsaWdubWVudCI6MCwiU21hcnRGb3JlZ3JvdW5kIjpudWxsLCJNYXJnaW4iOnsiJGlkIjoiNzYiLCJUb3AiOjAsIkxlZnQiOjAsIlJpZ2h0IjowLCJCb3R0b20iOjB9LCJQYWRkaW5nIjp7IiRpZCI6Ijc3IiwiVG9wIjowLCJMZWZ0IjowLCJSaWdodCI6MCwiQm90dG9tIjowfSwiQmFja2dyb3VuZCI6eyIkaWQiOiI3OCIsIkNvbG9yIjp7IiRyZWYiOiIyMCJ9fSwiSXNWaXNpYmxlIjp0cnVlLCJXaWR0aCI6MC4wLCJIZWlnaHQiOjAuMCwiQm9yZGVyU3R5bGUiOm51bGwsIlBhcmVudFN0eWxlIjpudWxsfSwiRGF0ZUZvcm1hdCI6eyIkaWQiOiI3OSIsIkZvcm1hdFN0cmluZyI6Ik1NTSBkIiwiU2VwYXJhdG9yIjoiLyIsIlVzZUludGVybmF0aW9uYWxEYXRlRm9ybWF0IjpmYWxzZX0sIklzVmlzaWJsZSI6dHJ1ZSwiUGFyZW50U3R5bGUiOm51bGx9LCJEZWZhdWx0VGFza1N0eWxlIjp7IiRpZCI6IjgwIiwiU2hhcGUiOjEsIlNoYXBlVGhpY2tuZXNzIjowLCJEdXJhdGlvbkZvcm1hdCI6MCwiSW5jbHVkZU5vbldvcmtpbmdEYXlzSW5EdXJhdGlvbiI6dHJ1ZSwiUGVyY2VudGFnZUNvbXBsZXRlU3R5bGUiOnsiJGlkIjoiODEiLCJGb250U2V0dGluZ3MiOnsiJGlkIjoiODIiLCJGb250U2l6ZSI6MTAsIkZvbnROYW1lIjoiQ2FsaWJyaSIsIklzQm9sZCI6ZmFsc2UsIklzSXRhbGljIjpmYWxzZSwiSXNVbmRlcmxpbmVkIjpmYWxzZSwiUGFyZW50U3R5bGUiOm51bGx9LCJBdXRvU2l6ZSI6MCwiRm9yZWdyb3VuZCI6eyIkaWQiOiI4MyIsIkNvbG9yIjp7IiRpZCI6Ijg0IiwiQSI6MjU1LCJSIjoxOTIsIkciOjgwLCJCIjo3N319LCJNYXhXaWR0aCI6MjAwLjAsIk1heEhlaWdodCI6IkluZmluaXR5IiwiU21hcnRGb3JlZ3JvdW5kSXNBY3RpdmUiOmZhbHNlLCJIb3Jpem9udGFsQWxpZ25tZW50IjowLCJWZXJ0aWNhbEFsaWdubWVudCI6MCwiU21hcnRGb3JlZ3JvdW5kIjpudWxsLCJNYXJnaW4iOnsiJGlkIjoiODUiLCJUb3AiOjAsIkxlZnQiOjAsIlJpZ2h0IjowLCJCb3R0b20iOjB9LCJQYWRkaW5nIjp7IiRpZCI6Ijg2IiwiVG9wIjowLCJMZWZ0IjowLCJSaWdodCI6MCwiQm90dG9tIjowfSwiQmFja2dyb3VuZCI6eyIkaWQiOiI4NyIsIkNvbG9yIjp7IiRyZWYiOiIyMCJ9fSwiSXNWaXNpYmxlIjp0cnVlLCJXaWR0aCI6MC4wLCJIZWlnaHQiOjAuMCwiQm9yZGVyU3R5bGUiOm51bGwsIlBhcmVudFN0eWxlIjpudWxsfSwiRHVyYXRpb25TdHlsZSI6eyIkaWQiOiI4OCIsIkZvbnRTZXR0aW5ncyI6eyIkaWQiOiI4OSIsIkZvbnRTaXplIjoxMCwiRm9udE5hbWUiOiJDYWxpYnJpIiwiSXNCb2xkIjpmYWxzZSwiSXNJdGFsaWMiOmZhbHNlLCJJc1VuZGVybGluZWQiOmZhbHNlLCJQYXJlbnRTdHlsZSI6bnVsbH0sIkF1dG9TaXplIjowLCJGb3JlZ3JvdW5kIjp7IiRpZCI6IjkwIiwiQ29sb3IiOnsiJGlkIjoiOTEiLCJBIjoyNTUsIlIiOjE5MCwiRyI6MjA1LCJCIjoyMTV9fSwiTWF4V2lkdGgiOjIwMC4wLCJNYXhIZWlnaHQiOiJJbmZpbml0eSIsIlNtYXJ0Rm9yZWdyb3VuZElzQWN0aXZlIjpmYWxzZSwiSG9yaXpvbnRhbEFsaWdubWVudCI6MCwiVmVydGljYWxBbGlnbm1lbnQiOjAsIlNtYXJ0Rm9yZWdyb3VuZCI6bnVsbCwiTWFyZ2luIjp7IiRpZCI6IjkyIiwiVG9wIjowLCJMZWZ0IjowLCJSaWdodCI6MCwiQm90dG9tIjowfSwiUGFkZGluZyI6eyIkaWQiOiI5MyIsIlRvcCI6MCwiTGVmdCI6MCwiUmlnaHQiOjAsIkJvdHRvbSI6MH0sIkJhY2tncm91bmQiOnsiJGlkIjoiOTQiLCJDb2xvciI6eyIkcmVmIjoiMjAifX0sIklzVmlzaWJsZSI6dHJ1ZSwiV2lkdGgiOjAuMCwiSGVpZ2h0IjowLjAsIkJvcmRlclN0eWxlIjpudWxsLCJQYXJlbnRTdHlsZSI6bnVsbH0sIkhvcml6b250YWxDb25uZWN0b3JTdHlsZSI6eyIkaWQiOiI5NSIsIkxpbmVDb2xvciI6eyIkaWQiOiI5NiIsIiR0eXBlIjoiTkxSRS5Db21tb24uRG9tLlNvbGlkQ29sb3JCcnVzaCwgTkxSRS5Db21tb24iLCJDb2xvciI6eyIkaWQiOiI5NyIsIkEiOjI1NSwiUiI6MjA0LCJHIjoyMDQsIkIiOjIwNH19LCJMaW5lV2VpZ2h0IjowLjAsIkxpbmVUeXBlIjowLCJQYXJlbnRTdHlsZSI6bnVsbH0sIlZlcnRpY2FsQ29ubmVjdG9yU3R5bGUiOnsiJGlkIjoiOTgiLCJMaW5lQ29sb3IiOnsiJGlkIjoiOTkiLCIkdHlwZSI6Ik5MUkUuQ29tbW9uLkRvbS5Tb2xpZENvbG9yQnJ1c2gsIE5MUkUuQ29tbW9uIiwiQ29sb3IiOnsiJGlkIjoiMTAwIiwiQSI6MjU1LCJSIjoyMDQsIkciOjIwNCwiQiI6MjA0fX0sIkxpbmVXZWlnaHQiOjAuMCwiTGluZVR5cGUiOjAsIlBhcmVudFN0eWxlIjpudWxs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TAxIiwiTWFyZ2luIjp7IiRpZCI6IjEwMiIsIlRvcCI6MCwiTGVmdCI6NCwiUmlnaHQiOjQsIkJvdHRvbSI6MH0sIlBhZGRpbmciOnsiJGlkIjoiMTAzIiwiVG9wIjowLCJMZWZ0IjowLCJSaWdodCI6MCwiQm90dG9tIjowfSwiQmFja2dyb3VuZCI6bnVsbCwiSXNWaXNpYmxlIjp0cnVlLCJXaWR0aCI6MC4wLCJIZWlnaHQiOjEwLjAsIkJvcmRlclN0eWxlIjp7IiRpZCI6IjEwNCIsIkxpbmVDb2xvciI6eyIkaWQiOiIxMDUiLCIkdHlwZSI6Ik5MUkUuQ29tbW9uLkRvbS5Tb2xpZENvbG9yQnJ1c2gsIE5MUkUuQ29tbW9uIiwiQ29sb3IiOnsiJGlkIjoiMTA2IiwiQSI6MjU1LCJSIjoyNTUsIkciOjAsIkIiOjB9fSwiTGluZVdlaWdodCI6MC4wLCJMaW5lVHlwZSI6MCwiUGFyZW50U3R5bGUiOm51bGx9LCJQYXJlbnRTdHlsZSI6bnVsbH0sIlRpdGxlU3R5bGUiOnsiJGlkIjoiMTA3IiwiRm9udFNldHRpbmdzIjp7IiRpZCI6IjEwOCIsIkZvbnRTaXplIjoxMSwiRm9udE5hbWUiOiJDYWxpYnJpIiwiSXNCb2xkIjp0cnVlLCJJc0l0YWxpYyI6ZmFsc2UsIklzVW5kZXJsaW5lZCI6ZmFsc2UsIlBhcmVudFN0eWxlIjpudWxsfSwiQXV0b1NpemUiOjAsIkZvcmVncm91bmQiOnsiJGlkIjoiMTA5IiwiQ29sb3IiOnsiJGlkIjoiMTEwIiwiQSI6MjU1LCJSIjowLCJHIjowLCJCIjowfX0sIk1heFdpZHRoIjo5NjAuNSwiTWF4SGVpZ2h0IjoiSW5maW5pdHkiLCJTbWFydEZvcmVncm91bmRJc0FjdGl2ZSI6ZmFsc2UsIkhvcml6b250YWxBbGlnbm1lbnQiOjIsIlZlcnRpY2FsQWxpZ25tZW50IjowLCJTbWFydEZvcmVncm91bmQiOm51bGwsIk1hcmdpbiI6eyIkaWQiOiIxMTEiLCJUb3AiOjAsIkxlZnQiOjAsIlJpZ2h0IjowLCJCb3R0b20iOjB9LCJQYWRkaW5nIjp7IiRpZCI6IjExMiIsIlRvcCI6MCwiTGVmdCI6MCwiUmlnaHQiOjAsIkJvdHRvbSI6MH0sIkJhY2tncm91bmQiOnsiJGlkIjoiMTEzIiwiQ29sb3IiOnsiJHJlZiI6IjIwIn19LCJJc1Zpc2libGUiOnRydWUsIldpZHRoIjowLjAsIkhlaWdodCI6MC4wLCJCb3JkZXJTdHlsZSI6bnVsbCwiUGFyZW50U3R5bGUiOm51bGx9LCJEYXRlU3R5bGUiOnsiJGlkIjoiMTE0IiwiRm9udFNldHRpbmdzIjp7IiRpZCI6IjExNSIsIkZvbnRTaXplIjoxMCwiRm9udE5hbWUiOiJDYWxpYnJpIiwiSXNCb2xkIjpmYWxzZSwiSXNJdGFsaWMiOmZhbHNlLCJJc1VuZGVybGluZWQiOmZhbHNlLCJQYXJlbnRTdHlsZSI6bnVsbH0sIkF1dG9TaXplIjowLCJGb3JlZ3JvdW5kIjp7IiRpZCI6IjExNiIsIkNvbG9yIjp7IiRpZCI6IjExNyIsIkEiOjI1NSwiUiI6MCwiRyI6MCwiQiI6MH19LCJNYXhXaWR0aCI6MjAwLjAsIk1heEhlaWdodCI6IkluZmluaXR5IiwiU21hcnRGb3JlZ3JvdW5kSXNBY3RpdmUiOmZhbHNlLCJIb3Jpem9udGFsQWxpZ25tZW50IjowLCJWZXJ0aWNhbEFsaWdubWVudCI6MCwiU21hcnRGb3JlZ3JvdW5kIjpudWxsLCJNYXJnaW4iOnsiJGlkIjoiMTE4IiwiVG9wIjowLCJMZWZ0IjowLCJSaWdodCI6MCwiQm90dG9tIjowfSwiUGFkZGluZyI6eyIkaWQiOiIxMTkiLCJUb3AiOjAsIkxlZnQiOjAsIlJpZ2h0IjowLCJCb3R0b20iOjB9LCJCYWNrZ3JvdW5kIjp7IiRpZCI6IjEyMCIsIkNvbG9yIjp7IiRyZWYiOiIyMCJ9fSwiSXNWaXNpYmxlIjp0cnVlLCJXaWR0aCI6MC4wLCJIZWlnaHQiOjAuMCwiQm9yZGVyU3R5bGUiOm51bGwsIlBhcmVudFN0eWxlIjpudWxsfSwiRGF0ZUZvcm1hdCI6eyIkaWQiOiIxMjEiLCJGb3JtYXRTdHJpbmciOiJNTU0gZCIsIlNlcGFyYXRvciI6Ii8iLCJVc2VJbnRlcm5hdGlvbmFsRGF0ZUZvcm1hdCI6ZmFsc2V9LCJJc1Zpc2libGUiOnRydWUsIlBhcmVudFN0eWxlIjpudWxsfSwiU2hvd0VsYXBzZWRUaW1lR3JhZGllbnRTdHlsZSI6ZmFsc2V9LCJTY2FsZSI6eyIkaWQiOiIxMjIiLCJTdGFydERhdGUiOiIyMDE3LTA4LTExVDAwOjAwOjAwWiIsIkVuZERhdGUiOiIyMDE4LTAzLTMxVDIzOjU5OjU5Ljk5OVoiLCJGb3JtYXQiOiJNTU0iLCJUeXBlIjoyLCJBdXRvRGF0ZVJhbmdlIjp0cnVlLCJXb3JraW5nRGF5cyI6MzEsIlRvZGF5TWFya2VyVGV4dCI6IlRvZGF5IiwiQXV0b1NjYWxlVHlwZSI6dHJ1ZX0sIk1pbGVzdG9uZXMiOlt7IiRpZCI6IjEyMyIsIkRhdGUiOiIyMDE3LTEwLTMxVDIzOjU5OjU5Ljk5OVoiLCJTdHlsZSI6eyIkaWQiOiIxMjQiLCJTaGFwZSI6MiwiQ29ubmVjdG9yTWFyZ2luIjp7IiRyZWYiOiI1NCJ9LCJDb25uZWN0b3JTdHlsZSI6eyIkaWQiOiIxMjUiLCJMaW5lQ29sb3IiOnsiJGlkIjoiMTI2IiwiJHR5cGUiOiJOTFJFLkNvbW1vbi5Eb20uU29saWRDb2xvckJydXNoLCBOTFJFLkNvbW1vbiIsIkNvbG9yIjp7IiRpZCI6IjEyNyIsIkEiOjEyNywiUiI6MCwiRyI6MTE0LCJCIjoxODh9fSwiTGluZVdlaWdodCI6MS4wLCJMaW5lVHlwZSI6MCwiUGFyZW50U3R5bGUiOnsiJHJlZiI6IjU1In19LCJJc0JlbG93VGltZWJhbmQiOmZhbHNlLCJIaWRlRGF0ZSI6ZmFsc2UsIlNoYXBlU2l6ZSI6MSwiU3BhY2luZyI6Mi4wLCJQYWRkaW5nIjp7IiRyZWYiOiI1OCJ9LCJTaGFwZVN0eWxlIjp7IiRpZCI6IjEyOCIsIk1hcmdpbiI6eyIkcmVmIjoiNjAifSwiUGFkZGluZyI6eyIkcmVmIjoiNjEifSwiQmFja2dyb3VuZCI6eyIkaWQiOiIxMjkiLCJDb2xvciI6eyIkaWQiOiIxMzAiLCJBIjoyNTUsIlIiOjAsIkciOjExNCwiQiI6MTg4fX0sIklzVmlzaWJsZSI6dHJ1ZSwiV2lkdGgiOjEzLjAsIkhlaWdodCI6MTMuMCwiQm9yZGVyU3R5bGUiOnsiJGlkIjoiMTMxIiwiTGluZUNvbG9yIjp7IiRyZWYiOiI2MyJ9LCJMaW5lV2VpZ2h0IjowLjAsIkxpbmVUeXBlIjowLCJQYXJlbnRTdHlsZSI6eyIkcmVmIjoiNjIifX0sIlBhcmVudFN0eWxlIjp7IiRyZWYiOiI1OSJ9fSwiVGl0bGVTdHlsZSI6eyIkaWQiOiIxMzIiLCJGb250U2V0dGluZ3MiOnsiJGlkIjoiMTMzIiwiRm9udFNpemUiOjExLCJGb250TmFtZSI6IkNhbGlicmkiLCJJc0JvbGQiOnRydWUsIklzSXRhbGljIjpmYWxzZSwiSXNVbmRlcmxpbmVkIjpmYWxzZSwiUGFyZW50U3R5bGUiOnsiJHJlZiI6IjY2In19LCJBdXRvU2l6ZSI6MCwiRm9yZWdyb3VuZCI6eyIkcmVmIjoiNjcifSwiTWF4V2lkdGgiOjIwMC4w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xMzQiLCJMaW5lQ29sb3IiOm51bGwsIkxpbmVXZWlnaHQiOjAuMCwiTGluZVR5cGUiOjAsIlBhcmVudFN0eWxlIjpudWxsfSwiUGFyZW50U3R5bGUiOnsiJHJlZiI6IjY1In19LCJEYXRlU3R5bGUiOnsiJGlkIjoiMTM1IiwiRm9udFNldHRpbmdzIjp7IiRpZCI6IjEzNi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zNyIsIkxpbmVDb2xvciI6bnVsbCwiTGluZVdlaWdodCI6MC4wLCJMaW5lVHlwZSI6MCwiUGFyZW50U3R5bGUiOm51bGx9LCJQYXJlbnRTdHlsZSI6eyIkcmVmIjoiNzIifX0sIkRhdGVGb3JtYXQiOnsiJHJlZiI6Ijc5In0sIklzVmlzaWJsZSI6dHJ1ZSwiUGFyZW50U3R5bGUiOnsiJHJlZiI6IjUzIn19LCJQb3NpdGlvbiI6eyJSYXRpbyI6MC4wLCJJc0N1c3RvbSI6ZmFsc2V9LCJJZCI6Ijg4NTFlMjIyLThiM2UtNGZjMC05ODFjLWExYTI5YWIzN2ZhMyIsIkltcG9ydElkIjpudWxsLCJUaXRsZSI6Ik1pbmRzcGhlcmUgMi4wLiBBZGFwdGVyIE1WUCIsIk5vdGUiOm51bGwsIkh5cGVybGluayI6bnVsbCwiSXNDaGFuZ2VkIjpmYWxzZSwiSXNOZXciOmZhbHNlfSx7IiRpZCI6IjEzOCIsIkRhdGUiOiIyMDE3LTExLTMwVDIzOjU5OjU5Ljk5OVoiLCJTdHlsZSI6eyIkaWQiOiIxMzkiLCJTaGFwZSI6MiwiQ29ubmVjdG9yTWFyZ2luIjp7IiRyZWYiOiI1NCJ9LCJDb25uZWN0b3JTdHlsZSI6eyIkaWQiOiIxNDAiLCJMaW5lQ29sb3IiOnsiJGlkIjoiMTQxIiwiJHR5cGUiOiJOTFJFLkNvbW1vbi5Eb20uU29saWRDb2xvckJydXNoLCBOTFJFLkNvbW1vbiIsIkNvbG9yIjp7IiRpZCI6IjE0MiIsIkEiOjEyNywiUiI6MjM1LCJHIjoxMjAsIkIiOjEwfX0sIkxpbmVXZWlnaHQiOjEuMCwiTGluZVR5cGUiOjAsIlBhcmVudFN0eWxlIjp7IiRyZWYiOiI1NSJ9fSwiSXNCZWxvd1RpbWViYW5kIjpmYWxzZSwiSGlkZURhdGUiOmZhbHNlLCJTaGFwZVNpemUiOjEsIlNwYWNpbmciOjIuMCwiUGFkZGluZyI6eyIkcmVmIjoiNTgifSwiU2hhcGVTdHlsZSI6eyIkaWQiOiIxNDMiLCJNYXJnaW4iOnsiJHJlZiI6IjYwIn0sIlBhZGRpbmciOnsiJHJlZiI6IjYxIn0sIkJhY2tncm91bmQiOnsiJGlkIjoiMTQ0IiwiQ29sb3IiOnsiJGlkIjoiMTQ1IiwiQSI6MjU1LCJSIjoyMzUsIkciOjEyMCwiQiI6MTB9fSwiSXNWaXNpYmxlIjp0cnVlLCJXaWR0aCI6MTMuMCwiSGVpZ2h0IjoxMy4wLCJCb3JkZXJTdHlsZSI6eyIkaWQiOiIxNDYiLCJMaW5lQ29sb3IiOnsiJHJlZiI6IjYzIn0sIkxpbmVXZWlnaHQiOjAuMCwiTGluZVR5cGUiOjAsIlBhcmVudFN0eWxlIjp7IiRyZWYiOiI2MiJ9fSwiUGFyZW50U3R5bGUiOnsiJHJlZiI6IjU5In19LCJUaXRsZVN0eWxlIjp7IiRpZCI6IjE0NyIsIkZvbnRTZXR0aW5ncyI6eyIkaWQiOiIxNDgiLCJGb250U2l6ZSI6MTEsIkZvbnROYW1lIjoiQ2FsaWJyaSIsIklzQm9sZCI6dHJ1ZSwiSXNJdGFsaWMiOmZhbHNlLCJJc1VuZGVybGluZWQiOmZhbHNlLCJQYXJlbnRTdHlsZSI6eyIkcmVmIjoiNjYifX0sIkF1dG9TaXplIjoyLCJGb3JlZ3JvdW5kIjp7IiRyZWYiOiI2NyJ9LCJNYXhXaWR0aCI6MTU1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0OSIsIkxpbmVDb2xvciI6bnVsbCwiTGluZVdlaWdodCI6MC4wLCJMaW5lVHlwZSI6MCwiUGFyZW50U3R5bGUiOm51bGx9LCJQYXJlbnRTdHlsZSI6eyIkcmVmIjoiNjUifX0sIkRhdGVTdHlsZSI6eyIkaWQiOiIxNTAiLCJGb250U2V0dGluZ3MiOnsiJGlkIjoiMTU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U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Tg4ZTkxMjMtNDkyMC00ZDVjLWJlN2MtYTZkYmI1ODgyZGU0IiwiSW1wb3J0SWQiOm51bGwsIlRpdGxlIjoiTWluZHNwaGVyZSAzLjAuIEFQSSBBdmFpbGFiaWxpdHkgZm9yIE1pbmRzcGhlcmUgMy4wLiBBZGFwdGVyIE1WUCIsIk5vdGUiOm51bGwsIkh5cGVybGluayI6bnVsbCwiSXNDaGFuZ2VkIjpmYWxzZSwiSXNOZXciOmZhbHNlfSx7IiRpZCI6IjE1MyIsIkRhdGUiOiIyMDE3LTEyLTMxVDIzOjU5OjU5Ljk5OVoiLCJTdHlsZSI6eyIkaWQiOiIxNTQiLCJTaGFwZSI6MiwiQ29ubmVjdG9yTWFyZ2luIjp7IiRyZWYiOiI1NCJ9LCJDb25uZWN0b3JTdHlsZSI6eyIkaWQiOiIxNTUiLCJMaW5lQ29sb3IiOnsiJGlkIjoiMTU2IiwiJHR5cGUiOiJOTFJFLkNvbW1vbi5Eb20uU29saWRDb2xvckJydXNoLCBOTFJFLkNvbW1vbiIsIkNvbG9yIjp7IiRpZCI6IjE1NyIsIkEiOjEyNywiUiI6MTM1LCJHIjoxNTUsIkIiOjE3MH19LCJMaW5lV2VpZ2h0IjoxLjAsIkxpbmVUeXBlIjowLCJQYXJlbnRTdHlsZSI6eyIkcmVmIjoiNTUifX0sIklzQmVsb3dUaW1lYmFuZCI6ZmFsc2UsIkhpZGVEYXRlIjpmYWxzZSwiU2hhcGVTaXplIjoxLCJTcGFjaW5nIjoyLjAsIlBhZGRpbmciOnsiJHJlZiI6IjU4In0sIlNoYXBlU3R5bGUiOnsiJGlkIjoiMTU4IiwiTWFyZ2luIjp7IiRyZWYiOiI2MCJ9LCJQYWRkaW5nIjp7IiRyZWYiOiI2MSJ9LCJCYWNrZ3JvdW5kIjp7IiRpZCI6IjE1OSIsIkNvbG9yIjp7IiRpZCI6IjE2MCIsIkEiOjI1NSwiUiI6MTM1LCJHIjoxNTUsIkIiOjE3MH19LCJJc1Zpc2libGUiOnRydWUsIldpZHRoIjoxMy4wLCJIZWlnaHQiOjEzLjAsIkJvcmRlclN0eWxlIjp7IiRpZCI6IjE2MSIsIkxpbmVDb2xvciI6eyIkcmVmIjoiNjMifSwiTGluZVdlaWdodCI6MC4wLCJMaW5lVHlwZSI6MCwiUGFyZW50U3R5bGUiOnsiJHJlZiI6IjYyIn19LCJQYXJlbnRTdHlsZSI6eyIkcmVmIjoiNTkifX0sIlRpdGxlU3R5bGUiOnsiJGlkIjoiMTYyIiwiRm9udFNldHRpbmdzIjp7IiRpZCI6IjE2MyIsIkZvbnRTaXplIjoxMSwiRm9udE5hbWUiOiJDYWxpYnJpIiwiSXNCb2xkIjp0cnVlLCJJc0l0YWxpYyI6ZmFsc2UsIklzVW5kZXJsaW5lZCI6ZmFsc2UsIlBhcmVudFN0eWxlIjp7IiRyZWYiOiI2NiJ9fSwiQXV0b1NpemUiOjAsIkZvcmVncm91bmQiOnsiJHJlZiI6IjY3In0sIk1heFdpZHRoIjoyMDAuMCwiTWF4SGVpZ2h0IjoiSW5maW5pdHkiLCJTbWFydEZvcmVncm91bmRJc0FjdGl2ZSI6ZmFsc2UsIkhvcml6b250YWxBbGlnbm1lbnQiOjEsIlZlcnRpY2FsQWxpZ25tZW50IjowLCJTbWFydEZvcmVncm91bmQiOm51bGwsIk1hcmdpbiI6eyIkcmVmIjoiNjkifSwiUGFkZGluZyI6eyIkcmVmIjoiNzAifSwiQmFja2dyb3VuZCI6eyIkcmVmIjoiNzEifSwiSXNWaXNpYmxlIjp0cnVlLCJXaWR0aCI6MC4wLCJIZWlnaHQiOjAuMCwiQm9yZGVyU3R5bGUiOnsiJGlkIjoiMTY0IiwiTGluZUNvbG9yIjpudWxsLCJMaW5lV2VpZ2h0IjowLjAsIkxpbmVUeXBlIjowLCJQYXJlbnRTdHlsZSI6bnVsbH0sIlBhcmVudFN0eWxlIjp7IiRyZWYiOiI2NSJ9fSwiRGF0ZVN0eWxlIjp7IiRpZCI6IjE2NSIsIkZvbnRTZXR0aW5ncyI6eyIkaWQiOiIxNjYiLCJGb250U2l6ZSI6MTAsIkZvbnROYW1lIjoiQ2FsaWJyaSIsIklzQm9sZCI6ZmFsc2UsIklzSXRhbGljIjpmYWxzZSwiSXNVbmRlcmxpbmVkIjpmYWxzZSwiUGFyZW50U3R5bGUiOnsiJHJlZiI6IjczIn19LCJBdXRvU2l6ZSI6MCwiRm9yZWdyb3VuZCI6eyIkcmVmIjoiNzQifSwiTWF4V2lkdGgiOjIwMC4wLCJNYXhIZWlnaHQiOiJJbmZpbml0eSIsIlNtYXJ0Rm9yZWdyb3VuZElzQWN0aXZlIjpmYWxzZSwiSG9yaXpvbnRhbEFsaWdubWVudCI6MCwiVmVydGljYWxBbGlnbm1lbnQiOjAsIlNtYXJ0Rm9yZWdyb3VuZCI6bnVsbCwiTWFyZ2luIjp7IiRyZWYiOiI3NiJ9LCJQYWRkaW5nIjp7IiRyZWYiOiI3NyJ9LCJCYWNrZ3JvdW5kIjp7IiRyZWYiOiI3OCJ9LCJJc1Zpc2libGUiOnRydWUsIldpZHRoIjowLjAsIkhlaWdodCI6MC4wLCJCb3JkZXJTdHlsZSI6eyIkaWQiOiIxNjciLCJMaW5lQ29sb3IiOm51bGwsIkxpbmVXZWlnaHQiOjAuMCwiTGluZVR5cGUiOjAsIlBhcmVudFN0eWxlIjpudWxsfSwiUGFyZW50U3R5bGUiOnsiJHJlZiI6IjcyIn19LCJEYXRlRm9ybWF0Ijp7IiRyZWYiOiI3OSJ9LCJJc1Zpc2libGUiOnRydWUsIlBhcmVudFN0eWxlIjp7IiRyZWYiOiI1MyJ9fSwiUG9zaXRpb24iOnsiUmF0aW8iOjAuMCwiSXNDdXN0b20iOmZhbHNlfSwiSWQiOiIwMjg4ODFiZi1jM2NjLTQ2YWMtYTM0MS1iZTk2NzBjOTJmYWUiLCJJbXBvcnRJZCI6bnVsbCwiVGl0bGUiOiJNaW5kc3BoZXJlIDIuMC4gQWRhcHRlciBGdWxsIiwiTm90ZSI6bnVsbCwiSHlwZXJsaW5rIjpudWxsLCJJc0NoYW5nZWQiOmZhbHNlLCJJc05ldyI6ZmFsc2V9LHsiJGlkIjoiMTY4IiwiRGF0ZSI6IjIwMTgtMDMtMzFUMjM6NTk6NTkuOTk5WiIsIlN0eWxlIjp7IiRpZCI6IjE2OSIsIlNoYXBlIjoyLCJDb25uZWN0b3JNYXJnaW4iOnsiJHJlZiI6IjU0In0sIkNvbm5lY3RvclN0eWxlIjp7IiRpZCI6IjE3MCIsIkxpbmVDb2xvciI6eyIkaWQiOiIxNzEiLCIkdHlwZSI6Ik5MUkUuQ29tbW9uLkRvbS5Tb2xpZENvbG9yQnJ1c2gsIE5MUkUuQ29tbW9uIiwiQ29sb3IiOnsiJGlkIjoiMTcyIiwiQSI6MTI3LCJSIjoxOTAsIkciOjIwNSwiQiI6MjE1fX0sIkxpbmVXZWlnaHQiOjEuMCwiTGluZVR5cGUiOjAsIlBhcmVudFN0eWxlIjp7IiRyZWYiOiI1NSJ9fSwiSXNCZWxvd1RpbWViYW5kIjpmYWxzZSwiSGlkZURhdGUiOmZhbHNlLCJTaGFwZVNpemUiOjEsIlNwYWNpbmciOjIuMCwiUGFkZGluZyI6eyIkcmVmIjoiNTgifSwiU2hhcGVTdHlsZSI6eyIkaWQiOiIxNzMiLCJNYXJnaW4iOnsiJHJlZiI6IjYwIn0sIlBhZGRpbmciOnsiJHJlZiI6IjYxIn0sIkJhY2tncm91bmQiOnsiJGlkIjoiMTc0IiwiQ29sb3IiOnsiJGlkIjoiMTc1IiwiQSI6MjU1LCJSIjoxOTAsIkciOjIwNSwiQiI6MjE1fX0sIklzVmlzaWJsZSI6dHJ1ZSwiV2lkdGgiOjEzLjAsIkhlaWdodCI6MTMuMCwiQm9yZGVyU3R5bGUiOnsiJGlkIjoiMTc2IiwiTGluZUNvbG9yIjp7IiRyZWYiOiI2MyJ9LCJMaW5lV2VpZ2h0IjowLjAsIkxpbmVUeXBlIjowLCJQYXJlbnRTdHlsZSI6eyIkcmVmIjoiNjIifX0sIlBhcmVudFN0eWxlIjp7IiRyZWYiOiI1OSJ9fSwiVGl0bGVTdHlsZSI6eyIkaWQiOiIxNzciLCJGb250U2V0dGluZ3MiOnsiJGlkIjoiMTc4IiwiRm9udFNpemUiOjExLCJGb250TmFtZSI6IkNhbGlicmkiLCJJc0JvbGQiOnRydWUsIklzSXRhbGljIjpmYWxzZSwiSXNVbmRlcmxpbmVkIjpmYWxzZSwiUGFyZW50U3R5bGUiOnsiJHJlZiI6IjY2In19LCJBdXRvU2l6ZSI6MiwiRm9yZWdyb3VuZCI6eyIkcmVmIjoiNjcifSwiTWF4V2lkdGgiOjQx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3OSIsIkxpbmVDb2xvciI6bnVsbCwiTGluZVdlaWdodCI6MC4wLCJMaW5lVHlwZSI6MCwiUGFyZW50U3R5bGUiOm51bGx9LCJQYXJlbnRTdHlsZSI6eyIkcmVmIjoiNjUifX0sIkRhdGVTdHlsZSI6eyIkaWQiOiIxODAiLCJGb250U2V0dGluZ3MiOnsiJGlkIjoiMTg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g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WExYjAzZDMtNTY1ZC00MGM5LWJjMWQtNDc4YTczYTA4NjgwIiwiSW1wb3J0SWQiOm51bGwsIlRpdGxlIjoiTWluZHNwaGVyZSAzLjAuIEFkYXB0ZXIgTVZQIiwiTm90ZSI6bnVsbCwiSHlwZXJsaW5rIjpudWxsLCJJc0NoYW5nZWQiOmZhbHNlLCJJc05ldyI6ZmFsc2V9XSwiVGFza3MiOlt7IiRpZCI6IjE4MyIsIkdyb3VwTmFtZSI6bnVsbCwiU3RhcnREYXRlIjoiMjAxNy0wOC0xMVQwMDowMDowMFoiLCJFbmREYXRlIjoiMjAxNy0wOC0zMVQyMzo1OTo1OS45OTlaIiwiUGVyY2VudGFnZUNvbXBsZXRlIjpudWxsLCJTdHlsZSI6eyIkaWQiOiIxODQiLCJTaGFwZSI6MSwiU2hhcGVUaGlja25lc3MiOjEsIkR1cmF0aW9uRm9ybWF0IjowLCJJbmNsdWRlTm9uV29ya2luZ0RheXNJbkR1cmF0aW9uIjp0cnVlLCJQZXJjZW50YWdlQ29tcGxldGVTdHlsZSI6eyIkaWQiOiIxODUiLCJGb250U2V0dGluZ3MiOnsiJGlkIjoiMTg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Tg3IiwiTGluZUNvbG9yIjpudWxsLCJMaW5lV2VpZ2h0IjowLjAsIkxpbmVUeXBlIjowLCJQYXJlbnRTdHlsZSI6bnVsbH0sIlBhcmVudFN0eWxlIjp7IiRyZWYiOiI4MSJ9fSwiRHVyYXRpb25TdHlsZSI6eyIkaWQiOiIxODgiLCJGb250U2V0dGluZ3MiOnsiJGlkIjoiMTg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TkwIiwiTGluZUNvbG9yIjpudWxsLCJMaW5lV2VpZ2h0IjowLjAsIkxpbmVUeXBlIjowLCJQYXJlbnRTdHlsZSI6bnVsbH0sIlBhcmVudFN0eWxlIjp7IiRyZWYiOiI4OCJ9fSwiSG9yaXpvbnRhbENvbm5lY3RvclN0eWxlIjp7IiRpZCI6IjE5MSIsIkxpbmVDb2xvciI6eyIkcmVmIjoiOTYifSwiTGluZVdlaWdodCI6MC4wLCJMaW5lVHlwZSI6MCwiUGFyZW50U3R5bGUiOnsiJHJlZiI6Ijk1In19LCJWZXJ0aWNhbENvbm5lY3RvclN0eWxlIjp7IiRpZCI6IjE5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xOTMiLCJNYXJnaW4iOnsiJHJlZiI6IjEwMiJ9LCJQYWRkaW5nIjp7IiRyZWYiOiIxMDMifSwiQmFja2dyb3VuZCI6eyIkaWQiOiIxOTQiLCJDb2xvciI6eyIkaWQiOiIxOTUiLCJBIjoyNTUsIlIiOjE5MCwiRyI6MjA1LCJCIjoyMTV9fSwiSXNWaXNpYmxlIjp0cnVlLCJXaWR0aCI6MC4wLCJIZWlnaHQiOjE2LjAsIkJvcmRlclN0eWxlIjp7IiRpZCI6IjE5NiIsIkxpbmVDb2xvciI6eyIkcmVmIjoiMTA1In0sIkxpbmVXZWlnaHQiOjAuMCwiTGluZVR5cGUiOjAsIlBhcmVudFN0eWxlIjp7IiRyZWYiOiIxMDQifX0sIlBhcmVudFN0eWxlIjp7IiRyZWYiOiIxMDEifX0sIlRpdGxlU3R5bGUiOnsiJGlkIjoiMTk3IiwiRm9udFNldHRpbmdzIjp7IiRpZCI6IjE5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xOTkiLCJMaW5lQ29sb3IiOm51bGwsIkxpbmVXZWlnaHQiOjAuMCwiTGluZVR5cGUiOjAsIlBhcmVudFN0eWxlIjpudWxsfSwiUGFyZW50U3R5bGUiOnsiJHJlZiI6IjEwNyJ9fSwiRGF0ZVN0eWxlIjp7IiRpZCI6IjIwMCIsIkZvbnRTZXR0aW5ncyI6eyIkaWQiOiIyM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wMiIsIkxpbmVDb2xvciI6bnVsbCwiTGluZVdlaWdodCI6MC4wLCJMaW5lVHlwZSI6MCwiUGFyZW50U3R5bGUiOm51bGx9LCJQYXJlbnRTdHlsZSI6eyIkcmVmIjoiMTE0In19LCJEYXRlRm9ybWF0Ijp7IiRyZWYiOiIxMjEifSwiSXNWaXNpYmxlIjp0cnVlLCJQYXJlbnRTdHlsZSI6eyIkcmVmIjoiODAifX0sIkluZGV4IjoxLCJJZCI6IjlkMDY5NzgyLTdiYTUtNDg3Ny04Zjk5LTRiMWY4OWUyOWQ5ZCIsIkltcG9ydElkIjpudWxsLCJUaXRsZSI6Ik1pbmRzcGhlcmUgMi4wLiBNVlAgU3BlY2lmaWNhdGlvbiIsIk5vdGUiOm51bGwsIkh5cGVybGluayI6bnVsbCwiSXNDaGFuZ2VkIjpmYWxzZSwiSXNOZXciOmZhbHNlfSx7IiRpZCI6IjIwMyIsIkdyb3VwTmFtZSI6bnVsbCwiU3RhcnREYXRlIjoiMjAxNy0wOS0wMVQwMDowMDowMFoiLCJFbmREYXRlIjoiMjAxNy0xMC0zMVQyMzo1OTo1OS45OTlaIiwiUGVyY2VudGFnZUNvbXBsZXRlIjpudWxsLCJTdHlsZSI6eyIkaWQiOiIyMDQiLCJTaGFwZSI6MSwiU2hhcGVUaGlja25lc3MiOjIsIkR1cmF0aW9uRm9ybWF0IjowLCJJbmNsdWRlTm9uV29ya2luZ0RheXNJbkR1cmF0aW9uIjp0cnVlLCJQZXJjZW50YWdlQ29tcGxldGVTdHlsZSI6eyIkaWQiOiIyMDUiLCJGb250U2V0dGluZ3MiOnsiJGlkIjoiMjA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A3IiwiTGluZUNvbG9yIjpudWxsLCJMaW5lV2VpZ2h0IjowLjAsIkxpbmVUeXBlIjowLCJQYXJlbnRTdHlsZSI6bnVsbH0sIlBhcmVudFN0eWxlIjp7IiRyZWYiOiI4MSJ9fSwiRHVyYXRpb25TdHlsZSI6eyIkaWQiOiIyMDgiLCJGb250U2V0dGluZ3MiOnsiJGlkIjoiMjA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EwIiwiTGluZUNvbG9yIjpudWxsLCJMaW5lV2VpZ2h0IjowLjAsIkxpbmVUeXBlIjowLCJQYXJlbnRTdHlsZSI6bnVsbH0sIlBhcmVudFN0eWxlIjp7IiRyZWYiOiI4OCJ9fSwiSG9yaXpvbnRhbENvbm5lY3RvclN0eWxlIjp7IiRpZCI6IjIxMSIsIkxpbmVDb2xvciI6eyIkcmVmIjoiOTYifSwiTGluZVdlaWdodCI6MC4wLCJMaW5lVHlwZSI6MCwiUGFyZW50U3R5bGUiOnsiJHJlZiI6Ijk1In19LCJWZXJ0aWNhbENvbm5lY3RvclN0eWxlIjp7IiRpZCI6IjIx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MTMiLCJNYXJnaW4iOnsiJHJlZiI6IjEwMiJ9LCJQYWRkaW5nIjp7IiRyZWYiOiIxMDMifSwiQmFja2dyb3VuZCI6eyIkaWQiOiIyMTQiLCJDb2xvciI6eyIkaWQiOiIyMTUiLCJBIjoyNTUsIlIiOjExNSwiRyI6MTE1LCJCIjoxMTV9fSwiSXNWaXNpYmxlIjp0cnVlLCJXaWR0aCI6MC4wLCJIZWlnaHQiOjIyLjAsIkJvcmRlclN0eWxlIjp7IiRpZCI6IjIxNiIsIkxpbmVDb2xvciI6eyIkcmVmIjoiMTA1In0sIkxpbmVXZWlnaHQiOjAuMCwiTGluZVR5cGUiOjAsIlBhcmVudFN0eWxlIjp7IiRyZWYiOiIxMDQifX0sIlBhcmVudFN0eWxlIjp7IiRyZWYiOiIxMDEifX0sIlRpdGxlU3R5bGUiOnsiJGlkIjoiMjE3IiwiRm9udFNldHRpbmdzIjp7IiRpZCI6IjIx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TkiLCJMaW5lQ29sb3IiOm51bGwsIkxpbmVXZWlnaHQiOjAuMCwiTGluZVR5cGUiOjAsIlBhcmVudFN0eWxlIjpudWxsfSwiUGFyZW50U3R5bGUiOnsiJHJlZiI6IjEwNyJ9fSwiRGF0ZVN0eWxlIjp7IiRpZCI6IjIyMCIsIkZvbnRTZXR0aW5ncyI6eyIkaWQiOiIyMj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yMiIsIkxpbmVDb2xvciI6bnVsbCwiTGluZVdlaWdodCI6MC4wLCJMaW5lVHlwZSI6MCwiUGFyZW50U3R5bGUiOm51bGx9LCJQYXJlbnRTdHlsZSI6eyIkcmVmIjoiMTE0In19LCJEYXRlRm9ybWF0Ijp7IiRyZWYiOiIxMjEifSwiSXNWaXNpYmxlIjp0cnVlLCJQYXJlbnRTdHlsZSI6eyIkcmVmIjoiODAifX0sIkluZGV4IjoyLCJJZCI6IjE4NjY2MDFhLWZjMGItNGM4YS1iNTdhLTAxZDA1OTE3NGJmMyIsIkltcG9ydElkIjpudWxsLCJUaXRsZSI6Ik1pbmRzcGhlcmUgMi4wLiBNVlAgSW1wbGVtZW50YXRpb24iLCJOb3RlIjpudWxsLCJIeXBlcmxpbmsiOm51bGwsIklzQ2hhbmdlZCI6ZmFsc2UsIklzTmV3IjpmYWxzZX0seyIkaWQiOiIyMjMiLCJHcm91cE5hbWUiOm51bGwsIlN0YXJ0RGF0ZSI6IjIwMTctMDktMDFUMDA6MDA6MDBaIiwiRW5kRGF0ZSI6IjIwMTctMTAtMzFUMjM6NTk6NTkuOTk5WiIsIlBlcmNlbnRhZ2VDb21wbGV0ZSI6bnVsbCwiU3R5bGUiOnsiJGlkIjoiMjI0IiwiU2hhcGUiOjEsIlNoYXBlVGhpY2tuZXNzIjoxLCJEdXJhdGlvbkZvcm1hdCI6MCwiSW5jbHVkZU5vbldvcmtpbmdEYXlzSW5EdXJhdGlvbiI6dHJ1ZSwiUGVyY2VudGFnZUNvbXBsZXRlU3R5bGUiOnsiJGlkIjoiMjI1IiwiRm9udFNldHRpbmdzIjp7IiRpZCI6IjIy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yNyIsIkxpbmVDb2xvciI6bnVsbCwiTGluZVdlaWdodCI6MC4wLCJMaW5lVHlwZSI6MCwiUGFyZW50U3R5bGUiOm51bGx9LCJQYXJlbnRTdHlsZSI6eyIkcmVmIjoiODEifX0sIkR1cmF0aW9uU3R5bGUiOnsiJGlkIjoiMjI4IiwiRm9udFNldHRpbmdzIjp7IiRpZCI6IjIy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zMCIsIkxpbmVDb2xvciI6bnVsbCwiTGluZVdlaWdodCI6MC4wLCJMaW5lVHlwZSI6MCwiUGFyZW50U3R5bGUiOm51bGx9LCJQYXJlbnRTdHlsZSI6eyIkcmVmIjoiODgifX0sIkhvcml6b250YWxDb25uZWN0b3JTdHlsZSI6eyIkaWQiOiIyMzEiLCJMaW5lQ29sb3IiOnsiJHJlZiI6Ijk2In0sIkxpbmVXZWlnaHQiOjAuMCwiTGluZVR5cGUiOjAsIlBhcmVudFN0eWxlIjp7IiRyZWYiOiI5NSJ9fSwiVmVydGljYWxDb25uZWN0b3JTdHlsZSI6eyIkaWQiOiIyM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MzIiwiTWFyZ2luIjp7IiRyZWYiOiIxMDIifSwiUGFkZGluZyI6eyIkcmVmIjoiMTAzIn0sIkJhY2tncm91bmQiOnsiJGlkIjoiMjM0IiwiQ29sb3IiOnsiJGlkIjoiMjM1IiwiQSI6MjU1LCJSIjoyNTQsIkciOjE4NiwiQiI6MTB9fSwiSXNWaXNpYmxlIjp0cnVlLCJXaWR0aCI6MC4wLCJIZWlnaHQiOjE2LjAsIkJvcmRlclN0eWxlIjp7IiRpZCI6IjIzNiIsIkxpbmVDb2xvciI6eyIkcmVmIjoiMTA1In0sIkxpbmVXZWlnaHQiOjAuMCwiTGluZVR5cGUiOjAsIlBhcmVudFN0eWxlIjp7IiRyZWYiOiIxMDQifX0sIlBhcmVudFN0eWxlIjp7IiRyZWYiOiIxMDEifX0sIlRpdGxlU3R5bGUiOnsiJGlkIjoiMjM3IiwiRm9udFNldHRpbmdzIjp7IiRpZCI6IjIz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zkiLCJMaW5lQ29sb3IiOm51bGwsIkxpbmVXZWlnaHQiOjAuMCwiTGluZVR5cGUiOjAsIlBhcmVudFN0eWxlIjpudWxsfSwiUGFyZW50U3R5bGUiOnsiJHJlZiI6IjEwNyJ9fSwiRGF0ZVN0eWxlIjp7IiRpZCI6IjI0MCIsIkZvbnRTZXR0aW5ncyI6eyIkaWQiOiIyN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0MiIsIkxpbmVDb2xvciI6bnVsbCwiTGluZVdlaWdodCI6MC4wLCJMaW5lVHlwZSI6MCwiUGFyZW50U3R5bGUiOm51bGx9LCJQYXJlbnRTdHlsZSI6eyIkcmVmIjoiMTE0In19LCJEYXRlRm9ybWF0Ijp7IiRyZWYiOiIxMjEifSwiSXNWaXNpYmxlIjp0cnVlLCJQYXJlbnRTdHlsZSI6eyIkcmVmIjoiODAifX0sIkluZGV4IjozLCJJZCI6ImY5NWYxMTI4LTllZmUtNDc1NS1hMjVkLTBkNDdhN2MyMzhiMyIsIkltcG9ydElkIjpudWxsLCJUaXRsZSI6Ik1pbmRzcGhlcmUgMi4wLiBGdWxsIC0gU3BlY2lmaWNhdGlvbiIsIk5vdGUiOm51bGwsIkh5cGVybGluayI6bnVsbCwiSXNDaGFuZ2VkIjpmYWxzZSwiSXNOZXciOmZhbHNlfSx7IiRpZCI6IjI0MyIsIkdyb3VwTmFtZSI6bnVsbCwiU3RhcnREYXRlIjoiMjAxNy0xMC0zMVQwMDowMDowMFoiLCJFbmREYXRlIjoiMjAxNy0xMi0zMVQyMzo1OTo1OS45OTlaIiwiUGVyY2VudGFnZUNvbXBsZXRlIjpudWxsLCJTdHlsZSI6eyIkaWQiOiIyNDQiLCJTaGFwZSI6MSwiU2hhcGVUaGlja25lc3MiOjIsIkR1cmF0aW9uRm9ybWF0IjowLCJJbmNsdWRlTm9uV29ya2luZ0RheXNJbkR1cmF0aW9uIjp0cnVlLCJQZXJjZW50YWdlQ29tcGxldGVTdHlsZSI6eyIkaWQiOiIyNDUiLCJGb250U2V0dGluZ3MiOnsiJGlkIjoiMjQ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Q3IiwiTGluZUNvbG9yIjpudWxsLCJMaW5lV2VpZ2h0IjowLjAsIkxpbmVUeXBlIjowLCJQYXJlbnRTdHlsZSI6bnVsbH0sIlBhcmVudFN0eWxlIjp7IiRyZWYiOiI4MSJ9fSwiRHVyYXRpb25TdHlsZSI6eyIkaWQiOiIyNDgiLCJGb250U2V0dGluZ3MiOnsiJGlkIjoiMjQ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UwIiwiTGluZUNvbG9yIjpudWxsLCJMaW5lV2VpZ2h0IjowLjAsIkxpbmVUeXBlIjowLCJQYXJlbnRTdHlsZSI6bnVsbH0sIlBhcmVudFN0eWxlIjp7IiRyZWYiOiI4OCJ9fSwiSG9yaXpvbnRhbENvbm5lY3RvclN0eWxlIjp7IiRpZCI6IjI1MSIsIkxpbmVDb2xvciI6eyIkcmVmIjoiOTYifSwiTGluZVdlaWdodCI6MC4wLCJMaW5lVHlwZSI6MCwiUGFyZW50U3R5bGUiOnsiJHJlZiI6Ijk1In19LCJWZXJ0aWNhbENvbm5lY3RvclN0eWxlIjp7IiRpZCI6IjI1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NTMiLCJNYXJnaW4iOnsiJHJlZiI6IjEwMiJ9LCJQYWRkaW5nIjp7IiRyZWYiOiIxMDMifSwiQmFja2dyb3VuZCI6eyIkaWQiOiIyNTQiLCJDb2xvciI6eyIkaWQiOiIyNTUiLCJBIjoyNTUsIlIiOjIzNSwiRyI6MTIwLCJCIjoxMH19LCJJc1Zpc2libGUiOnRydWUsIldpZHRoIjowLjAsIkhlaWdodCI6MjIuMCwiQm9yZGVyU3R5bGUiOnsiJGlkIjoiMjU2IiwiTGluZUNvbG9yIjp7IiRyZWYiOiIxMDUifSwiTGluZVdlaWdodCI6MC4wLCJMaW5lVHlwZSI6MCwiUGFyZW50U3R5bGUiOnsiJHJlZiI6IjEwNCJ9fSwiUGFyZW50U3R5bGUiOnsiJHJlZiI6IjEwMSJ9fSwiVGl0bGVTdHlsZSI6eyIkaWQiOiIyNTciLCJGb250U2V0dGluZ3MiOnsiJGlkIjoiMjU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1OSIsIkxpbmVDb2xvciI6bnVsbCwiTGluZVdlaWdodCI6MC4wLCJMaW5lVHlwZSI6MCwiUGFyZW50U3R5bGUiOm51bGx9LCJQYXJlbnRTdHlsZSI6eyIkcmVmIjoiMTA3In19LCJEYXRlU3R5bGUiOnsiJGlkIjoiMjYwIiwiRm9udFNldHRpbmdzIjp7IiRpZCI6IjI2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YyIiwiTGluZUNvbG9yIjpudWxsLCJMaW5lV2VpZ2h0IjowLjAsIkxpbmVUeXBlIjowLCJQYXJlbnRTdHlsZSI6bnVsbH0sIlBhcmVudFN0eWxlIjp7IiRyZWYiOiIxMTQifX0sIkRhdGVGb3JtYXQiOnsiJHJlZiI6IjEyMSJ9LCJJc1Zpc2libGUiOnRydWUsIlBhcmVudFN0eWxlIjp7IiRyZWYiOiI4MCJ9fSwiSW5kZXgiOjQsIklkIjoiNzg5ZmNhMDctNGFhMC00YjA4LWJkNzItZDU0NzU3MDUxMGNkIiwiSW1wb3J0SWQiOm51bGwsIlRpdGxlIjoiTWluZHNwaGVyZSAyLjAuIEZ1bGwgSW1wbGVtZW50YXRpb24iLCJOb3RlIjpudWxsLCJIeXBlcmxpbmsiOm51bGwsIklzQ2hhbmdlZCI6ZmFsc2UsIklzTmV3IjpmYWxzZX0seyIkaWQiOiIyNjMiLCJHcm91cE5hbWUiOm51bGwsIlN0YXJ0RGF0ZSI6IjIwMTctMTItMDFUMDA6MDA6MDBaIiwiRW5kRGF0ZSI6IjIwMTgtMDEtMzFUMjM6NTk6NTkuOTk5WiIsIlBlcmNlbnRhZ2VDb21wbGV0ZSI6bnVsbCwiU3R5bGUiOnsiJGlkIjoiMjY0IiwiU2hhcGUiOjEsIlNoYXBlVGhpY2tuZXNzIjoxLCJEdXJhdGlvbkZvcm1hdCI6MCwiSW5jbHVkZU5vbldvcmtpbmdEYXlzSW5EdXJhdGlvbiI6dHJ1ZSwiUGVyY2VudGFnZUNvbXBsZXRlU3R5bGUiOnsiJGlkIjoiMjY1IiwiRm9udFNldHRpbmdzIjp7IiRpZCI6IjI2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2NyIsIkxpbmVDb2xvciI6bnVsbCwiTGluZVdlaWdodCI6MC4wLCJMaW5lVHlwZSI6MCwiUGFyZW50U3R5bGUiOm51bGx9LCJQYXJlbnRTdHlsZSI6eyIkcmVmIjoiODEifX0sIkR1cmF0aW9uU3R5bGUiOnsiJGlkIjoiMjY4IiwiRm9udFNldHRpbmdzIjp7IiRpZCI6IjI2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3MCIsIkxpbmVDb2xvciI6bnVsbCwiTGluZVdlaWdodCI6MC4wLCJMaW5lVHlwZSI6MCwiUGFyZW50U3R5bGUiOm51bGx9LCJQYXJlbnRTdHlsZSI6eyIkcmVmIjoiODgifX0sIkhvcml6b250YWxDb25uZWN0b3JTdHlsZSI6eyIkaWQiOiIyNzEiLCJMaW5lQ29sb3IiOnsiJHJlZiI6Ijk2In0sIkxpbmVXZWlnaHQiOjAuMCwiTGluZVR5cGUiOjAsIlBhcmVudFN0eWxlIjp7IiRyZWYiOiI5NSJ9fSwiVmVydGljYWxDb25uZWN0b3JTdHlsZSI6eyIkaWQiOiIyN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czIiwiTWFyZ2luIjp7IiRyZWYiOiIxMDIifSwiUGFkZGluZyI6eyIkcmVmIjoiMTAzIn0sIkJhY2tncm91bmQiOnsiJGlkIjoiMjc0IiwiQ29sb3IiOnsiJGlkIjoiMjc1IiwiQSI6MjU1LCJSIjoyLCJHIjoxNzgsIkIiOjIzOH19LCJJc1Zpc2libGUiOnRydWUsIldpZHRoIjowLjAsIkhlaWdodCI6MTYuMCwiQm9yZGVyU3R5bGUiOnsiJGlkIjoiMjc2IiwiTGluZUNvbG9yIjp7IiRyZWYiOiIxMDUifSwiTGluZVdlaWdodCI6MC4wLCJMaW5lVHlwZSI6MCwiUGFyZW50U3R5bGUiOnsiJHJlZiI6IjEwNCJ9fSwiUGFyZW50U3R5bGUiOnsiJHJlZiI6IjEwMSJ9fSwiVGl0bGVTdHlsZSI6eyIkaWQiOiIyNzciLCJGb250U2V0dGluZ3MiOnsiJGlkIjoiMjc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3OSIsIkxpbmVDb2xvciI6bnVsbCwiTGluZVdlaWdodCI6MC4wLCJMaW5lVHlwZSI6MCwiUGFyZW50U3R5bGUiOm51bGx9LCJQYXJlbnRTdHlsZSI6eyIkcmVmIjoiMTA3In19LCJEYXRlU3R5bGUiOnsiJGlkIjoiMjgwIiwiRm9udFNldHRpbmdzIjp7IiRpZCI6IjI4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gyIiwiTGluZUNvbG9yIjpudWxsLCJMaW5lV2VpZ2h0IjowLjAsIkxpbmVUeXBlIjowLCJQYXJlbnRTdHlsZSI6bnVsbH0sIlBhcmVudFN0eWxlIjp7IiRyZWYiOiIxMTQifX0sIkRhdGVGb3JtYXQiOnsiJHJlZiI6IjEyMSJ9LCJJc1Zpc2libGUiOnRydWUsIlBhcmVudFN0eWxlIjp7IiRyZWYiOiI4MCJ9fSwiSW5kZXgiOjUsIklkIjoiN2RkODM0ZDktZjkwZC00MWNmLWIzZTAtM2UzMjgxNzczZTFiIiwiSW1wb3J0SWQiOm51bGwsIlRpdGxlIjoiTWluZHNwaGVyZSAzLjAgTVZQIFNwZWNpZmljYXRpb24iLCJOb3RlIjpudWxsLCJIeXBlcmxpbmsiOm51bGwsIklzQ2hhbmdlZCI6ZmFsc2UsIklzTmV3IjpmYWxzZX0seyIkaWQiOiIyODMiLCJHcm91cE5hbWUiOm51bGwsIlN0YXJ0RGF0ZSI6IjIwMTgtMDEtMzFUMDA6MDA6MDBaIiwiRW5kRGF0ZSI6IjIwMTgtMDMtMzFUMjM6NTk6NTkuOTk5WiIsIlBlcmNlbnRhZ2VDb21wbGV0ZSI6bnVsbCwiU3R5bGUiOnsiJGlkIjoiMjg0IiwiU2hhcGUiOjEsIlNoYXBlVGhpY2tuZXNzIjoyLCJEdXJhdGlvbkZvcm1hdCI6MCwiSW5jbHVkZU5vbldvcmtpbmdEYXlzSW5EdXJhdGlvbiI6dHJ1ZSwiUGVyY2VudGFnZUNvbXBsZXRlU3R5bGUiOnsiJGlkIjoiMjg1IiwiRm9udFNldHRpbmdzIjp7IiRpZCI6IjI4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4NyIsIkxpbmVDb2xvciI6bnVsbCwiTGluZVdlaWdodCI6MC4wLCJMaW5lVHlwZSI6MCwiUGFyZW50U3R5bGUiOm51bGx9LCJQYXJlbnRTdHlsZSI6eyIkcmVmIjoiODEifX0sIkR1cmF0aW9uU3R5bGUiOnsiJGlkIjoiMjg4IiwiRm9udFNldHRpbmdzIjp7IiRpZCI6IjI4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5MCIsIkxpbmVDb2xvciI6bnVsbCwiTGluZVdlaWdodCI6MC4wLCJMaW5lVHlwZSI6MCwiUGFyZW50U3R5bGUiOm51bGx9LCJQYXJlbnRTdHlsZSI6eyIkcmVmIjoiODgifX0sIkhvcml6b250YWxDb25uZWN0b3JTdHlsZSI6eyIkaWQiOiIyOTEiLCJMaW5lQ29sb3IiOnsiJHJlZiI6Ijk2In0sIkxpbmVXZWlnaHQiOjAuMCwiTGluZVR5cGUiOjAsIlBhcmVudFN0eWxlIjp7IiRyZWYiOiI5NSJ9fSwiVmVydGljYWxDb25uZWN0b3JTdHlsZSI6eyIkaWQiOiIyOT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kzIiwiTWFyZ2luIjp7IiRyZWYiOiIxMDIifSwiUGFkZGluZyI6eyIkcmVmIjoiMTAzIn0sIkJhY2tncm91bmQiOnsiJGlkIjoiMjk0IiwiQ29sb3IiOnsiJGlkIjoiMjk1IiwiQSI6MjU1LCJSIjo0NywiRyI6NTQsIkIiOjE1M319LCJJc1Zpc2libGUiOnRydWUsIldpZHRoIjowLjAsIkhlaWdodCI6MjIuMCwiQm9yZGVyU3R5bGUiOnsiJGlkIjoiMjk2IiwiTGluZUNvbG9yIjp7IiRyZWYiOiIxMDUifSwiTGluZVdlaWdodCI6MC4wLCJMaW5lVHlwZSI6MCwiUGFyZW50U3R5bGUiOnsiJHJlZiI6IjEwNCJ9fSwiUGFyZW50U3R5bGUiOnsiJHJlZiI6IjEwMSJ9fSwiVGl0bGVTdHlsZSI6eyIkaWQiOiIyOTciLCJGb250U2V0dGluZ3MiOnsiJGlkIjoiMjk4IiwiRm9udFNpemUiOjExLCJGb250TmFtZSI6IkNhbGlicmkiLCJJc0JvbGQiOnRydWUsIklzSXRhbGljIjpmYWxzZSwiSXNVbmRlcmxpbmVkIjpmYWxzZSwiUGFyZW50U3R5bGUiOnsiJHJlZiI6IjEwOCJ9fSwiQXV0b1NpemUiOjIsIkZvcmVncm91bmQiOnsiJHJlZiI6IjEwOSJ9LCJNYXhXaWR0aCI6NjIuMCwiTWF4SGVpZ2h0IjoiSW5maW5pdHkiLCJTbWFydEZvcmVncm91bmRJc0FjdGl2ZSI6ZmFsc2UsIkhvcml6b250YWxBbGlnbm1lbnQiOjIsIlZlcnRpY2FsQWxpZ25tZW50IjowLCJTbWFydEZvcmVncm91bmQiOm51bGwsIk1hcmdpbiI6eyIkcmVmIjoiMTExIn0sIlBhZGRpbmciOnsiJHJlZiI6IjExMiJ9LCJCYWNrZ3JvdW5kIjp7IiRyZWYiOiIxMTMifSwiSXNWaXNpYmxlIjp0cnVlLCJXaWR0aCI6MC4wLCJIZWlnaHQiOjAuMCwiQm9yZGVyU3R5bGUiOnsiJGlkIjoiMjk5IiwiTGluZUNvbG9yIjpudWxsLCJMaW5lV2VpZ2h0IjowLjAsIkxpbmVUeXBlIjowLCJQYXJlbnRTdHlsZSI6bnVsbH0sIlBhcmVudFN0eWxlIjp7IiRyZWYiOiIxMDcifX0sIkRhdGVTdHlsZSI6eyIkaWQiOiIzMDAiLCJGb250U2V0dGluZ3MiOnsiJGlkIjoiMzAxIiwiRm9udFNpemUiOjEwLCJGb250TmFtZSI6IkNhbGlicmkiLCJJc0JvbGQiOmZhbHNlLCJJc0l0YWxpYyI6ZmFsc2UsIklzVW5kZXJsaW5lZCI6ZmFsc2UsIlBhcmVudFN0eWxlIjp7IiRyZWYiOiIxMTUifX0sIkF1dG9TaXplIjowLCJGb3JlZ3JvdW5kIjp7IiRpZCI6IjMwMiIsIkNvbG9yIjp7IiRpZCI6IjMwMyIsIkEiOjI1NSwiUiI6MjU1LCJHIjoyNTUsIkIiOjI1NX1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MwNCIsIkxpbmVDb2xvciI6bnVsbCwiTGluZVdlaWdodCI6MC4wLCJMaW5lVHlwZSI6MCwiUGFyZW50U3R5bGUiOm51bGx9LCJQYXJlbnRTdHlsZSI6eyIkcmVmIjoiMTE0In19LCJEYXRlRm9ybWF0Ijp7IiRyZWYiOiIxMjEifSwiSXNWaXNpYmxlIjp0cnVlLCJQYXJlbnRTdHlsZSI6eyIkcmVmIjoiODAifX0sIkluZGV4Ijo2LCJJZCI6ImZmYmIwMDhkLWZlMjItNGI1ZS1iMWEzLTBkNjY3NmUyYjdmMiIsIkltcG9ydElkIjpudWxsLCJUaXRsZSI6Ik1pbmRzcGhlcmUgMy4wLiBNVlAgSW1wbGVtZW50YXRpb24iLCJOb3RlIjpudWxsLCJIeXBlcmxpbmsiOm51bGwsIklzQ2hhbmdlZCI6ZmFsc2UsIklzTmV3IjpmYWxzZX1dLCJNc1Byb2plY3RJdGVtc1RyZWUiOnsiJGlkIjoiMzA1IiwiUm9vdCI6eyJJbXBvcnRJZCI6bnVsbCwiSXNJbXBvcnRlZCI6ZmFsc2UsIkNoaWxkcmVuIjpbXX19LCJNZXRhZGF0YSI6eyIkaWQiOiIzMDYifSwiU2V0dGluZ3MiOnsiJGlkIjoiMzA3IiwiSW1wYU9wdGlvbnMiOnsiJGlkIjoiMzA4IiwiTGVmdFRvUmlnaHQiOmZhbHNlLCJQYXlsb2FkT3B0aW9ucyI6Mn0sIlVzZUNvbXByZXNzaW9uIjpmYWxzZSwiQ29tcHJlc2lvblBlcmNlbnRhZ2UiOjAuMCwiSW5hY3RpdmVJbnRlcnZhbFdpZHRoVGhyZXNob2xkIjowLjAsIkluYWN0aXZlSW50ZXJ2YWxXaWR0aCI6MC4wLCJTcGxpdFRhc2tzIjpmYWxzZSwiVXNlQ2x1c3RlciI6ZmFsc2UsIkVwc2lsb24iOjAuMCwiTWluUG9pbnRzVG9Gb3JtQUNsdXN0ZXIiOjAsIkdlbmVyYXRlSW52aXNpYmxlU2hhcGVzIjpmYWxzZSwiU21hcnRUaW1lbGluZVRhc2tQZXJjZW50YWdlRml0IjpmYWxzZX0sIklzTmV3Ijp0cnVlLCJJbXBvcnRUeXBlIjowLCJGaWxlUGF0aCI6bnVsbCwiVGltZWxpbmVJbXBvcnRlZCI6ZmFsc2V9"/>
  <p:tag name="__MASTER" val="__part_0"/>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50.xml><?xml version="1.0" encoding="utf-8"?>
<p:tagLst xmlns:a="http://schemas.openxmlformats.org/drawingml/2006/main" xmlns:r="http://schemas.openxmlformats.org/officeDocument/2006/relationships" xmlns:p="http://schemas.openxmlformats.org/presentationml/2006/main">
  <p:tag name="OTLMARKERSHAPE" val="OTL"/>
</p:tagLst>
</file>

<file path=ppt/tags/tag251.xml><?xml version="1.0" encoding="utf-8"?>
<p:tagLst xmlns:a="http://schemas.openxmlformats.org/drawingml/2006/main" xmlns:r="http://schemas.openxmlformats.org/officeDocument/2006/relationships" xmlns:p="http://schemas.openxmlformats.org/presentationml/2006/main">
  <p:tag name="OTLMARKERSHAPE" val="OTL"/>
</p:tagLst>
</file>

<file path=ppt/tags/tag252.xml><?xml version="1.0" encoding="utf-8"?>
<p:tagLst xmlns:a="http://schemas.openxmlformats.org/drawingml/2006/main" xmlns:r="http://schemas.openxmlformats.org/officeDocument/2006/relationships" xmlns:p="http://schemas.openxmlformats.org/presentationml/2006/main">
  <p:tag name="OTLMARKERSHAPE" val="OTL"/>
</p:tagLst>
</file>

<file path=ppt/tags/tag253.xml><?xml version="1.0" encoding="utf-8"?>
<p:tagLst xmlns:a="http://schemas.openxmlformats.org/drawingml/2006/main" xmlns:r="http://schemas.openxmlformats.org/officeDocument/2006/relationships" xmlns:p="http://schemas.openxmlformats.org/presentationml/2006/main">
  <p:tag name="OTLMARKERSHAPE" val="OTL"/>
</p:tagLst>
</file>

<file path=ppt/tags/tag254.xml><?xml version="1.0" encoding="utf-8"?>
<p:tagLst xmlns:a="http://schemas.openxmlformats.org/drawingml/2006/main" xmlns:r="http://schemas.openxmlformats.org/officeDocument/2006/relationships" xmlns:p="http://schemas.openxmlformats.org/presentationml/2006/main">
  <p:tag name="OTLMARKERSHAPE" val="OTL"/>
</p:tagLst>
</file>

<file path=ppt/tags/tag255.xml><?xml version="1.0" encoding="utf-8"?>
<p:tagLst xmlns:a="http://schemas.openxmlformats.org/drawingml/2006/main" xmlns:r="http://schemas.openxmlformats.org/officeDocument/2006/relationships" xmlns:p="http://schemas.openxmlformats.org/presentationml/2006/main">
  <p:tag name="OTLMARKERSHAPE" val="OTL"/>
</p:tagLst>
</file>

<file path=ppt/tags/tag256.xml><?xml version="1.0" encoding="utf-8"?>
<p:tagLst xmlns:a="http://schemas.openxmlformats.org/drawingml/2006/main" xmlns:r="http://schemas.openxmlformats.org/officeDocument/2006/relationships" xmlns:p="http://schemas.openxmlformats.org/presentationml/2006/main">
  <p:tag name="OTLMARKERSHAPE" val="OTL"/>
</p:tagLst>
</file>

<file path=ppt/tags/tag257.xml><?xml version="1.0" encoding="utf-8"?>
<p:tagLst xmlns:a="http://schemas.openxmlformats.org/drawingml/2006/main" xmlns:r="http://schemas.openxmlformats.org/officeDocument/2006/relationships" xmlns:p="http://schemas.openxmlformats.org/presentationml/2006/main">
  <p:tag name="OTLMARKERSHAPE" val="OTL"/>
</p:tagLst>
</file>

<file path=ppt/tags/tag258.xml><?xml version="1.0" encoding="utf-8"?>
<p:tagLst xmlns:a="http://schemas.openxmlformats.org/drawingml/2006/main" xmlns:r="http://schemas.openxmlformats.org/officeDocument/2006/relationships" xmlns:p="http://schemas.openxmlformats.org/presentationml/2006/main">
  <p:tag name="OTLMARKERSHAPE" val="OTL"/>
</p:tagLst>
</file>

<file path=ppt/tags/tag259.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60.xml><?xml version="1.0" encoding="utf-8"?>
<p:tagLst xmlns:a="http://schemas.openxmlformats.org/drawingml/2006/main" xmlns:r="http://schemas.openxmlformats.org/officeDocument/2006/relationships" xmlns:p="http://schemas.openxmlformats.org/presentationml/2006/main">
  <p:tag name="OTLMARKERSHAPE" val="OTL"/>
</p:tagLst>
</file>

<file path=ppt/tags/tag261.xml><?xml version="1.0" encoding="utf-8"?>
<p:tagLst xmlns:a="http://schemas.openxmlformats.org/drawingml/2006/main" xmlns:r="http://schemas.openxmlformats.org/officeDocument/2006/relationships" xmlns:p="http://schemas.openxmlformats.org/presentationml/2006/main">
  <p:tag name="OTLMARKERSHAPE" val="OTL"/>
</p:tagLst>
</file>

<file path=ppt/tags/tag262.xml><?xml version="1.0" encoding="utf-8"?>
<p:tagLst xmlns:a="http://schemas.openxmlformats.org/drawingml/2006/main" xmlns:r="http://schemas.openxmlformats.org/officeDocument/2006/relationships" xmlns:p="http://schemas.openxmlformats.org/presentationml/2006/main">
  <p:tag name="OTLMARKERSHAPE" val="OTL"/>
</p:tagLst>
</file>

<file path=ppt/tags/tag263.xml><?xml version="1.0" encoding="utf-8"?>
<p:tagLst xmlns:a="http://schemas.openxmlformats.org/drawingml/2006/main" xmlns:r="http://schemas.openxmlformats.org/officeDocument/2006/relationships" xmlns:p="http://schemas.openxmlformats.org/presentationml/2006/main">
  <p:tag name="OTLMARKERSHAPE" val="OTL"/>
</p:tagLst>
</file>

<file path=ppt/tags/tag264.xml><?xml version="1.0" encoding="utf-8"?>
<p:tagLst xmlns:a="http://schemas.openxmlformats.org/drawingml/2006/main" xmlns:r="http://schemas.openxmlformats.org/officeDocument/2006/relationships" xmlns:p="http://schemas.openxmlformats.org/presentationml/2006/main">
  <p:tag name="OTLMARKERSHAPE" val="OTL"/>
</p:tagLst>
</file>

<file path=ppt/tags/tag265.xml><?xml version="1.0" encoding="utf-8"?>
<p:tagLst xmlns:a="http://schemas.openxmlformats.org/drawingml/2006/main" xmlns:r="http://schemas.openxmlformats.org/officeDocument/2006/relationships" xmlns:p="http://schemas.openxmlformats.org/presentationml/2006/main">
  <p:tag name="OTLMARKERSHAPE" val="OTL"/>
</p:tagLst>
</file>

<file path=ppt/tags/tag266.xml><?xml version="1.0" encoding="utf-8"?>
<p:tagLst xmlns:a="http://schemas.openxmlformats.org/drawingml/2006/main" xmlns:r="http://schemas.openxmlformats.org/officeDocument/2006/relationships" xmlns:p="http://schemas.openxmlformats.org/presentationml/2006/main">
  <p:tag name="OTLMARKERSHAPE" val="OTL"/>
</p:tagLst>
</file>

<file path=ppt/tags/tag267.xml><?xml version="1.0" encoding="utf-8"?>
<p:tagLst xmlns:a="http://schemas.openxmlformats.org/drawingml/2006/main" xmlns:r="http://schemas.openxmlformats.org/officeDocument/2006/relationships" xmlns:p="http://schemas.openxmlformats.org/presentationml/2006/main">
  <p:tag name="OTLMARKERSHAPE" val="OTL"/>
</p:tagLst>
</file>

<file path=ppt/tags/tag268.xml><?xml version="1.0" encoding="utf-8"?>
<p:tagLst xmlns:a="http://schemas.openxmlformats.org/drawingml/2006/main" xmlns:r="http://schemas.openxmlformats.org/officeDocument/2006/relationships" xmlns:p="http://schemas.openxmlformats.org/presentationml/2006/main">
  <p:tag name="OTLMARKERSHAPE" val="OTL"/>
</p:tagLst>
</file>

<file path=ppt/tags/tag269.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70.xml><?xml version="1.0" encoding="utf-8"?>
<p:tagLst xmlns:a="http://schemas.openxmlformats.org/drawingml/2006/main" xmlns:r="http://schemas.openxmlformats.org/officeDocument/2006/relationships" xmlns:p="http://schemas.openxmlformats.org/presentationml/2006/main">
  <p:tag name="OTLMARKERSHAPE" val="OTL"/>
</p:tagLst>
</file>

<file path=ppt/tags/tag271.xml><?xml version="1.0" encoding="utf-8"?>
<p:tagLst xmlns:a="http://schemas.openxmlformats.org/drawingml/2006/main" xmlns:r="http://schemas.openxmlformats.org/officeDocument/2006/relationships" xmlns:p="http://schemas.openxmlformats.org/presentationml/2006/main">
  <p:tag name="OTLMARKERSHAPE" val="OTL"/>
</p:tagLst>
</file>

<file path=ppt/tags/tag272.xml><?xml version="1.0" encoding="utf-8"?>
<p:tagLst xmlns:a="http://schemas.openxmlformats.org/drawingml/2006/main" xmlns:r="http://schemas.openxmlformats.org/officeDocument/2006/relationships" xmlns:p="http://schemas.openxmlformats.org/presentationml/2006/main">
  <p:tag name="OTLMARKERSHAPE" val="OTL"/>
</p:tagLst>
</file>

<file path=ppt/tags/tag273.xml><?xml version="1.0" encoding="utf-8"?>
<p:tagLst xmlns:a="http://schemas.openxmlformats.org/drawingml/2006/main" xmlns:r="http://schemas.openxmlformats.org/officeDocument/2006/relationships" xmlns:p="http://schemas.openxmlformats.org/presentationml/2006/main">
  <p:tag name="OTLMARKERSHAPE" val="OTL"/>
</p:tagLst>
</file>

<file path=ppt/tags/tag274.xml><?xml version="1.0" encoding="utf-8"?>
<p:tagLst xmlns:a="http://schemas.openxmlformats.org/drawingml/2006/main" xmlns:r="http://schemas.openxmlformats.org/officeDocument/2006/relationships" xmlns:p="http://schemas.openxmlformats.org/presentationml/2006/main">
  <p:tag name="OTLMARKERSHAPE" val="OTL"/>
</p:tagLst>
</file>

<file path=ppt/tags/tag275.xml><?xml version="1.0" encoding="utf-8"?>
<p:tagLst xmlns:a="http://schemas.openxmlformats.org/drawingml/2006/main" xmlns:r="http://schemas.openxmlformats.org/officeDocument/2006/relationships" xmlns:p="http://schemas.openxmlformats.org/presentationml/2006/main">
  <p:tag name="OTLMARKERSHAPE" val="OTL"/>
</p:tagLst>
</file>

<file path=ppt/tags/tag276.xml><?xml version="1.0" encoding="utf-8"?>
<p:tagLst xmlns:a="http://schemas.openxmlformats.org/drawingml/2006/main" xmlns:r="http://schemas.openxmlformats.org/officeDocument/2006/relationships" xmlns:p="http://schemas.openxmlformats.org/presentationml/2006/main">
  <p:tag name="OTLMARKERSHAPE" val="OTL"/>
</p:tagLst>
</file>

<file path=ppt/tags/tag277.xml><?xml version="1.0" encoding="utf-8"?>
<p:tagLst xmlns:a="http://schemas.openxmlformats.org/drawingml/2006/main" xmlns:r="http://schemas.openxmlformats.org/officeDocument/2006/relationships" xmlns:p="http://schemas.openxmlformats.org/presentationml/2006/main">
  <p:tag name="OTLMARKERSHAPE" val="OTL"/>
</p:tagLst>
</file>

<file path=ppt/tags/tag278.xml><?xml version="1.0" encoding="utf-8"?>
<p:tagLst xmlns:a="http://schemas.openxmlformats.org/drawingml/2006/main" xmlns:r="http://schemas.openxmlformats.org/officeDocument/2006/relationships" xmlns:p="http://schemas.openxmlformats.org/presentationml/2006/main">
  <p:tag name="OTLMARKERSHAPE" val="OTL"/>
</p:tagLst>
</file>

<file path=ppt/tags/tag279.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80.xml><?xml version="1.0" encoding="utf-8"?>
<p:tagLst xmlns:a="http://schemas.openxmlformats.org/drawingml/2006/main" xmlns:r="http://schemas.openxmlformats.org/officeDocument/2006/relationships" xmlns:p="http://schemas.openxmlformats.org/presentationml/2006/main">
  <p:tag name="OTLMARKERSHAPE" val="OTL"/>
</p:tagLst>
</file>

<file path=ppt/tags/tag281.xml><?xml version="1.0" encoding="utf-8"?>
<p:tagLst xmlns:a="http://schemas.openxmlformats.org/drawingml/2006/main" xmlns:r="http://schemas.openxmlformats.org/officeDocument/2006/relationships" xmlns:p="http://schemas.openxmlformats.org/presentationml/2006/main">
  <p:tag name="__PART_0" val="eyIkaWQiOiIxIiwiQ3VsdHVyZUluZm9OYW1lIjoiZW4tVVMiLCJTdHlsZU5hbWUiOiJHYW50dCIsIklzVGVtcGxhdGUiOmZhbHNlLCJWZXJzaW9uIjp7IiRpZCI6IjIiLCJWZXJzaW9uIjoiMy4wLjEiLCJPcmlnaW5hbEFzc2VtYmx5VmVyc2lvbiI6IjMuMDYuMDAuMDAiLCJFZGl0aW9uIjoiUGx1cyIsIklzUGx1c0VkaXRpb24iOnRydWV9LCJFZmZlY3QiOjEsIlN0eWxlIjp7IiRpZCI6IjMiLCJUaW1lYmFuZFN0eWxlIjp7IiRpZCI6IjQiLCJTY2FsZU1hcmtpbmciOjEsIlNoYXBlIjoxMCwiU2hhcGVTdHlsZSI6eyIkaWQiOiI1IiwiTWFyZ2luIjp7IiRpZCI6IjYiLCJUb3AiOjAsIkxlZnQiOjEwLCJSaWdodCI6MTAsIkJvdHRvbSI6MH0sIlBhZGRpbmciOnsiJGlkIjoiNyIsIlRvcCI6MywiTGVmdCI6MCwiUmlnaHQiOjAsIkJvdHRvbSI6M30sIkJhY2tncm91bmQiOnsiJGlkIjoiOCIsIkNvbG9yIjp7IiRpZCI6IjkiLCJBIjoyNTUsIlIiOjY4LCJHIjo4NCwiQiI6MTA2fX0sIklzVmlzaWJsZSI6dHJ1ZSwiV2lkdGgiOjg1OC4wLCJIZWlnaHQiOjIwLjAsIkJvcmRlclN0eWxlIjp7IiRpZCI6IjEwIiwiTGluZUNvbG9yIjp7IiRpZCI6IjExIiwiJHR5cGUiOiJOTFJFLkNvbW1vbi5Eb20uU29saWRDb2xvckJydXNoLCBOTFJFLkNvbW1vbiIsIkNvbG9yIjp7IiRpZCI6IjEyIiwiQSI6MjU1LCJSIjoyNTUsIkciOjAsIkIiOjB9fSwiTGluZVdlaWdodCI6MC4wLCJMaW5lVHlwZSI6MCwiUGFyZW50U3R5bGUiOm51bGx9LCJQYXJlbnRTdHlsZSI6bnVsbH0sIlJpZ2h0RW5kQ2Fwc1N0eWxlIjp7IiRpZCI6IjEzIiwiRm9udFNldHRpbmdzIjp7IiRpZCI6IjE0IiwiRm9udFNpemUiOjE4LCJGb250TmFtZSI6IkNhbGlicmkiLCJJc0JvbGQiOnRydWUsIklzSXRhbGljIjpmYWxzZSwiSXNVbmRlcmxpbmVkIjpmYWxzZSwiUGFyZW50U3R5bGUiOm51bGx9LCJBdXRvU2l6ZSI6MCwiRm9yZWdyb3VuZCI6eyIkaWQiOiIxNSIsIkNvbG9yIjp7IiRpZCI6IjE2IiwiQSI6MjU1LCJSIjoxOTAsIkciOjIwNSwiQiI6MjE1fX0sIk1heFdpZHRoIjoiSW5maW5pdHkiLCJNYXhIZWlnaHQiOiJJbmZpbml0eSIsIlNtYXJ0Rm9yZWdyb3VuZElzQWN0aXZlIjpmYWxzZSwiSG9yaXpvbnRhbEFsaWdubWVudCI6MCwiVmVydGljYWxBbGlnbm1lbnQiOjAsIlNtYXJ0Rm9yZWdyb3VuZCI6bnVsbCwiTWFyZ2luIjp7IiRpZCI6IjE3IiwiVG9wIjowLCJMZWZ0IjowLCJSaWdodCI6MjAsIkJvdHRvbSI6MH0sIlBhZGRpbmciOnsiJGlkIjoiMTgiLCJUb3AiOjAsIkxlZnQiOjAsIlJpZ2h0IjowLCJCb3R0b20iOjB9LCJCYWNrZ3JvdW5kIjp7IiRpZCI6IjE5IiwiQ29sb3IiOnsiJGlkIjoiMjAiLCJBIjo4OSwiUiI6MCwiRyI6MCwiQiI6MH19LCJJc1Zpc2libGUiOnRydWUsIldpZHRoIjowLjAsIkhlaWdodCI6MC4wLCJCb3JkZXJTdHlsZSI6bnVsbCwiUGFyZW50U3R5bGUiOm51bGx9LCJMZWZ0RW5kQ2Fwc1N0eWxlIjp7IiRpZCI6IjIxIiwiRm9udFNldHRpbmdzIjp7IiRpZCI6IjIyIiwiRm9udFNpemUiOjE4LCJGb250TmFtZSI6IkNhbGlicmkiLCJJc0JvbGQiOnRydWUsIklzSXRhbGljIjpmYWxzZSwiSXNVbmRlcmxpbmVkIjpmYWxzZSwiUGFyZW50U3R5bGUiOm51bGx9LCJBdXRvU2l6ZSI6MCwiRm9yZWdyb3VuZCI6eyIkaWQiOiIyMyIsIkNvbG9yIjp7IiRpZCI6IjI0IiwiQSI6MjU1LCJSIjoxOTAsIkciOjIwNSwiQiI6MjE1fX0sIk1heFdpZHRoIjoiSW5maW5pdHkiLCJNYXhIZWlnaHQiOiJJbmZpbml0eSIsIlNtYXJ0Rm9yZWdyb3VuZElzQWN0aXZlIjpmYWxzZSwiSG9yaXpvbnRhbEFsaWdubWVudCI6MCwiVmVydGljYWxBbGlnbm1lbnQiOjAsIlNtYXJ0Rm9yZWdyb3VuZCI6bnVsbCwiTWFyZ2luIjp7IiRpZCI6IjI1IiwiVG9wIjowLCJMZWZ0IjoyMC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1hcmdpbiI6eyIkaWQiOiIzMiIsIlRvcCI6MCwiTGVmdCI6MCwiUmlnaHQiOjAsIkJvdHRvbSI6MH0sIlBhZGRpbmciOnsiJGlkIjoiMzMiLCJUb3AiOjAsIkxlZnQiOjAsIlJpZ2h0IjowLCJCb3R0b20iOjB9LCJCYWNrZ3JvdW5kIjp7IiRpZCI6IjM0IiwiQ29sb3IiOnsiJHJlZiI6IjIwIn19LCJJc1Zpc2libGUiOnRydWUsIldpZHRoIjowLjAsIkhlaWdodCI6MC4wLCJCb3JkZXJTdHlsZSI6bnVsbCwiUGFyZW50U3R5bGUiOm51bGx9LCJUb2RheU1hcmtlclN0eWxlIjp7IiRpZCI6IjM1IiwiTWFyZ2luIjp7IiRpZCI6IjM2IiwiVG9wIjowLCJMZWZ0IjowLCJSaWdodCI6MCwiQm90dG9tIjowfSwiUGFkZGluZyI6eyIkaWQiOiIzNyIsIlRvcCI6MCwiTGVmdCI6MCwiUmlnaHQiOjAsIkJvdHRvbSI6MH0sIkJhY2tncm91bmQiOnsiJGlkIjoiMzgiLCJDb2xvciI6eyIkaWQiOiIzOSIsIkEiOjI1NSwiUiI6MjU1LCJHIjowLCJCIjowfX0sIklzVmlzaWJsZSI6dHJ1ZSwiV2lkdGgiOjAuMCwiSGVpZ2h0IjowLjAsIkJvcmRlclN0eWxlIjpudWxsLCJQYXJlbnRTdHlsZSI6bnVsbH0sIlNjYWxlU3R5bGUiOnsiJGlkIjoiNDAiLCJTaG93U2VnbWVudFNlcGFyYXRvcnMiOmZhbHNlLCJTZWdtZW50U2VwYXJhdG9yT3BhY2l0eSI6MzAsIkZvbnRTZXR0aW5ncyI6eyIkaWQiOiI0MSIsIkZvbnRTaXplIjoxMiwiRm9udE5hbWUiOiJDYWxpYnJpIiwiSXNCb2xkIjpmYWxzZSwiSXNJdGFsaWMiOmZhbHNlLCJJc1VuZGVybGluZWQiOmZhbHNlLCJQYXJlbnRTdHlsZSI6bnVsbH0sIkF1dG9TaXplIjowLCJGb3JlZ3JvdW5kIjp7IiRpZCI6IjQyIiwiQ29sb3IiOnsiJGlkIjoiNDMiLCJBIjoyNTUsIlIiOjI1NSwiRyI6MjU1LCJCIjoyNTV9fSwiTWF4V2lkdGgiOjIwMC4wLCJNYXhIZWlnaHQiOiJJbmZpbml0eSIsIlNtYXJ0Rm9yZWdyb3VuZElzQWN0aXZlIjpmYWxzZSwiSG9yaXpvbnRhbEFsaWdubWVudCI6MCwiVmVydGljYWxBbGlnbm1lbnQiOjEsIlNtYXJ0Rm9yZWdyb3VuZCI6bnVsb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NTUsIkciOjAsIkIiOjB9fSwiQXBwZW5kWWVhck9uWWVhckNoYW5nZSI6ZmFsc2UsIkVsYXBzZWRUaW1lRm9ybWF0IjoyLCJUb2RheU1hcmtlclBvc2l0aW9uIjozLCJRdWlja1Bvc2l0aW9uIjoyLCJBYnNvbHV0ZVBvc2l0aW9uIjo0MDUuMDkzNzUsIk1hcmdpbiI6eyIkaWQiOiI0OSIsIlRvcCI6MCwiTGVmdCI6MTAsIlJpZ2h0IjoxMCwiQm90dG9tIjowfSwiUGFkZGluZyI6eyIkaWQiOiI1MCIsIlRvcCI6MCwiTGVmdCI6MCwiUmlnaHQiOjAsIkJvdHRvbSI6MH0sIkJhY2tncm91bmQiOnsiJGlkIjoiNTEiLCJDb2xvciI6eyIkaWQiOiI1MiIsIkEiOjI1NSwiUiI6MzEsIkciOjczLCJCIjoxMjV9fSwiSXNWaXNpYmxlIjp0cnVlLCJXaWR0aCI6MC4wLCJIZWlnaHQiOjAuMCwiQm9yZGVyU3R5bGUiOm51bGwsIlBhcmVudFN0eWxlIjpudWxsfSwiRGVmYXVsdE1pbGVzdG9uZVN0eWxlIjp7IiRpZCI6IjUzIiwiU2hhcGUiOjIsIkNvbm5lY3Rvck1hcmdpbiI6eyIkaWQiOiI1NCIsIlRvcCI6MCwiTGVmdCI6MiwiUmlnaHQiOjIsIkJvdHRvbSI6MH0sIkNvbm5lY3RvclN0eWxlIjp7IiRpZCI6IjU1IiwiTGluZUNvbG9yIjp7IiRpZCI6IjU2IiwiJHR5cGUiOiJOTFJFLkNvbW1vbi5Eb20uU29saWRDb2xvckJydXNoLCBOTFJFLkNvbW1vbiIsIkNvbG9yIjp7IiRpZCI6IjU3IiwiQSI6MjU1LCJSIjozMSwiRyI6NzMsIkIiOjEyNn19LCJMaW5lV2VpZ2h0IjoxLjAsIkxpbmVUeXBlIjowLCJQYXJlbnRTdHlsZSI6bnVsbH0sIklzQmVsb3dUaW1lYmFuZCI6ZmFsc2UsIkhpZGVEYXRlIjpmYWxzZSwiU2hhcGVTaXplIjoxLCJTcGFjaW5nIjoy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m51bGwsIklzVmlzaWJsZSI6dHJ1ZSwiV2lkdGgiOjEzLjAsIkhlaWdodCI6MTMuMCwiQm9yZGVyU3R5bGUiOnsiJGlkIjoiNjIiLCJMaW5lQ29sb3IiOnsiJGlkIjoiNjMiLCIkdHlwZSI6Ik5MUkUuQ29tbW9uLkRvbS5Tb2xpZENvbG9yQnJ1c2gsIE5MUkUuQ29tbW9uIiwiQ29sb3IiOnsiJGlkIjoiNjQiLCJBIjoyNTUsIlIiOjI1NSwiRyI6MCwiQiI6MH19LCJMaW5lV2VpZ2h0IjowLjAsIkxpbmVUeXBlIjowLCJQYXJlbnRTdHlsZSI6bnVsbH0sIlBhcmVudFN0eWxlIjpudWxsfSwiVGl0bGVTdHlsZSI6eyIkaWQiOiI2NSIsIkZvbnRTZXR0aW5ncyI6eyIkaWQiOiI2NiIsIkZvbnRTaXplIjoxMSwiRm9udE5hbWUiOiJDYWxpYnJpIiwiSXNCb2xkIjp0cnVlLCJJc0l0YWxpYyI6ZmFsc2UsIklzVW5kZXJsaW5lZCI6ZmFsc2UsIlBhcmVudFN0eWxlIjpudWxsfSwiQXV0b1NpemUiOjAsIkZvcmVncm91bmQiOnsiJGlkIjoiNjciLCJDb2xvciI6eyIkaWQiOiI2OCIsIkEiOjI1NSwiUiI6MCwiRyI6MCwiQiI6MH19LCJNYXhXaWR0aCI6MjAwLjAsIk1heEhlaWdodCI6IkluZmluaXR5IiwiU21hcnRGb3JlZ3JvdW5kSXNBY3RpdmUiOmZhbHNlLCJIb3Jpem9udGFsQWxpZ25tZW50IjowLCJWZXJ0aWNhbEFsaWdubWVudCI6MCwiU21hcnRGb3JlZ3JvdW5kIjpudWxsLCJNYXJnaW4iOnsiJGlkIjoiNjkiLCJUb3AiOjAsIkxlZnQiOjAsIlJpZ2h0IjowLCJCb3R0b20iOjB9LCJQYWRkaW5nIjp7IiRpZCI6IjcwIiwiVG9wIjowLCJMZWZ0IjowLCJSaWdodCI6MCwiQm90dG9tIjowfSwiQmFja2dyb3VuZCI6eyIkaWQiOiI3MSIsIkNvbG9yIjp7IiRyZWYiOiIyMCJ9fSwiSXNWaXNpYmxlIjp0cnVlLCJXaWR0aCI6MC4wLCJIZWlnaHQiOjAuMCwiQm9yZGVyU3R5bGUiOm51bGwsIlBhcmVudFN0eWxlIjpudWxsfSwiRGF0ZVN0eWxlIjp7IiRpZCI6IjcyIiwiRm9udFNldHRpbmdzIjp7IiRpZCI6IjczIiwiRm9udFNpemUiOjEwLCJGb250TmFtZSI6IkNhbGlicmkiLCJJc0JvbGQiOmZhbHNlLCJJc0l0YWxpYyI6ZmFsc2UsIklzVW5kZXJsaW5lZCI6ZmFsc2UsIlBhcmVudFN0eWxlIjpudWxsfSwiQXV0b1NpemUiOjAsIkZvcmVncm91bmQiOnsiJGlkIjoiNzQiLCJDb2xvciI6eyIkaWQiOiI3NSIsIkEiOjI1NSwiUiI6MCwiRyI6MCwiQiI6MH19LCJNYXhXaWR0aCI6MjAwLjAsIk1heEhlaWdodCI6IkluZmluaXR5IiwiU21hcnRGb3JlZ3JvdW5kSXNBY3RpdmUiOmZhbHNlLCJIb3Jpem9udGFsQWxpZ25tZW50IjowLCJWZXJ0aWNhbEFsaWdubWVudCI6MCwiU21hcnRGb3JlZ3JvdW5kIjpudWxsLCJNYXJnaW4iOnsiJGlkIjoiNzYiLCJUb3AiOjAsIkxlZnQiOjAsIlJpZ2h0IjowLCJCb3R0b20iOjB9LCJQYWRkaW5nIjp7IiRpZCI6Ijc3IiwiVG9wIjowLCJMZWZ0IjowLCJSaWdodCI6MCwiQm90dG9tIjowfSwiQmFja2dyb3VuZCI6eyIkaWQiOiI3OCIsIkNvbG9yIjp7IiRyZWYiOiIyMCJ9fSwiSXNWaXNpYmxlIjp0cnVlLCJXaWR0aCI6MC4wLCJIZWlnaHQiOjAuMCwiQm9yZGVyU3R5bGUiOm51bGwsIlBhcmVudFN0eWxlIjpudWxsfSwiRGF0ZUZvcm1hdCI6eyIkaWQiOiI3OSIsIkZvcm1hdFN0cmluZyI6Ik1NTSBkIiwiU2VwYXJhdG9yIjoiLyIsIlVzZUludGVybmF0aW9uYWxEYXRlRm9ybWF0IjpmYWxzZX0sIklzVmlzaWJsZSI6dHJ1ZSwiUGFyZW50U3R5bGUiOm51bGx9LCJEZWZhdWx0VGFza1N0eWxlIjp7IiRpZCI6IjgwIiwiU2hhcGUiOjEsIlNoYXBlVGhpY2tuZXNzIjowLCJEdXJhdGlvbkZvcm1hdCI6MCwiSW5jbHVkZU5vbldvcmtpbmdEYXlzSW5EdXJhdGlvbiI6dHJ1ZSwiUGVyY2VudGFnZUNvbXBsZXRlU3R5bGUiOnsiJGlkIjoiODEiLCJGb250U2V0dGluZ3MiOnsiJGlkIjoiODIiLCJGb250U2l6ZSI6MTAsIkZvbnROYW1lIjoiQ2FsaWJyaSIsIklzQm9sZCI6ZmFsc2UsIklzSXRhbGljIjpmYWxzZSwiSXNVbmRlcmxpbmVkIjpmYWxzZSwiUGFyZW50U3R5bGUiOm51bGx9LCJBdXRvU2l6ZSI6MCwiRm9yZWdyb3VuZCI6eyIkaWQiOiI4MyIsIkNvbG9yIjp7IiRpZCI6Ijg0IiwiQSI6MjU1LCJSIjoxOTIsIkciOjgwLCJCIjo3N319LCJNYXhXaWR0aCI6MjAwLjAsIk1heEhlaWdodCI6IkluZmluaXR5IiwiU21hcnRGb3JlZ3JvdW5kSXNBY3RpdmUiOmZhbHNlLCJIb3Jpem9udGFsQWxpZ25tZW50IjowLCJWZXJ0aWNhbEFsaWdubWVudCI6MCwiU21hcnRGb3JlZ3JvdW5kIjpudWxsLCJNYXJnaW4iOnsiJGlkIjoiODUiLCJUb3AiOjAsIkxlZnQiOjAsIlJpZ2h0IjowLCJCb3R0b20iOjB9LCJQYWRkaW5nIjp7IiRpZCI6Ijg2IiwiVG9wIjowLCJMZWZ0IjowLCJSaWdodCI6MCwiQm90dG9tIjowfSwiQmFja2dyb3VuZCI6eyIkaWQiOiI4NyIsIkNvbG9yIjp7IiRyZWYiOiIyMCJ9fSwiSXNWaXNpYmxlIjp0cnVlLCJXaWR0aCI6MC4wLCJIZWlnaHQiOjAuMCwiQm9yZGVyU3R5bGUiOm51bGwsIlBhcmVudFN0eWxlIjpudWxsfSwiRHVyYXRpb25TdHlsZSI6eyIkaWQiOiI4OCIsIkZvbnRTZXR0aW5ncyI6eyIkaWQiOiI4OSIsIkZvbnRTaXplIjoxMCwiRm9udE5hbWUiOiJDYWxpYnJpIiwiSXNCb2xkIjpmYWxzZSwiSXNJdGFsaWMiOmZhbHNlLCJJc1VuZGVybGluZWQiOmZhbHNlLCJQYXJlbnRTdHlsZSI6bnVsbH0sIkF1dG9TaXplIjowLCJGb3JlZ3JvdW5kIjp7IiRpZCI6IjkwIiwiQ29sb3IiOnsiJGlkIjoiOTEiLCJBIjoyNTUsIlIiOjE5MCwiRyI6MjA1LCJCIjoyMTV9fSwiTWF4V2lkdGgiOjIwMC4wLCJNYXhIZWlnaHQiOiJJbmZpbml0eSIsIlNtYXJ0Rm9yZWdyb3VuZElzQWN0aXZlIjpmYWxzZSwiSG9yaXpvbnRhbEFsaWdubWVudCI6MCwiVmVydGljYWxBbGlnbm1lbnQiOjAsIlNtYXJ0Rm9yZWdyb3VuZCI6bnVsbCwiTWFyZ2luIjp7IiRpZCI6IjkyIiwiVG9wIjowLCJMZWZ0IjowLCJSaWdodCI6MCwiQm90dG9tIjowfSwiUGFkZGluZyI6eyIkaWQiOiI5MyIsIlRvcCI6MCwiTGVmdCI6MCwiUmlnaHQiOjAsIkJvdHRvbSI6MH0sIkJhY2tncm91bmQiOnsiJGlkIjoiOTQiLCJDb2xvciI6eyIkcmVmIjoiMjAifX0sIklzVmlzaWJsZSI6dHJ1ZSwiV2lkdGgiOjAuMCwiSGVpZ2h0IjowLjAsIkJvcmRlclN0eWxlIjpudWxsLCJQYXJlbnRTdHlsZSI6bnVsbH0sIkhvcml6b250YWxDb25uZWN0b3JTdHlsZSI6eyIkaWQiOiI5NSIsIkxpbmVDb2xvciI6eyIkaWQiOiI5NiIsIiR0eXBlIjoiTkxSRS5Db21tb24uRG9tLlNvbGlkQ29sb3JCcnVzaCwgTkxSRS5Db21tb24iLCJDb2xvciI6eyIkaWQiOiI5NyIsIkEiOjI1NSwiUiI6MjA0LCJHIjoyMDQsIkIiOjIwNH19LCJMaW5lV2VpZ2h0IjowLjAsIkxpbmVUeXBlIjowLCJQYXJlbnRTdHlsZSI6bnVsbH0sIlZlcnRpY2FsQ29ubmVjdG9yU3R5bGUiOnsiJGlkIjoiOTgiLCJMaW5lQ29sb3IiOnsiJGlkIjoiOTkiLCIkdHlwZSI6Ik5MUkUuQ29tbW9uLkRvbS5Tb2xpZENvbG9yQnJ1c2gsIE5MUkUuQ29tbW9uIiwiQ29sb3IiOnsiJGlkIjoiMTAwIiwiQSI6MjU1LCJSIjoyMDQsIkciOjIwNCwiQiI6MjA0fX0sIkxpbmVXZWlnaHQiOjAuMCwiTGluZVR5cGUiOjAsIlBhcmVudFN0eWxlIjpudWxs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TAxIiwiTWFyZ2luIjp7IiRpZCI6IjEwMiIsIlRvcCI6MCwiTGVmdCI6NCwiUmlnaHQiOjQsIkJvdHRvbSI6MH0sIlBhZGRpbmciOnsiJGlkIjoiMTAzIiwiVG9wIjowLCJMZWZ0IjowLCJSaWdodCI6MCwiQm90dG9tIjowfSwiQmFja2dyb3VuZCI6bnVsbCwiSXNWaXNpYmxlIjp0cnVlLCJXaWR0aCI6MC4wLCJIZWlnaHQiOjEwLjAsIkJvcmRlclN0eWxlIjp7IiRpZCI6IjEwNCIsIkxpbmVDb2xvciI6eyIkaWQiOiIxMDUiLCIkdHlwZSI6Ik5MUkUuQ29tbW9uLkRvbS5Tb2xpZENvbG9yQnJ1c2gsIE5MUkUuQ29tbW9uIiwiQ29sb3IiOnsiJGlkIjoiMTA2IiwiQSI6MjU1LCJSIjoyNTUsIkciOjAsIkIiOjB9fSwiTGluZVdlaWdodCI6MC4wLCJMaW5lVHlwZSI6MCwiUGFyZW50U3R5bGUiOm51bGx9LCJQYXJlbnRTdHlsZSI6bnVsbH0sIlRpdGxlU3R5bGUiOnsiJGlkIjoiMTA3IiwiRm9udFNldHRpbmdzIjp7IiRpZCI6IjEwOCIsIkZvbnRTaXplIjoxMSwiRm9udE5hbWUiOiJDYWxpYnJpIiwiSXNCb2xkIjp0cnVlLCJJc0l0YWxpYyI6ZmFsc2UsIklzVW5kZXJsaW5lZCI6ZmFsc2UsIlBhcmVudFN0eWxlIjpudWxsfSwiQXV0b1NpemUiOjAsIkZvcmVncm91bmQiOnsiJGlkIjoiMTA5IiwiQ29sb3IiOnsiJGlkIjoiMTEwIiwiQSI6MjU1LCJSIjowLCJHIjowLCJCIjowfX0sIk1heFdpZHRoIjo5NjAuNSwiTWF4SGVpZ2h0IjoiSW5maW5pdHkiLCJTbWFydEZvcmVncm91bmRJc0FjdGl2ZSI6ZmFsc2UsIkhvcml6b250YWxBbGlnbm1lbnQiOjIsIlZlcnRpY2FsQWxpZ25tZW50IjowLCJTbWFydEZvcmVncm91bmQiOm51bGwsIk1hcmdpbiI6eyIkaWQiOiIxMTEiLCJUb3AiOjAsIkxlZnQiOjAsIlJpZ2h0IjowLCJCb3R0b20iOjB9LCJQYWRkaW5nIjp7IiRpZCI6IjExMiIsIlRvcCI6MCwiTGVmdCI6MCwiUmlnaHQiOjAsIkJvdHRvbSI6MH0sIkJhY2tncm91bmQiOnsiJGlkIjoiMTEzIiwiQ29sb3IiOnsiJHJlZiI6IjIwIn19LCJJc1Zpc2libGUiOnRydWUsIldpZHRoIjowLjAsIkhlaWdodCI6MC4wLCJCb3JkZXJTdHlsZSI6bnVsbCwiUGFyZW50U3R5bGUiOm51bGx9LCJEYXRlU3R5bGUiOnsiJGlkIjoiMTE0IiwiRm9udFNldHRpbmdzIjp7IiRpZCI6IjExNSIsIkZvbnRTaXplIjoxMCwiRm9udE5hbWUiOiJDYWxpYnJpIiwiSXNCb2xkIjpmYWxzZSwiSXNJdGFsaWMiOmZhbHNlLCJJc1VuZGVybGluZWQiOmZhbHNlLCJQYXJlbnRTdHlsZSI6bnVsbH0sIkF1dG9TaXplIjowLCJGb3JlZ3JvdW5kIjp7IiRpZCI6IjExNiIsIkNvbG9yIjp7IiRpZCI6IjExNyIsIkEiOjI1NSwiUiI6MCwiRyI6MCwiQiI6MH19LCJNYXhXaWR0aCI6MjAwLjAsIk1heEhlaWdodCI6IkluZmluaXR5IiwiU21hcnRGb3JlZ3JvdW5kSXNBY3RpdmUiOmZhbHNlLCJIb3Jpem9udGFsQWxpZ25tZW50IjowLCJWZXJ0aWNhbEFsaWdubWVudCI6MCwiU21hcnRGb3JlZ3JvdW5kIjpudWxsLCJNYXJnaW4iOnsiJGlkIjoiMTE4IiwiVG9wIjowLCJMZWZ0IjowLCJSaWdodCI6MCwiQm90dG9tIjowfSwiUGFkZGluZyI6eyIkaWQiOiIxMTkiLCJUb3AiOjAsIkxlZnQiOjAsIlJpZ2h0IjowLCJCb3R0b20iOjB9LCJCYWNrZ3JvdW5kIjp7IiRpZCI6IjEyMCIsIkNvbG9yIjp7IiRyZWYiOiIyMCJ9fSwiSXNWaXNpYmxlIjp0cnVlLCJXaWR0aCI6MC4wLCJIZWlnaHQiOjAuMCwiQm9yZGVyU3R5bGUiOm51bGwsIlBhcmVudFN0eWxlIjpudWxsfSwiRGF0ZUZvcm1hdCI6eyIkaWQiOiIxMjEiLCJGb3JtYXRTdHJpbmciOiJNTU0gZCIsIlNlcGFyYXRvciI6Ii8iLCJVc2VJbnRlcm5hdGlvbmFsRGF0ZUZvcm1hdCI6ZmFsc2V9LCJJc1Zpc2libGUiOnRydWUsIlBhcmVudFN0eWxlIjpudWxsfSwiU2hvd0VsYXBzZWRUaW1lR3JhZGllbnRTdHlsZSI6ZmFsc2V9LCJTY2FsZSI6eyIkaWQiOiIxMjIiLCJTdGFydERhdGUiOiIyMDE3LTA4LTExVDAwOjAwOjAwWiIsIkVuZERhdGUiOiIyMDE4LTAzLTMxVDIzOjU5OjU5Ljk5OVoiLCJGb3JtYXQiOiJNTU0iLCJUeXBlIjoyLCJBdXRvRGF0ZVJhbmdlIjp0cnVlLCJXb3JraW5nRGF5cyI6MzEsIlRvZGF5TWFya2VyVGV4dCI6IlRvZGF5IiwiQXV0b1NjYWxlVHlwZSI6dHJ1ZX0sIk1pbGVzdG9uZXMiOlt7IiRpZCI6IjEyMyIsIkRhdGUiOiIyMDE3LTEwLTMxVDIzOjU5OjU5Ljk5OVoiLCJTdHlsZSI6eyIkaWQiOiIxMjQiLCJTaGFwZSI6MiwiQ29ubmVjdG9yTWFyZ2luIjp7IiRyZWYiOiI1NCJ9LCJDb25uZWN0b3JTdHlsZSI6eyIkaWQiOiIxMjUiLCJMaW5lQ29sb3IiOnsiJGlkIjoiMTI2IiwiJHR5cGUiOiJOTFJFLkNvbW1vbi5Eb20uU29saWRDb2xvckJydXNoLCBOTFJFLkNvbW1vbiIsIkNvbG9yIjp7IiRpZCI6IjEyNyIsIkEiOjEyNywiUiI6MCwiRyI6MTE0LCJCIjoxODh9fSwiTGluZVdlaWdodCI6MS4wLCJMaW5lVHlwZSI6MCwiUGFyZW50U3R5bGUiOnsiJHJlZiI6IjU1In19LCJJc0JlbG93VGltZWJhbmQiOmZhbHNlLCJIaWRlRGF0ZSI6ZmFsc2UsIlNoYXBlU2l6ZSI6MSwiU3BhY2luZyI6Mi4wLCJQYWRkaW5nIjp7IiRyZWYiOiI1OCJ9LCJTaGFwZVN0eWxlIjp7IiRpZCI6IjEyOCIsIk1hcmdpbiI6eyIkcmVmIjoiNjAifSwiUGFkZGluZyI6eyIkcmVmIjoiNjEifSwiQmFja2dyb3VuZCI6eyIkaWQiOiIxMjkiLCJDb2xvciI6eyIkaWQiOiIxMzAiLCJBIjoyNTUsIlIiOjAsIkciOjExNCwiQiI6MTg4fX0sIklzVmlzaWJsZSI6dHJ1ZSwiV2lkdGgiOjEzLjAsIkhlaWdodCI6MTMuMCwiQm9yZGVyU3R5bGUiOnsiJGlkIjoiMTMxIiwiTGluZUNvbG9yIjp7IiRyZWYiOiI2MyJ9LCJMaW5lV2VpZ2h0IjowLjAsIkxpbmVUeXBlIjowLCJQYXJlbnRTdHlsZSI6eyIkcmVmIjoiNjIifX0sIlBhcmVudFN0eWxlIjp7IiRyZWYiOiI1OSJ9fSwiVGl0bGVTdHlsZSI6eyIkaWQiOiIxMzIiLCJGb250U2V0dGluZ3MiOnsiJGlkIjoiMTMzIiwiRm9udFNpemUiOjExLCJGb250TmFtZSI6IkNhbGlicmkiLCJJc0JvbGQiOnRydWUsIklzSXRhbGljIjpmYWxzZSwiSXNVbmRlcmxpbmVkIjpmYWxzZSwiUGFyZW50U3R5bGUiOnsiJHJlZiI6IjY2In19LCJBdXRvU2l6ZSI6MCwiRm9yZWdyb3VuZCI6eyIkcmVmIjoiNjcifSwiTWF4V2lkdGgiOjIwMC4w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xMzQiLCJMaW5lQ29sb3IiOm51bGwsIkxpbmVXZWlnaHQiOjAuMCwiTGluZVR5cGUiOjAsIlBhcmVudFN0eWxlIjpudWxsfSwiUGFyZW50U3R5bGUiOnsiJHJlZiI6IjY1In19LCJEYXRlU3R5bGUiOnsiJGlkIjoiMTM1IiwiRm9udFNldHRpbmdzIjp7IiRpZCI6IjEzNi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zNyIsIkxpbmVDb2xvciI6bnVsbCwiTGluZVdlaWdodCI6MC4wLCJMaW5lVHlwZSI6MCwiUGFyZW50U3R5bGUiOm51bGx9LCJQYXJlbnRTdHlsZSI6eyIkcmVmIjoiNzIifX0sIkRhdGVGb3JtYXQiOnsiJHJlZiI6Ijc5In0sIklzVmlzaWJsZSI6dHJ1ZSwiUGFyZW50U3R5bGUiOnsiJHJlZiI6IjUzIn19LCJQb3NpdGlvbiI6eyJSYXRpbyI6MC4wLCJJc0N1c3RvbSI6ZmFsc2V9LCJJZCI6Ijg4NTFlMjIyLThiM2UtNGZjMC05ODFjLWExYTI5YWIzN2ZhMyIsIkltcG9ydElkIjpudWxsLCJUaXRsZSI6Ik1pbmRzcGhlcmUgMi4wLiBBZGFwdGVyIE1WUCIsIk5vdGUiOm51bGwsIkh5cGVybGluayI6bnVsbCwiSXNDaGFuZ2VkIjpmYWxzZSwiSXNOZXciOmZhbHNlfSx7IiRpZCI6IjEzOCIsIkRhdGUiOiIyMDE3LTExLTMwVDIzOjU5OjU5Ljk5OVoiLCJTdHlsZSI6eyIkaWQiOiIxMzkiLCJTaGFwZSI6MiwiQ29ubmVjdG9yTWFyZ2luIjp7IiRyZWYiOiI1NCJ9LCJDb25uZWN0b3JTdHlsZSI6eyIkaWQiOiIxNDAiLCJMaW5lQ29sb3IiOnsiJGlkIjoiMTQxIiwiJHR5cGUiOiJOTFJFLkNvbW1vbi5Eb20uU29saWRDb2xvckJydXNoLCBOTFJFLkNvbW1vbiIsIkNvbG9yIjp7IiRpZCI6IjE0MiIsIkEiOjEyNywiUiI6MjM1LCJHIjoxMjAsIkIiOjEwfX0sIkxpbmVXZWlnaHQiOjEuMCwiTGluZVR5cGUiOjAsIlBhcmVudFN0eWxlIjp7IiRyZWYiOiI1NSJ9fSwiSXNCZWxvd1RpbWViYW5kIjpmYWxzZSwiSGlkZURhdGUiOmZhbHNlLCJTaGFwZVNpemUiOjEsIlNwYWNpbmciOjIuMCwiUGFkZGluZyI6eyIkcmVmIjoiNTgifSwiU2hhcGVTdHlsZSI6eyIkaWQiOiIxNDMiLCJNYXJnaW4iOnsiJHJlZiI6IjYwIn0sIlBhZGRpbmciOnsiJHJlZiI6IjYxIn0sIkJhY2tncm91bmQiOnsiJGlkIjoiMTQ0IiwiQ29sb3IiOnsiJGlkIjoiMTQ1IiwiQSI6MjU1LCJSIjoyMzUsIkciOjEyMCwiQiI6MTB9fSwiSXNWaXNpYmxlIjp0cnVlLCJXaWR0aCI6MTMuMCwiSGVpZ2h0IjoxMy4wLCJCb3JkZXJTdHlsZSI6eyIkaWQiOiIxNDYiLCJMaW5lQ29sb3IiOnsiJHJlZiI6IjYzIn0sIkxpbmVXZWlnaHQiOjAuMCwiTGluZVR5cGUiOjAsIlBhcmVudFN0eWxlIjp7IiRyZWYiOiI2MiJ9fSwiUGFyZW50U3R5bGUiOnsiJHJlZiI6IjU5In19LCJUaXRsZVN0eWxlIjp7IiRpZCI6IjE0NyIsIkZvbnRTZXR0aW5ncyI6eyIkaWQiOiIxNDgiLCJGb250U2l6ZSI6MTEsIkZvbnROYW1lIjoiQ2FsaWJyaSIsIklzQm9sZCI6dHJ1ZSwiSXNJdGFsaWMiOmZhbHNlLCJJc1VuZGVybGluZWQiOmZhbHNlLCJQYXJlbnRTdHlsZSI6eyIkcmVmIjoiNjYifX0sIkF1dG9TaXplIjoyLCJGb3JlZ3JvdW5kIjp7IiRyZWYiOiI2NyJ9LCJNYXhXaWR0aCI6MTU1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0OSIsIkxpbmVDb2xvciI6bnVsbCwiTGluZVdlaWdodCI6MC4wLCJMaW5lVHlwZSI6MCwiUGFyZW50U3R5bGUiOm51bGx9LCJQYXJlbnRTdHlsZSI6eyIkcmVmIjoiNjUifX0sIkRhdGVTdHlsZSI6eyIkaWQiOiIxNTAiLCJGb250U2V0dGluZ3MiOnsiJGlkIjoiMTU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U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Tg4ZTkxMjMtNDkyMC00ZDVjLWJlN2MtYTZkYmI1ODgyZGU0IiwiSW1wb3J0SWQiOm51bGwsIlRpdGxlIjoiTWluZHNwaGVyZSAzLjAuIEFQSSBBdmFpbGFiaWxpdHkgZm9yIE1pbmRzcGhlcmUgMy4wLiBBZGFwdGVyIE1WUCIsIk5vdGUiOm51bGwsIkh5cGVybGluayI6bnVsbCwiSXNDaGFuZ2VkIjpmYWxzZSwiSXNOZXciOmZhbHNlfSx7IiRpZCI6IjE1MyIsIkRhdGUiOiIyMDE3LTEyLTMxVDIzOjU5OjU5Ljk5OVoiLCJTdHlsZSI6eyIkaWQiOiIxNTQiLCJTaGFwZSI6MiwiQ29ubmVjdG9yTWFyZ2luIjp7IiRyZWYiOiI1NCJ9LCJDb25uZWN0b3JTdHlsZSI6eyIkaWQiOiIxNTUiLCJMaW5lQ29sb3IiOnsiJGlkIjoiMTU2IiwiJHR5cGUiOiJOTFJFLkNvbW1vbi5Eb20uU29saWRDb2xvckJydXNoLCBOTFJFLkNvbW1vbiIsIkNvbG9yIjp7IiRpZCI6IjE1NyIsIkEiOjEyNywiUiI6MTM1LCJHIjoxNTUsIkIiOjE3MH19LCJMaW5lV2VpZ2h0IjoxLjAsIkxpbmVUeXBlIjowLCJQYXJlbnRTdHlsZSI6eyIkcmVmIjoiNTUifX0sIklzQmVsb3dUaW1lYmFuZCI6ZmFsc2UsIkhpZGVEYXRlIjpmYWxzZSwiU2hhcGVTaXplIjoxLCJTcGFjaW5nIjoyLjAsIlBhZGRpbmciOnsiJHJlZiI6IjU4In0sIlNoYXBlU3R5bGUiOnsiJGlkIjoiMTU4IiwiTWFyZ2luIjp7IiRyZWYiOiI2MCJ9LCJQYWRkaW5nIjp7IiRyZWYiOiI2MSJ9LCJCYWNrZ3JvdW5kIjp7IiRpZCI6IjE1OSIsIkNvbG9yIjp7IiRpZCI6IjE2MCIsIkEiOjI1NSwiUiI6MTM1LCJHIjoxNTUsIkIiOjE3MH19LCJJc1Zpc2libGUiOnRydWUsIldpZHRoIjoxMy4wLCJIZWlnaHQiOjEzLjAsIkJvcmRlclN0eWxlIjp7IiRpZCI6IjE2MSIsIkxpbmVDb2xvciI6eyIkcmVmIjoiNjMifSwiTGluZVdlaWdodCI6MC4wLCJMaW5lVHlwZSI6MCwiUGFyZW50U3R5bGUiOnsiJHJlZiI6IjYyIn19LCJQYXJlbnRTdHlsZSI6eyIkcmVmIjoiNTkifX0sIlRpdGxlU3R5bGUiOnsiJGlkIjoiMTYyIiwiRm9udFNldHRpbmdzIjp7IiRpZCI6IjE2MyIsIkZvbnRTaXplIjoxMSwiRm9udE5hbWUiOiJDYWxpYnJpIiwiSXNCb2xkIjp0cnVlLCJJc0l0YWxpYyI6ZmFsc2UsIklzVW5kZXJsaW5lZCI6ZmFsc2UsIlBhcmVudFN0eWxlIjp7IiRyZWYiOiI2NiJ9fSwiQXV0b1NpemUiOjAsIkZvcmVncm91bmQiOnsiJHJlZiI6IjY3In0sIk1heFdpZHRoIjoyMDAuMCwiTWF4SGVpZ2h0IjoiSW5maW5pdHkiLCJTbWFydEZvcmVncm91bmRJc0FjdGl2ZSI6ZmFsc2UsIkhvcml6b250YWxBbGlnbm1lbnQiOjEsIlZlcnRpY2FsQWxpZ25tZW50IjowLCJTbWFydEZvcmVncm91bmQiOm51bGwsIk1hcmdpbiI6eyIkcmVmIjoiNjkifSwiUGFkZGluZyI6eyIkcmVmIjoiNzAifSwiQmFja2dyb3VuZCI6eyIkcmVmIjoiNzEifSwiSXNWaXNpYmxlIjp0cnVlLCJXaWR0aCI6MC4wLCJIZWlnaHQiOjAuMCwiQm9yZGVyU3R5bGUiOnsiJGlkIjoiMTY0IiwiTGluZUNvbG9yIjpudWxsLCJMaW5lV2VpZ2h0IjowLjAsIkxpbmVUeXBlIjowLCJQYXJlbnRTdHlsZSI6bnVsbH0sIlBhcmVudFN0eWxlIjp7IiRyZWYiOiI2NSJ9fSwiRGF0ZVN0eWxlIjp7IiRpZCI6IjE2NSIsIkZvbnRTZXR0aW5ncyI6eyIkaWQiOiIxNjYiLCJGb250U2l6ZSI6MTAsIkZvbnROYW1lIjoiQ2FsaWJyaSIsIklzQm9sZCI6ZmFsc2UsIklzSXRhbGljIjpmYWxzZSwiSXNVbmRlcmxpbmVkIjpmYWxzZSwiUGFyZW50U3R5bGUiOnsiJHJlZiI6IjczIn19LCJBdXRvU2l6ZSI6MCwiRm9yZWdyb3VuZCI6eyIkcmVmIjoiNzQifSwiTWF4V2lkdGgiOjIwMC4wLCJNYXhIZWlnaHQiOiJJbmZpbml0eSIsIlNtYXJ0Rm9yZWdyb3VuZElzQWN0aXZlIjpmYWxzZSwiSG9yaXpvbnRhbEFsaWdubWVudCI6MCwiVmVydGljYWxBbGlnbm1lbnQiOjAsIlNtYXJ0Rm9yZWdyb3VuZCI6bnVsbCwiTWFyZ2luIjp7IiRyZWYiOiI3NiJ9LCJQYWRkaW5nIjp7IiRyZWYiOiI3NyJ9LCJCYWNrZ3JvdW5kIjp7IiRyZWYiOiI3OCJ9LCJJc1Zpc2libGUiOnRydWUsIldpZHRoIjowLjAsIkhlaWdodCI6MC4wLCJCb3JkZXJTdHlsZSI6eyIkaWQiOiIxNjciLCJMaW5lQ29sb3IiOm51bGwsIkxpbmVXZWlnaHQiOjAuMCwiTGluZVR5cGUiOjAsIlBhcmVudFN0eWxlIjpudWxsfSwiUGFyZW50U3R5bGUiOnsiJHJlZiI6IjcyIn19LCJEYXRlRm9ybWF0Ijp7IiRyZWYiOiI3OSJ9LCJJc1Zpc2libGUiOnRydWUsIlBhcmVudFN0eWxlIjp7IiRyZWYiOiI1MyJ9fSwiUG9zaXRpb24iOnsiUmF0aW8iOjAuMCwiSXNDdXN0b20iOmZhbHNlfSwiSWQiOiIwMjg4ODFiZi1jM2NjLTQ2YWMtYTM0MS1iZTk2NzBjOTJmYWUiLCJJbXBvcnRJZCI6bnVsbCwiVGl0bGUiOiJNaW5kc3BoZXJlIDIuMC4gQWRhcHRlciBGdWxsIiwiTm90ZSI6bnVsbCwiSHlwZXJsaW5rIjpudWxsLCJJc0NoYW5nZWQiOmZhbHNlLCJJc05ldyI6ZmFsc2V9LHsiJGlkIjoiMTY4IiwiRGF0ZSI6IjIwMTgtMDMtMzFUMjM6NTk6NTkuOTk5WiIsIlN0eWxlIjp7IiRpZCI6IjE2OSIsIlNoYXBlIjoyLCJDb25uZWN0b3JNYXJnaW4iOnsiJHJlZiI6IjU0In0sIkNvbm5lY3RvclN0eWxlIjp7IiRpZCI6IjE3MCIsIkxpbmVDb2xvciI6eyIkaWQiOiIxNzEiLCIkdHlwZSI6Ik5MUkUuQ29tbW9uLkRvbS5Tb2xpZENvbG9yQnJ1c2gsIE5MUkUuQ29tbW9uIiwiQ29sb3IiOnsiJGlkIjoiMTcyIiwiQSI6MTI3LCJSIjoxOTAsIkciOjIwNSwiQiI6MjE1fX0sIkxpbmVXZWlnaHQiOjEuMCwiTGluZVR5cGUiOjAsIlBhcmVudFN0eWxlIjp7IiRyZWYiOiI1NSJ9fSwiSXNCZWxvd1RpbWViYW5kIjpmYWxzZSwiSGlkZURhdGUiOmZhbHNlLCJTaGFwZVNpemUiOjEsIlNwYWNpbmciOjIuMCwiUGFkZGluZyI6eyIkcmVmIjoiNTgifSwiU2hhcGVTdHlsZSI6eyIkaWQiOiIxNzMiLCJNYXJnaW4iOnsiJHJlZiI6IjYwIn0sIlBhZGRpbmciOnsiJHJlZiI6IjYxIn0sIkJhY2tncm91bmQiOnsiJGlkIjoiMTc0IiwiQ29sb3IiOnsiJGlkIjoiMTc1IiwiQSI6MjU1LCJSIjoxOTAsIkciOjIwNSwiQiI6MjE1fX0sIklzVmlzaWJsZSI6dHJ1ZSwiV2lkdGgiOjEzLjAsIkhlaWdodCI6MTMuMCwiQm9yZGVyU3R5bGUiOnsiJGlkIjoiMTc2IiwiTGluZUNvbG9yIjp7IiRyZWYiOiI2MyJ9LCJMaW5lV2VpZ2h0IjowLjAsIkxpbmVUeXBlIjowLCJQYXJlbnRTdHlsZSI6eyIkcmVmIjoiNjIifX0sIlBhcmVudFN0eWxlIjp7IiRyZWYiOiI1OSJ9fSwiVGl0bGVTdHlsZSI6eyIkaWQiOiIxNzciLCJGb250U2V0dGluZ3MiOnsiJGlkIjoiMTc4IiwiRm9udFNpemUiOjExLCJGb250TmFtZSI6IkNhbGlicmkiLCJJc0JvbGQiOnRydWUsIklzSXRhbGljIjpmYWxzZSwiSXNVbmRlcmxpbmVkIjpmYWxzZSwiUGFyZW50U3R5bGUiOnsiJHJlZiI6IjY2In19LCJBdXRvU2l6ZSI6MiwiRm9yZWdyb3VuZCI6eyIkcmVmIjoiNjcifSwiTWF4V2lkdGgiOjQxLjA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3OSIsIkxpbmVDb2xvciI6bnVsbCwiTGluZVdlaWdodCI6MC4wLCJMaW5lVHlwZSI6MCwiUGFyZW50U3R5bGUiOm51bGx9LCJQYXJlbnRTdHlsZSI6eyIkcmVmIjoiNjUifX0sIkRhdGVTdHlsZSI6eyIkaWQiOiIxODAiLCJGb250U2V0dGluZ3MiOnsiJGlkIjoiMTg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gyIiwiTGluZUNvbG9yIjpudWxsLCJMaW5lV2VpZ2h0IjowLjAsIkxpbmVUeXBlIjowLCJQYXJlbnRTdHlsZSI6bnVsbH0sIlBhcmVudFN0eWxlIjp7IiRyZWYiOiI3MiJ9fSwiRGF0ZUZvcm1hdCI6eyIkcmVmIjoiNzkifSwiSXNWaXNpYmxlIjp0cnVlLCJQYXJlbnRTdHlsZSI6eyIkcmVmIjoiNTMifX0sIlBvc2l0aW9uIjp7IlJhdGlvIjowLjAsIklzQ3VzdG9tIjpmYWxzZX0sIklkIjoiYWExYjAzZDMtNTY1ZC00MGM5LWJjMWQtNDc4YTczYTA4NjgwIiwiSW1wb3J0SWQiOm51bGwsIlRpdGxlIjoiTWluZHNwaGVyZSAzLjAuIEFkYXB0ZXIgTVZQIiwiTm90ZSI6bnVsbCwiSHlwZXJsaW5rIjpudWxsLCJJc0NoYW5nZWQiOmZhbHNlLCJJc05ldyI6ZmFsc2V9XSwiVGFza3MiOlt7IiRpZCI6IjE4MyIsIkdyb3VwTmFtZSI6bnVsbCwiU3RhcnREYXRlIjoiMjAxNy0wOC0xMVQwMDowMDowMFoiLCJFbmREYXRlIjoiMjAxNy0wOC0zMVQyMzo1OTo1OS45OTlaIiwiUGVyY2VudGFnZUNvbXBsZXRlIjpudWxsLCJTdHlsZSI6eyIkaWQiOiIxODQiLCJTaGFwZSI6MSwiU2hhcGVUaGlja25lc3MiOjEsIkR1cmF0aW9uRm9ybWF0IjowLCJJbmNsdWRlTm9uV29ya2luZ0RheXNJbkR1cmF0aW9uIjp0cnVlLCJQZXJjZW50YWdlQ29tcGxldGVTdHlsZSI6eyIkaWQiOiIxODUiLCJGb250U2V0dGluZ3MiOnsiJGlkIjoiMTg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Tg3IiwiTGluZUNvbG9yIjpudWxsLCJMaW5lV2VpZ2h0IjowLjAsIkxpbmVUeXBlIjowLCJQYXJlbnRTdHlsZSI6bnVsbH0sIlBhcmVudFN0eWxlIjp7IiRyZWYiOiI4MSJ9fSwiRHVyYXRpb25TdHlsZSI6eyIkaWQiOiIxODgiLCJGb250U2V0dGluZ3MiOnsiJGlkIjoiMTg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TkwIiwiTGluZUNvbG9yIjpudWxsLCJMaW5lV2VpZ2h0IjowLjAsIkxpbmVUeXBlIjowLCJQYXJlbnRTdHlsZSI6bnVsbH0sIlBhcmVudFN0eWxlIjp7IiRyZWYiOiI4OCJ9fSwiSG9yaXpvbnRhbENvbm5lY3RvclN0eWxlIjp7IiRpZCI6IjE5MSIsIkxpbmVDb2xvciI6eyIkcmVmIjoiOTYifSwiTGluZVdlaWdodCI6MC4wLCJMaW5lVHlwZSI6MCwiUGFyZW50U3R5bGUiOnsiJHJlZiI6Ijk1In19LCJWZXJ0aWNhbENvbm5lY3RvclN0eWxlIjp7IiRpZCI6IjE5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xOTMiLCJNYXJnaW4iOnsiJHJlZiI6IjEwMiJ9LCJQYWRkaW5nIjp7IiRyZWYiOiIxMDMifSwiQmFja2dyb3VuZCI6eyIkaWQiOiIxOTQiLCJDb2xvciI6eyIkaWQiOiIxOTUiLCJBIjoyNTUsIlIiOjE5MCwiRyI6MjA1LCJCIjoyMTV9fSwiSXNWaXNpYmxlIjp0cnVlLCJXaWR0aCI6MC4wLCJIZWlnaHQiOjE2LjAsIkJvcmRlclN0eWxlIjp7IiRpZCI6IjE5NiIsIkxpbmVDb2xvciI6eyIkcmVmIjoiMTA1In0sIkxpbmVXZWlnaHQiOjAuMCwiTGluZVR5cGUiOjAsIlBhcmVudFN0eWxlIjp7IiRyZWYiOiIxMDQifX0sIlBhcmVudFN0eWxlIjp7IiRyZWYiOiIxMDEifX0sIlRpdGxlU3R5bGUiOnsiJGlkIjoiMTk3IiwiRm9udFNldHRpbmdzIjp7IiRpZCI6IjE5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xOTkiLCJMaW5lQ29sb3IiOm51bGwsIkxpbmVXZWlnaHQiOjAuMCwiTGluZVR5cGUiOjAsIlBhcmVudFN0eWxlIjpudWxsfSwiUGFyZW50U3R5bGUiOnsiJHJlZiI6IjEwNyJ9fSwiRGF0ZVN0eWxlIjp7IiRpZCI6IjIwMCIsIkZvbnRTZXR0aW5ncyI6eyIkaWQiOiIyM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wMiIsIkxpbmVDb2xvciI6bnVsbCwiTGluZVdlaWdodCI6MC4wLCJMaW5lVHlwZSI6MCwiUGFyZW50U3R5bGUiOm51bGx9LCJQYXJlbnRTdHlsZSI6eyIkcmVmIjoiMTE0In19LCJEYXRlRm9ybWF0Ijp7IiRyZWYiOiIxMjEifSwiSXNWaXNpYmxlIjp0cnVlLCJQYXJlbnRTdHlsZSI6eyIkcmVmIjoiODAifX0sIkluZGV4IjoxLCJJZCI6IjlkMDY5NzgyLTdiYTUtNDg3Ny04Zjk5LTRiMWY4OWUyOWQ5ZCIsIkltcG9ydElkIjpudWxsLCJUaXRsZSI6Ik1pbmRzcGhlcmUgMi4wLiBNVlAgU3BlY2lmaWNhdGlvbiIsIk5vdGUiOm51bGwsIkh5cGVybGluayI6bnVsbCwiSXNDaGFuZ2VkIjpmYWxzZSwiSXNOZXciOmZhbHNlfSx7IiRpZCI6IjIwMyIsIkdyb3VwTmFtZSI6bnVsbCwiU3RhcnREYXRlIjoiMjAxNy0wOS0wMVQwMDowMDowMFoiLCJFbmREYXRlIjoiMjAxNy0xMC0zMVQyMzo1OTo1OS45OTlaIiwiUGVyY2VudGFnZUNvbXBsZXRlIjpudWxsLCJTdHlsZSI6eyIkaWQiOiIyMDQiLCJTaGFwZSI6MSwiU2hhcGVUaGlja25lc3MiOjIsIkR1cmF0aW9uRm9ybWF0IjowLCJJbmNsdWRlTm9uV29ya2luZ0RheXNJbkR1cmF0aW9uIjp0cnVlLCJQZXJjZW50YWdlQ29tcGxldGVTdHlsZSI6eyIkaWQiOiIyMDUiLCJGb250U2V0dGluZ3MiOnsiJGlkIjoiMjA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A3IiwiTGluZUNvbG9yIjpudWxsLCJMaW5lV2VpZ2h0IjowLjAsIkxpbmVUeXBlIjowLCJQYXJlbnRTdHlsZSI6bnVsbH0sIlBhcmVudFN0eWxlIjp7IiRyZWYiOiI4MSJ9fSwiRHVyYXRpb25TdHlsZSI6eyIkaWQiOiIyMDgiLCJGb250U2V0dGluZ3MiOnsiJGlkIjoiMjA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EwIiwiTGluZUNvbG9yIjpudWxsLCJMaW5lV2VpZ2h0IjowLjAsIkxpbmVUeXBlIjowLCJQYXJlbnRTdHlsZSI6bnVsbH0sIlBhcmVudFN0eWxlIjp7IiRyZWYiOiI4OCJ9fSwiSG9yaXpvbnRhbENvbm5lY3RvclN0eWxlIjp7IiRpZCI6IjIxMSIsIkxpbmVDb2xvciI6eyIkcmVmIjoiOTYifSwiTGluZVdlaWdodCI6MC4wLCJMaW5lVHlwZSI6MCwiUGFyZW50U3R5bGUiOnsiJHJlZiI6Ijk1In19LCJWZXJ0aWNhbENvbm5lY3RvclN0eWxlIjp7IiRpZCI6IjIx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MTMiLCJNYXJnaW4iOnsiJHJlZiI6IjEwMiJ9LCJQYWRkaW5nIjp7IiRyZWYiOiIxMDMifSwiQmFja2dyb3VuZCI6eyIkaWQiOiIyMTQiLCJDb2xvciI6eyIkaWQiOiIyMTUiLCJBIjoyNTUsIlIiOjExNSwiRyI6MTE1LCJCIjoxMTV9fSwiSXNWaXNpYmxlIjp0cnVlLCJXaWR0aCI6MC4wLCJIZWlnaHQiOjIyLjAsIkJvcmRlclN0eWxlIjp7IiRpZCI6IjIxNiIsIkxpbmVDb2xvciI6eyIkcmVmIjoiMTA1In0sIkxpbmVXZWlnaHQiOjAuMCwiTGluZVR5cGUiOjAsIlBhcmVudFN0eWxlIjp7IiRyZWYiOiIxMDQifX0sIlBhcmVudFN0eWxlIjp7IiRyZWYiOiIxMDEifX0sIlRpdGxlU3R5bGUiOnsiJGlkIjoiMjE3IiwiRm9udFNldHRpbmdzIjp7IiRpZCI6IjIx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TkiLCJMaW5lQ29sb3IiOm51bGwsIkxpbmVXZWlnaHQiOjAuMCwiTGluZVR5cGUiOjAsIlBhcmVudFN0eWxlIjpudWxsfSwiUGFyZW50U3R5bGUiOnsiJHJlZiI6IjEwNyJ9fSwiRGF0ZVN0eWxlIjp7IiRpZCI6IjIyMCIsIkZvbnRTZXR0aW5ncyI6eyIkaWQiOiIyMj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yMiIsIkxpbmVDb2xvciI6bnVsbCwiTGluZVdlaWdodCI6MC4wLCJMaW5lVHlwZSI6MCwiUGFyZW50U3R5bGUiOm51bGx9LCJQYXJlbnRTdHlsZSI6eyIkcmVmIjoiMTE0In19LCJEYXRlRm9ybWF0Ijp7IiRyZWYiOiIxMjEifSwiSXNWaXNpYmxlIjp0cnVlLCJQYXJlbnRTdHlsZSI6eyIkcmVmIjoiODAifX0sIkluZGV4IjoyLCJJZCI6IjE4NjY2MDFhLWZjMGItNGM4YS1iNTdhLTAxZDA1OTE3NGJmMyIsIkltcG9ydElkIjpudWxsLCJUaXRsZSI6Ik1pbmRzcGhlcmUgMi4wLiBNVlAgSW1wbGVtZW50YXRpb24iLCJOb3RlIjpudWxsLCJIeXBlcmxpbmsiOm51bGwsIklzQ2hhbmdlZCI6ZmFsc2UsIklzTmV3IjpmYWxzZX0seyIkaWQiOiIyMjMiLCJHcm91cE5hbWUiOm51bGwsIlN0YXJ0RGF0ZSI6IjIwMTctMDktMDFUMDA6MDA6MDBaIiwiRW5kRGF0ZSI6IjIwMTctMTAtMzFUMjM6NTk6NTkuOTk5WiIsIlBlcmNlbnRhZ2VDb21wbGV0ZSI6bnVsbCwiU3R5bGUiOnsiJGlkIjoiMjI0IiwiU2hhcGUiOjEsIlNoYXBlVGhpY2tuZXNzIjoxLCJEdXJhdGlvbkZvcm1hdCI6MCwiSW5jbHVkZU5vbldvcmtpbmdEYXlzSW5EdXJhdGlvbiI6dHJ1ZSwiUGVyY2VudGFnZUNvbXBsZXRlU3R5bGUiOnsiJGlkIjoiMjI1IiwiRm9udFNldHRpbmdzIjp7IiRpZCI6IjIy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yNyIsIkxpbmVDb2xvciI6bnVsbCwiTGluZVdlaWdodCI6MC4wLCJMaW5lVHlwZSI6MCwiUGFyZW50U3R5bGUiOm51bGx9LCJQYXJlbnRTdHlsZSI6eyIkcmVmIjoiODEifX0sIkR1cmF0aW9uU3R5bGUiOnsiJGlkIjoiMjI4IiwiRm9udFNldHRpbmdzIjp7IiRpZCI6IjIy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zMCIsIkxpbmVDb2xvciI6bnVsbCwiTGluZVdlaWdodCI6MC4wLCJMaW5lVHlwZSI6MCwiUGFyZW50U3R5bGUiOm51bGx9LCJQYXJlbnRTdHlsZSI6eyIkcmVmIjoiODgifX0sIkhvcml6b250YWxDb25uZWN0b3JTdHlsZSI6eyIkaWQiOiIyMzEiLCJMaW5lQ29sb3IiOnsiJHJlZiI6Ijk2In0sIkxpbmVXZWlnaHQiOjAuMCwiTGluZVR5cGUiOjAsIlBhcmVudFN0eWxlIjp7IiRyZWYiOiI5NSJ9fSwiVmVydGljYWxDb25uZWN0b3JTdHlsZSI6eyIkaWQiOiIyM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MzIiwiTWFyZ2luIjp7IiRyZWYiOiIxMDIifSwiUGFkZGluZyI6eyIkcmVmIjoiMTAzIn0sIkJhY2tncm91bmQiOnsiJGlkIjoiMjM0IiwiQ29sb3IiOnsiJGlkIjoiMjM1IiwiQSI6MjU1LCJSIjoyNTQsIkciOjE4NiwiQiI6MTB9fSwiSXNWaXNpYmxlIjp0cnVlLCJXaWR0aCI6MC4wLCJIZWlnaHQiOjE2LjAsIkJvcmRlclN0eWxlIjp7IiRpZCI6IjIzNiIsIkxpbmVDb2xvciI6eyIkcmVmIjoiMTA1In0sIkxpbmVXZWlnaHQiOjAuMCwiTGluZVR5cGUiOjAsIlBhcmVudFN0eWxlIjp7IiRyZWYiOiIxMDQifX0sIlBhcmVudFN0eWxlIjp7IiRyZWYiOiIxMDEifX0sIlRpdGxlU3R5bGUiOnsiJGlkIjoiMjM3IiwiRm9udFNldHRpbmdzIjp7IiRpZCI6IjIzOCIsIkZvbnRTaXplIjoxMSwiRm9udE5hbWUiOiJDYWxpYnJpIiwiSXNCb2xkIjp0cnVlLCJJc0l0YWxpYyI6ZmFsc2UsIklzVW5kZXJsaW5lZCI6ZmFsc2UsIlBhcmVudFN0eWxlIjp7IiRyZWYiOiIxMDgifX0sIkF1dG9TaXplIjowLCJGb3JlZ3JvdW5kIjp7IiRyZWYiOiIxMDkifSwiTWF4V2lkdGgiOjcyMC4w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yMzkiLCJMaW5lQ29sb3IiOm51bGwsIkxpbmVXZWlnaHQiOjAuMCwiTGluZVR5cGUiOjAsIlBhcmVudFN0eWxlIjpudWxsfSwiUGFyZW50U3R5bGUiOnsiJHJlZiI6IjEwNyJ9fSwiRGF0ZVN0eWxlIjp7IiRpZCI6IjI0MCIsIkZvbnRTZXR0aW5ncyI6eyIkaWQiOiIyNDEiLCJGb250U2l6ZSI6MTAsIkZvbnROYW1lIjoiQ2FsaWJyaSIsIklzQm9sZCI6ZmFsc2UsIklzSXRhbGljIjpmYWxzZSwiSXNVbmRlcmxpbmVkIjpmYWxzZSwiUGFyZW50U3R5bGUiOnsiJHJlZiI6IjExNSJ9fSwiQXV0b1NpemUiOjAsIkZvcmVncm91bmQiOnsiJHJlZiI6IjExNiJ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I0MiIsIkxpbmVDb2xvciI6bnVsbCwiTGluZVdlaWdodCI6MC4wLCJMaW5lVHlwZSI6MCwiUGFyZW50U3R5bGUiOm51bGx9LCJQYXJlbnRTdHlsZSI6eyIkcmVmIjoiMTE0In19LCJEYXRlRm9ybWF0Ijp7IiRyZWYiOiIxMjEifSwiSXNWaXNpYmxlIjp0cnVlLCJQYXJlbnRTdHlsZSI6eyIkcmVmIjoiODAifX0sIkluZGV4IjozLCJJZCI6ImY5NWYxMTI4LTllZmUtNDc1NS1hMjVkLTBkNDdhN2MyMzhiMyIsIkltcG9ydElkIjpudWxsLCJUaXRsZSI6Ik1pbmRzcGhlcmUgMi4wLiBGdWxsIC0gU3BlY2lmaWNhdGlvbiIsIk5vdGUiOm51bGwsIkh5cGVybGluayI6bnVsbCwiSXNDaGFuZ2VkIjpmYWxzZSwiSXNOZXciOmZhbHNlfSx7IiRpZCI6IjI0MyIsIkdyb3VwTmFtZSI6bnVsbCwiU3RhcnREYXRlIjoiMjAxNy0xMC0zMVQwMDowMDowMFoiLCJFbmREYXRlIjoiMjAxNy0xMi0zMVQyMzo1OTo1OS45OTlaIiwiUGVyY2VudGFnZUNvbXBsZXRlIjpudWxsLCJTdHlsZSI6eyIkaWQiOiIyNDQiLCJTaGFwZSI6MSwiU2hhcGVUaGlja25lc3MiOjIsIkR1cmF0aW9uRm9ybWF0IjowLCJJbmNsdWRlTm9uV29ya2luZ0RheXNJbkR1cmF0aW9uIjp0cnVlLCJQZXJjZW50YWdlQ29tcGxldGVTdHlsZSI6eyIkaWQiOiIyNDUiLCJGb250U2V0dGluZ3MiOnsiJGlkIjoiMjQ2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Q3IiwiTGluZUNvbG9yIjpudWxsLCJMaW5lV2VpZ2h0IjowLjAsIkxpbmVUeXBlIjowLCJQYXJlbnRTdHlsZSI6bnVsbH0sIlBhcmVudFN0eWxlIjp7IiRyZWYiOiI4MSJ9fSwiRHVyYXRpb25TdHlsZSI6eyIkaWQiOiIyNDgiLCJGb250U2V0dGluZ3MiOnsiJGlkIjoiMjQ5IiwiRm9udFNpemUiOjEwLCJGb250TmFtZSI6IkNhbGlicmkiLCJJc0JvbGQiOmZhbHNlLCJJc0l0YWxpYyI6ZmFsc2UsIklzVW5kZXJsaW5lZCI6ZmFsc2UsIlBhcmVudFN0eWxlIjp7IiRyZWYiOiI4OSJ9fSwiQXV0b1NpemUiOjAsIkZvcmVncm91bmQiOnsiJHJlZiI6IjkwIn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UwIiwiTGluZUNvbG9yIjpudWxsLCJMaW5lV2VpZ2h0IjowLjAsIkxpbmVUeXBlIjowLCJQYXJlbnRTdHlsZSI6bnVsbH0sIlBhcmVudFN0eWxlIjp7IiRyZWYiOiI4OCJ9fSwiSG9yaXpvbnRhbENvbm5lY3RvclN0eWxlIjp7IiRpZCI6IjI1MSIsIkxpbmVDb2xvciI6eyIkcmVmIjoiOTYifSwiTGluZVdlaWdodCI6MC4wLCJMaW5lVHlwZSI6MCwiUGFyZW50U3R5bGUiOnsiJHJlZiI6Ijk1In19LCJWZXJ0aWNhbENvbm5lY3RvclN0eWxlIjp7IiRpZCI6IjI1MiIsIkxpbmVDb2xvciI6eyIkcmVmIjoiOTkifSwiTGluZVdlaWdodCI6MC4wLCJMaW5lVHlwZSI6MCwiUGFyZW50U3R5bGUiOnsiJHJlZiI6Ijk4In19LCJNYXJnaW4iOm51bGwsIlN0YXJ0RGF0ZVBvc2l0aW9uIjoyLCJFbmREYXRlUG9zaXRpb24iOjIsIlRpdGxlUG9zaXRpb24iOjMsIkR1cmF0aW9uUG9zaXRpb24iOjYsIlBlcmNlbnRhZ2VDb21wbGV0ZWRQb3NpdGlvbiI6NiwiU3BhY2luZyI6NSwiSXNCZWxvd1RpbWViYW5kIjpmYWxzZSwiUGVyY2VudGFnZUNvbXBsZXRlU2hhcGVPcGFjaXR5IjozNSwiU2hhcGVTdHlsZSI6eyIkaWQiOiIyNTMiLCJNYXJnaW4iOnsiJHJlZiI6IjEwMiJ9LCJQYWRkaW5nIjp7IiRyZWYiOiIxMDMifSwiQmFja2dyb3VuZCI6eyIkaWQiOiIyNTQiLCJDb2xvciI6eyIkaWQiOiIyNTUiLCJBIjoyNTUsIlIiOjIzNSwiRyI6MTIwLCJCIjoxMH19LCJJc1Zpc2libGUiOnRydWUsIldpZHRoIjowLjAsIkhlaWdodCI6MjIuMCwiQm9yZGVyU3R5bGUiOnsiJGlkIjoiMjU2IiwiTGluZUNvbG9yIjp7IiRyZWYiOiIxMDUifSwiTGluZVdlaWdodCI6MC4wLCJMaW5lVHlwZSI6MCwiUGFyZW50U3R5bGUiOnsiJHJlZiI6IjEwNCJ9fSwiUGFyZW50U3R5bGUiOnsiJHJlZiI6IjEwMSJ9fSwiVGl0bGVTdHlsZSI6eyIkaWQiOiIyNTciLCJGb250U2V0dGluZ3MiOnsiJGlkIjoiMjU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1OSIsIkxpbmVDb2xvciI6bnVsbCwiTGluZVdlaWdodCI6MC4wLCJMaW5lVHlwZSI6MCwiUGFyZW50U3R5bGUiOm51bGx9LCJQYXJlbnRTdHlsZSI6eyIkcmVmIjoiMTA3In19LCJEYXRlU3R5bGUiOnsiJGlkIjoiMjYwIiwiRm9udFNldHRpbmdzIjp7IiRpZCI6IjI2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YyIiwiTGluZUNvbG9yIjpudWxsLCJMaW5lV2VpZ2h0IjowLjAsIkxpbmVUeXBlIjowLCJQYXJlbnRTdHlsZSI6bnVsbH0sIlBhcmVudFN0eWxlIjp7IiRyZWYiOiIxMTQifX0sIkRhdGVGb3JtYXQiOnsiJHJlZiI6IjEyMSJ9LCJJc1Zpc2libGUiOnRydWUsIlBhcmVudFN0eWxlIjp7IiRyZWYiOiI4MCJ9fSwiSW5kZXgiOjQsIklkIjoiNzg5ZmNhMDctNGFhMC00YjA4LWJkNzItZDU0NzU3MDUxMGNkIiwiSW1wb3J0SWQiOm51bGwsIlRpdGxlIjoiTWluZHNwaGVyZSAyLjAuIEZ1bGwgSW1wbGVtZW50YXRpb24iLCJOb3RlIjpudWxsLCJIeXBlcmxpbmsiOm51bGwsIklzQ2hhbmdlZCI6ZmFsc2UsIklzTmV3IjpmYWxzZX0seyIkaWQiOiIyNjMiLCJHcm91cE5hbWUiOm51bGwsIlN0YXJ0RGF0ZSI6IjIwMTctMTItMDFUMDA6MDA6MDBaIiwiRW5kRGF0ZSI6IjIwMTgtMDEtMzFUMjM6NTk6NTkuOTk5WiIsIlBlcmNlbnRhZ2VDb21wbGV0ZSI6bnVsbCwiU3R5bGUiOnsiJGlkIjoiMjY0IiwiU2hhcGUiOjEsIlNoYXBlVGhpY2tuZXNzIjoxLCJEdXJhdGlvbkZvcm1hdCI6MCwiSW5jbHVkZU5vbldvcmtpbmdEYXlzSW5EdXJhdGlvbiI6dHJ1ZSwiUGVyY2VudGFnZUNvbXBsZXRlU3R5bGUiOnsiJGlkIjoiMjY1IiwiRm9udFNldHRpbmdzIjp7IiRpZCI6IjI2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2NyIsIkxpbmVDb2xvciI6bnVsbCwiTGluZVdlaWdodCI6MC4wLCJMaW5lVHlwZSI6MCwiUGFyZW50U3R5bGUiOm51bGx9LCJQYXJlbnRTdHlsZSI6eyIkcmVmIjoiODEifX0sIkR1cmF0aW9uU3R5bGUiOnsiJGlkIjoiMjY4IiwiRm9udFNldHRpbmdzIjp7IiRpZCI6IjI2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3MCIsIkxpbmVDb2xvciI6bnVsbCwiTGluZVdlaWdodCI6MC4wLCJMaW5lVHlwZSI6MCwiUGFyZW50U3R5bGUiOm51bGx9LCJQYXJlbnRTdHlsZSI6eyIkcmVmIjoiODgifX0sIkhvcml6b250YWxDb25uZWN0b3JTdHlsZSI6eyIkaWQiOiIyNzEiLCJMaW5lQ29sb3IiOnsiJHJlZiI6Ijk2In0sIkxpbmVXZWlnaHQiOjAuMCwiTGluZVR5cGUiOjAsIlBhcmVudFN0eWxlIjp7IiRyZWYiOiI5NSJ9fSwiVmVydGljYWxDb25uZWN0b3JTdHlsZSI6eyIkaWQiOiIyNz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czIiwiTWFyZ2luIjp7IiRyZWYiOiIxMDIifSwiUGFkZGluZyI6eyIkcmVmIjoiMTAzIn0sIkJhY2tncm91bmQiOnsiJGlkIjoiMjc0IiwiQ29sb3IiOnsiJGlkIjoiMjc1IiwiQSI6MjU1LCJSIjoyLCJHIjoxNzgsIkIiOjIzOH19LCJJc1Zpc2libGUiOnRydWUsIldpZHRoIjowLjAsIkhlaWdodCI6MTYuMCwiQm9yZGVyU3R5bGUiOnsiJGlkIjoiMjc2IiwiTGluZUNvbG9yIjp7IiRyZWYiOiIxMDUifSwiTGluZVdlaWdodCI6MC4wLCJMaW5lVHlwZSI6MCwiUGFyZW50U3R5bGUiOnsiJHJlZiI6IjEwNCJ9fSwiUGFyZW50U3R5bGUiOnsiJHJlZiI6IjEwMSJ9fSwiVGl0bGVTdHlsZSI6eyIkaWQiOiIyNzciLCJGb250U2V0dGluZ3MiOnsiJGlkIjoiMjc4IiwiRm9udFNpemUiOjExLCJGb250TmFtZSI6IkNhbGlicmkiLCJJc0JvbGQiOnRydWUsIklzSXRhbGljIjpmYWxzZSwiSXNVbmRlcmxpbmVkIjpmYWxzZSwiUGFyZW50U3R5bGUiOnsiJHJlZiI6IjEwOCJ9fSwiQXV0b1NpemUiOjAsIkZvcmVncm91bmQiOnsiJHJlZiI6IjEwOSJ9LCJNYXhXaWR0aCI6NzIwLjA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I3OSIsIkxpbmVDb2xvciI6bnVsbCwiTGluZVdlaWdodCI6MC4wLCJMaW5lVHlwZSI6MCwiUGFyZW50U3R5bGUiOm51bGx9LCJQYXJlbnRTdHlsZSI6eyIkcmVmIjoiMTA3In19LCJEYXRlU3R5bGUiOnsiJGlkIjoiMjgwIiwiRm9udFNldHRpbmdzIjp7IiRpZCI6IjI4MSIsIkZvbnRTaXplIjoxMCwiRm9udE5hbWUiOiJDYWxpYnJpIiwiSXNCb2xkIjpmYWxzZSwiSXNJdGFsaWMiOmZhbHNlLCJJc1VuZGVybGluZWQiOmZhbHNlLCJQYXJlbnRTdHlsZSI6eyIkcmVmIjoiMTE1In19LCJBdXRvU2l6ZSI6MCwiRm9yZWdyb3VuZCI6eyIkcmVmIjoiMTE2In0sIk1heFdpZHRoIjoyMDAuMCwiTWF4SGVpZ2h0IjoiSW5maW5pdHkiLCJTbWFydEZvcmVncm91bmRJc0FjdGl2ZSI6ZmFsc2UsIkhvcml6b250YWxBbGlnbm1lbnQiOjIsIlZlcnRpY2FsQWxpZ25tZW50IjowLCJTbWFydEZvcmVncm91bmQiOm51bGwsIk1hcmdpbiI6eyIkcmVmIjoiMTE4In0sIlBhZGRpbmciOnsiJHJlZiI6IjExOSJ9LCJCYWNrZ3JvdW5kIjp7IiRyZWYiOiIxMjAifSwiSXNWaXNpYmxlIjp0cnVlLCJXaWR0aCI6MC4wLCJIZWlnaHQiOjAuMCwiQm9yZGVyU3R5bGUiOnsiJGlkIjoiMjgyIiwiTGluZUNvbG9yIjpudWxsLCJMaW5lV2VpZ2h0IjowLjAsIkxpbmVUeXBlIjowLCJQYXJlbnRTdHlsZSI6bnVsbH0sIlBhcmVudFN0eWxlIjp7IiRyZWYiOiIxMTQifX0sIkRhdGVGb3JtYXQiOnsiJHJlZiI6IjEyMSJ9LCJJc1Zpc2libGUiOnRydWUsIlBhcmVudFN0eWxlIjp7IiRyZWYiOiI4MCJ9fSwiSW5kZXgiOjUsIklkIjoiN2RkODM0ZDktZjkwZC00MWNmLWIzZTAtM2UzMjgxNzczZTFiIiwiSW1wb3J0SWQiOm51bGwsIlRpdGxlIjoiTWluZHNwaGVyZSAzLjAgTVZQIFNwZWNpZmljYXRpb24iLCJOb3RlIjpudWxsLCJIeXBlcmxpbmsiOm51bGwsIklzQ2hhbmdlZCI6ZmFsc2UsIklzTmV3IjpmYWxzZX0seyIkaWQiOiIyODMiLCJHcm91cE5hbWUiOm51bGwsIlN0YXJ0RGF0ZSI6IjIwMTgtMDEtMzFUMDA6MDA6MDBaIiwiRW5kRGF0ZSI6IjIwMTgtMDMtMzFUMjM6NTk6NTkuOTk5WiIsIlBlcmNlbnRhZ2VDb21wbGV0ZSI6bnVsbCwiU3R5bGUiOnsiJGlkIjoiMjg0IiwiU2hhcGUiOjEsIlNoYXBlVGhpY2tuZXNzIjoyLCJEdXJhdGlvbkZvcm1hdCI6MCwiSW5jbHVkZU5vbldvcmtpbmdEYXlzSW5EdXJhdGlvbiI6dHJ1ZSwiUGVyY2VudGFnZUNvbXBsZXRlU3R5bGUiOnsiJGlkIjoiMjg1IiwiRm9udFNldHRpbmdzIjp7IiRpZCI6IjI4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4NyIsIkxpbmVDb2xvciI6bnVsbCwiTGluZVdlaWdodCI6MC4wLCJMaW5lVHlwZSI6MCwiUGFyZW50U3R5bGUiOm51bGx9LCJQYXJlbnRTdHlsZSI6eyIkcmVmIjoiODEifX0sIkR1cmF0aW9uU3R5bGUiOnsiJGlkIjoiMjg4IiwiRm9udFNldHRpbmdzIjp7IiRpZCI6IjI4OSIsIkZvbnRTaXplIjoxMCwiRm9udE5hbWUiOiJDYWxpYnJpIiwiSXNCb2xkIjpmYWxzZSwiSXNJdGFsaWMiOmZhbHNlLCJJc1VuZGVybGluZWQiOmZhbHNlLCJQYXJlbnRTdHlsZSI6eyIkcmVmIjoiODkifX0sIkF1dG9TaXplIjowLCJGb3JlZ3JvdW5kIjp7IiRyZWYiOiI5MCJ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5MCIsIkxpbmVDb2xvciI6bnVsbCwiTGluZVdlaWdodCI6MC4wLCJMaW5lVHlwZSI6MCwiUGFyZW50U3R5bGUiOm51bGx9LCJQYXJlbnRTdHlsZSI6eyIkcmVmIjoiODgifX0sIkhvcml6b250YWxDb25uZWN0b3JTdHlsZSI6eyIkaWQiOiIyOTEiLCJMaW5lQ29sb3IiOnsiJHJlZiI6Ijk2In0sIkxpbmVXZWlnaHQiOjAuMCwiTGluZVR5cGUiOjAsIlBhcmVudFN0eWxlIjp7IiRyZWYiOiI5NSJ9fSwiVmVydGljYWxDb25uZWN0b3JTdHlsZSI6eyIkaWQiOiIyOTIiLCJMaW5lQ29sb3IiOnsiJHJlZiI6Ijk5In0sIkxpbmVXZWlnaHQiOjAuMCwiTGluZVR5cGUiOjAsIlBhcmVudFN0eWxlIjp7IiRyZWYiOiI5OCJ9fSwiTWFyZ2luIjpudWxsLCJTdGFydERhdGVQb3NpdGlvbiI6MiwiRW5kRGF0ZVBvc2l0aW9uIjoyLCJUaXRsZVBvc2l0aW9uIjozLCJEdXJhdGlvblBvc2l0aW9uIjo2LCJQZXJjZW50YWdlQ29tcGxldGVkUG9zaXRpb24iOjYsIlNwYWNpbmciOjUsIklzQmVsb3dUaW1lYmFuZCI6ZmFsc2UsIlBlcmNlbnRhZ2VDb21wbGV0ZVNoYXBlT3BhY2l0eSI6MzUsIlNoYXBlU3R5bGUiOnsiJGlkIjoiMjkzIiwiTWFyZ2luIjp7IiRyZWYiOiIxMDIifSwiUGFkZGluZyI6eyIkcmVmIjoiMTAzIn0sIkJhY2tncm91bmQiOnsiJGlkIjoiMjk0IiwiQ29sb3IiOnsiJGlkIjoiMjk1IiwiQSI6MjU1LCJSIjo0NywiRyI6NTQsIkIiOjE1M319LCJJc1Zpc2libGUiOnRydWUsIldpZHRoIjowLjAsIkhlaWdodCI6MjIuMCwiQm9yZGVyU3R5bGUiOnsiJGlkIjoiMjk2IiwiTGluZUNvbG9yIjp7IiRyZWYiOiIxMDUifSwiTGluZVdlaWdodCI6MC4wLCJMaW5lVHlwZSI6MCwiUGFyZW50U3R5bGUiOnsiJHJlZiI6IjEwNCJ9fSwiUGFyZW50U3R5bGUiOnsiJHJlZiI6IjEwMSJ9fSwiVGl0bGVTdHlsZSI6eyIkaWQiOiIyOTciLCJGb250U2V0dGluZ3MiOnsiJGlkIjoiMjk4IiwiRm9udFNpemUiOjExLCJGb250TmFtZSI6IkNhbGlicmkiLCJJc0JvbGQiOnRydWUsIklzSXRhbGljIjpmYWxzZSwiSXNVbmRlcmxpbmVkIjpmYWxzZSwiUGFyZW50U3R5bGUiOnsiJHJlZiI6IjEwOCJ9fSwiQXV0b1NpemUiOjIsIkZvcmVncm91bmQiOnsiJHJlZiI6IjEwOSJ9LCJNYXhXaWR0aCI6NjIuMCwiTWF4SGVpZ2h0IjoiSW5maW5pdHkiLCJTbWFydEZvcmVncm91bmRJc0FjdGl2ZSI6ZmFsc2UsIkhvcml6b250YWxBbGlnbm1lbnQiOjIsIlZlcnRpY2FsQWxpZ25tZW50IjowLCJTbWFydEZvcmVncm91bmQiOm51bGwsIk1hcmdpbiI6eyIkcmVmIjoiMTExIn0sIlBhZGRpbmciOnsiJHJlZiI6IjExMiJ9LCJCYWNrZ3JvdW5kIjp7IiRyZWYiOiIxMTMifSwiSXNWaXNpYmxlIjp0cnVlLCJXaWR0aCI6MC4wLCJIZWlnaHQiOjAuMCwiQm9yZGVyU3R5bGUiOnsiJGlkIjoiMjk5IiwiTGluZUNvbG9yIjpudWxsLCJMaW5lV2VpZ2h0IjowLjAsIkxpbmVUeXBlIjowLCJQYXJlbnRTdHlsZSI6bnVsbH0sIlBhcmVudFN0eWxlIjp7IiRyZWYiOiIxMDcifX0sIkRhdGVTdHlsZSI6eyIkaWQiOiIzMDAiLCJGb250U2V0dGluZ3MiOnsiJGlkIjoiMzAxIiwiRm9udFNpemUiOjEwLCJGb250TmFtZSI6IkNhbGlicmkiLCJJc0JvbGQiOmZhbHNlLCJJc0l0YWxpYyI6ZmFsc2UsIklzVW5kZXJsaW5lZCI6ZmFsc2UsIlBhcmVudFN0eWxlIjp7IiRyZWYiOiIxMTUifX0sIkF1dG9TaXplIjowLCJGb3JlZ3JvdW5kIjp7IiRpZCI6IjMwMiIsIkNvbG9yIjp7IiRpZCI6IjMwMyIsIkEiOjI1NSwiUiI6MjU1LCJHIjoyNTUsIkIiOjI1NX19LCJNYXhXaWR0aCI6MjAwLjAsIk1heEhlaWdodCI6IkluZmluaXR5IiwiU21hcnRGb3JlZ3JvdW5kSXNBY3RpdmUiOmZhbHNlLCJIb3Jpem9udGFsQWxpZ25tZW50IjoyLCJWZXJ0aWNhbEFsaWdubWVudCI6MCwiU21hcnRGb3JlZ3JvdW5kIjpudWxsLCJNYXJnaW4iOnsiJHJlZiI6IjExOCJ9LCJQYWRkaW5nIjp7IiRyZWYiOiIxMTkifSwiQmFja2dyb3VuZCI6eyIkcmVmIjoiMTIwIn0sIklzVmlzaWJsZSI6dHJ1ZSwiV2lkdGgiOjAuMCwiSGVpZ2h0IjowLjAsIkJvcmRlclN0eWxlIjp7IiRpZCI6IjMwNCIsIkxpbmVDb2xvciI6bnVsbCwiTGluZVdlaWdodCI6MC4wLCJMaW5lVHlwZSI6MCwiUGFyZW50U3R5bGUiOm51bGx9LCJQYXJlbnRTdHlsZSI6eyIkcmVmIjoiMTE0In19LCJEYXRlRm9ybWF0Ijp7IiRyZWYiOiIxMjEifSwiSXNWaXNpYmxlIjp0cnVlLCJQYXJlbnRTdHlsZSI6eyIkcmVmIjoiODAifX0sIkluZGV4Ijo2LCJJZCI6ImZmYmIwMDhkLWZlMjItNGI1ZS1iMWEzLTBkNjY3NmUyYjdmMiIsIkltcG9ydElkIjpudWxsLCJUaXRsZSI6Ik1pbmRzcGhlcmUgMy4wLiBNVlAgSW1wbGVtZW50YXRpb24iLCJOb3RlIjpudWxsLCJIeXBlcmxpbmsiOm51bGwsIklzQ2hhbmdlZCI6ZmFsc2UsIklzTmV3IjpmYWxzZX1dLCJNc1Byb2plY3RJdGVtc1RyZWUiOnsiJGlkIjoiMzA1IiwiUm9vdCI6eyJJbXBvcnRJZCI6bnVsbCwiSXNJbXBvcnRlZCI6ZmFsc2UsIkNoaWxkcmVuIjpbXX19LCJNZXRhZGF0YSI6eyIkaWQiOiIzMDYifSwiU2V0dGluZ3MiOnsiJGlkIjoiMzA3IiwiSW1wYU9wdGlvbnMiOnsiJGlkIjoiMzA4IiwiTGVmdFRvUmlnaHQiOmZhbHNlLCJQYXlsb2FkT3B0aW9ucyI6Mn0sIlVzZUNvbXByZXNzaW9uIjpmYWxzZSwiQ29tcHJlc2lvblBlcmNlbnRhZ2UiOjAuMCwiSW5hY3RpdmVJbnRlcnZhbFdpZHRoVGhyZXNob2xkIjowLjAsIkluYWN0aXZlSW50ZXJ2YWxXaWR0aCI6MC4wLCJTcGxpdFRhc2tzIjpmYWxzZSwiVXNlQ2x1c3RlciI6ZmFsc2UsIkVwc2lsb24iOjAuMCwiTWluUG9pbnRzVG9Gb3JtQUNsdXN0ZXIiOjAsIkdlbmVyYXRlSW52aXNpYmxlU2hhcGVzIjpmYWxzZSwiU21hcnRUaW1lbGluZVRhc2tQZXJjZW50YWdlRml0IjpmYWxzZX0sIklzTmV3Ijp0cnVlLCJJbXBvcnRUeXBlIjowLCJGaWxlUGF0aCI6bnVsbCwiVGltZWxpbmVJbXBvcnRlZCI6ZmFsc2V9"/>
  <p:tag name="__MASTER" val="__part_0"/>
</p:tagLst>
</file>

<file path=ppt/tags/tag282.xml><?xml version="1.0" encoding="utf-8"?>
<p:tagLst xmlns:a="http://schemas.openxmlformats.org/drawingml/2006/main" xmlns:r="http://schemas.openxmlformats.org/officeDocument/2006/relationships" xmlns:p="http://schemas.openxmlformats.org/presentationml/2006/main">
  <p:tag name="OTLMARKERSHAPE" val="OTL"/>
</p:tagLst>
</file>

<file path=ppt/tags/tag283.xml><?xml version="1.0" encoding="utf-8"?>
<p:tagLst xmlns:a="http://schemas.openxmlformats.org/drawingml/2006/main" xmlns:r="http://schemas.openxmlformats.org/officeDocument/2006/relationships" xmlns:p="http://schemas.openxmlformats.org/presentationml/2006/main">
  <p:tag name="OTLMARKERSHAPE" val="OTL"/>
</p:tagLst>
</file>

<file path=ppt/tags/tag284.xml><?xml version="1.0" encoding="utf-8"?>
<p:tagLst xmlns:a="http://schemas.openxmlformats.org/drawingml/2006/main" xmlns:r="http://schemas.openxmlformats.org/officeDocument/2006/relationships" xmlns:p="http://schemas.openxmlformats.org/presentationml/2006/main">
  <p:tag name="OTLMARKERSHAPE" val="OTL"/>
</p:tagLst>
</file>

<file path=ppt/tags/tag285.xml><?xml version="1.0" encoding="utf-8"?>
<p:tagLst xmlns:a="http://schemas.openxmlformats.org/drawingml/2006/main" xmlns:r="http://schemas.openxmlformats.org/officeDocument/2006/relationships" xmlns:p="http://schemas.openxmlformats.org/presentationml/2006/main">
  <p:tag name="OTLMARKERSHAPE" val="OTL"/>
</p:tagLst>
</file>

<file path=ppt/tags/tag286.xml><?xml version="1.0" encoding="utf-8"?>
<p:tagLst xmlns:a="http://schemas.openxmlformats.org/drawingml/2006/main" xmlns:r="http://schemas.openxmlformats.org/officeDocument/2006/relationships" xmlns:p="http://schemas.openxmlformats.org/presentationml/2006/main">
  <p:tag name="OTLMARKERSHAPE" val="OTL"/>
</p:tagLst>
</file>

<file path=ppt/tags/tag287.xml><?xml version="1.0" encoding="utf-8"?>
<p:tagLst xmlns:a="http://schemas.openxmlformats.org/drawingml/2006/main" xmlns:r="http://schemas.openxmlformats.org/officeDocument/2006/relationships" xmlns:p="http://schemas.openxmlformats.org/presentationml/2006/main">
  <p:tag name="OTLMARKERSHAPE" val="OTL"/>
</p:tagLst>
</file>

<file path=ppt/tags/tag288.xml><?xml version="1.0" encoding="utf-8"?>
<p:tagLst xmlns:a="http://schemas.openxmlformats.org/drawingml/2006/main" xmlns:r="http://schemas.openxmlformats.org/officeDocument/2006/relationships" xmlns:p="http://schemas.openxmlformats.org/presentationml/2006/main">
  <p:tag name="OTLMARKERSHAPE" val="OTL"/>
</p:tagLst>
</file>

<file path=ppt/tags/tag289.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90.xml><?xml version="1.0" encoding="utf-8"?>
<p:tagLst xmlns:a="http://schemas.openxmlformats.org/drawingml/2006/main" xmlns:r="http://schemas.openxmlformats.org/officeDocument/2006/relationships" xmlns:p="http://schemas.openxmlformats.org/presentationml/2006/main">
  <p:tag name="OTLMARKERSHAPE" val="OTL"/>
</p:tagLst>
</file>

<file path=ppt/tags/tag291.xml><?xml version="1.0" encoding="utf-8"?>
<p:tagLst xmlns:a="http://schemas.openxmlformats.org/drawingml/2006/main" xmlns:r="http://schemas.openxmlformats.org/officeDocument/2006/relationships" xmlns:p="http://schemas.openxmlformats.org/presentationml/2006/main">
  <p:tag name="OTLMARKERSHAPE" val="OTL"/>
</p:tagLst>
</file>

<file path=ppt/tags/tag292.xml><?xml version="1.0" encoding="utf-8"?>
<p:tagLst xmlns:a="http://schemas.openxmlformats.org/drawingml/2006/main" xmlns:r="http://schemas.openxmlformats.org/officeDocument/2006/relationships" xmlns:p="http://schemas.openxmlformats.org/presentationml/2006/main">
  <p:tag name="OTLMARKERSHAPE" val="OTL"/>
</p:tagLst>
</file>

<file path=ppt/tags/tag293.xml><?xml version="1.0" encoding="utf-8"?>
<p:tagLst xmlns:a="http://schemas.openxmlformats.org/drawingml/2006/main" xmlns:r="http://schemas.openxmlformats.org/officeDocument/2006/relationships" xmlns:p="http://schemas.openxmlformats.org/presentationml/2006/main">
  <p:tag name="OTLMARKERSHAPE" val="OTL"/>
</p:tagLst>
</file>

<file path=ppt/tags/tag294.xml><?xml version="1.0" encoding="utf-8"?>
<p:tagLst xmlns:a="http://schemas.openxmlformats.org/drawingml/2006/main" xmlns:r="http://schemas.openxmlformats.org/officeDocument/2006/relationships" xmlns:p="http://schemas.openxmlformats.org/presentationml/2006/main">
  <p:tag name="OTLMARKERSHAPE" val="OTL"/>
</p:tagLst>
</file>

<file path=ppt/tags/tag295.xml><?xml version="1.0" encoding="utf-8"?>
<p:tagLst xmlns:a="http://schemas.openxmlformats.org/drawingml/2006/main" xmlns:r="http://schemas.openxmlformats.org/officeDocument/2006/relationships" xmlns:p="http://schemas.openxmlformats.org/presentationml/2006/main">
  <p:tag name="OTLMARKERSHAPE" val="OTL"/>
</p:tagLst>
</file>

<file path=ppt/tags/tag296.xml><?xml version="1.0" encoding="utf-8"?>
<p:tagLst xmlns:a="http://schemas.openxmlformats.org/drawingml/2006/main" xmlns:r="http://schemas.openxmlformats.org/officeDocument/2006/relationships" xmlns:p="http://schemas.openxmlformats.org/presentationml/2006/main">
  <p:tag name="OTLMARKERSHAPE" val="OTL"/>
</p:tagLst>
</file>

<file path=ppt/tags/tag297.xml><?xml version="1.0" encoding="utf-8"?>
<p:tagLst xmlns:a="http://schemas.openxmlformats.org/drawingml/2006/main" xmlns:r="http://schemas.openxmlformats.org/officeDocument/2006/relationships" xmlns:p="http://schemas.openxmlformats.org/presentationml/2006/main">
  <p:tag name="OTLMARKERSHAPE" val="OTL"/>
</p:tagLst>
</file>

<file path=ppt/tags/tag298.xml><?xml version="1.0" encoding="utf-8"?>
<p:tagLst xmlns:a="http://schemas.openxmlformats.org/drawingml/2006/main" xmlns:r="http://schemas.openxmlformats.org/officeDocument/2006/relationships" xmlns:p="http://schemas.openxmlformats.org/presentationml/2006/main">
  <p:tag name="OTLMARKERSHAPE" val="OTL"/>
</p:tagLst>
</file>

<file path=ppt/tags/tag29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00.xml><?xml version="1.0" encoding="utf-8"?>
<p:tagLst xmlns:a="http://schemas.openxmlformats.org/drawingml/2006/main" xmlns:r="http://schemas.openxmlformats.org/officeDocument/2006/relationships" xmlns:p="http://schemas.openxmlformats.org/presentationml/2006/main">
  <p:tag name="OTLMARKERSHAPE" val="OTL"/>
</p:tagLst>
</file>

<file path=ppt/tags/tag301.xml><?xml version="1.0" encoding="utf-8"?>
<p:tagLst xmlns:a="http://schemas.openxmlformats.org/drawingml/2006/main" xmlns:r="http://schemas.openxmlformats.org/officeDocument/2006/relationships" xmlns:p="http://schemas.openxmlformats.org/presentationml/2006/main">
  <p:tag name="OTLMARKERSHAPE" val="OTL"/>
</p:tagLst>
</file>

<file path=ppt/tags/tag302.xml><?xml version="1.0" encoding="utf-8"?>
<p:tagLst xmlns:a="http://schemas.openxmlformats.org/drawingml/2006/main" xmlns:r="http://schemas.openxmlformats.org/officeDocument/2006/relationships" xmlns:p="http://schemas.openxmlformats.org/presentationml/2006/main">
  <p:tag name="OTLMARKERSHAPE" val="OTL"/>
</p:tagLst>
</file>

<file path=ppt/tags/tag303.xml><?xml version="1.0" encoding="utf-8"?>
<p:tagLst xmlns:a="http://schemas.openxmlformats.org/drawingml/2006/main" xmlns:r="http://schemas.openxmlformats.org/officeDocument/2006/relationships" xmlns:p="http://schemas.openxmlformats.org/presentationml/2006/main">
  <p:tag name="OTLMARKERSHAPE" val="OTL"/>
</p:tagLst>
</file>

<file path=ppt/tags/tag304.xml><?xml version="1.0" encoding="utf-8"?>
<p:tagLst xmlns:a="http://schemas.openxmlformats.org/drawingml/2006/main" xmlns:r="http://schemas.openxmlformats.org/officeDocument/2006/relationships" xmlns:p="http://schemas.openxmlformats.org/presentationml/2006/main">
  <p:tag name="OTLMARKERSHAPE" val="OTL"/>
</p:tagLst>
</file>

<file path=ppt/tags/tag305.xml><?xml version="1.0" encoding="utf-8"?>
<p:tagLst xmlns:a="http://schemas.openxmlformats.org/drawingml/2006/main" xmlns:r="http://schemas.openxmlformats.org/officeDocument/2006/relationships" xmlns:p="http://schemas.openxmlformats.org/presentationml/2006/main">
  <p:tag name="OTLMARKERSHAPE" val="OTL"/>
</p:tagLst>
</file>

<file path=ppt/tags/tag306.xml><?xml version="1.0" encoding="utf-8"?>
<p:tagLst xmlns:a="http://schemas.openxmlformats.org/drawingml/2006/main" xmlns:r="http://schemas.openxmlformats.org/officeDocument/2006/relationships" xmlns:p="http://schemas.openxmlformats.org/presentationml/2006/main">
  <p:tag name="OTLMARKERSHAPE" val="OTL"/>
</p:tagLst>
</file>

<file path=ppt/tags/tag307.xml><?xml version="1.0" encoding="utf-8"?>
<p:tagLst xmlns:a="http://schemas.openxmlformats.org/drawingml/2006/main" xmlns:r="http://schemas.openxmlformats.org/officeDocument/2006/relationships" xmlns:p="http://schemas.openxmlformats.org/presentationml/2006/main">
  <p:tag name="OTLMARKERSHAPE" val="OTL"/>
</p:tagLst>
</file>

<file path=ppt/tags/tag308.xml><?xml version="1.0" encoding="utf-8"?>
<p:tagLst xmlns:a="http://schemas.openxmlformats.org/drawingml/2006/main" xmlns:r="http://schemas.openxmlformats.org/officeDocument/2006/relationships" xmlns:p="http://schemas.openxmlformats.org/presentationml/2006/main">
  <p:tag name="OTLMARKERSHAPE" val="OTL"/>
</p:tagLst>
</file>

<file path=ppt/tags/tag309.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10.xml><?xml version="1.0" encoding="utf-8"?>
<p:tagLst xmlns:a="http://schemas.openxmlformats.org/drawingml/2006/main" xmlns:r="http://schemas.openxmlformats.org/officeDocument/2006/relationships" xmlns:p="http://schemas.openxmlformats.org/presentationml/2006/main">
  <p:tag name="OTLMARKERSHAPE" val="OTL"/>
</p:tagLst>
</file>

<file path=ppt/tags/tag311.xml><?xml version="1.0" encoding="utf-8"?>
<p:tagLst xmlns:a="http://schemas.openxmlformats.org/drawingml/2006/main" xmlns:r="http://schemas.openxmlformats.org/officeDocument/2006/relationships" xmlns:p="http://schemas.openxmlformats.org/presentationml/2006/main">
  <p:tag name="OTLMARKERSHAPE" val="OTL"/>
</p:tagLst>
</file>

<file path=ppt/tags/tag312.xml><?xml version="1.0" encoding="utf-8"?>
<p:tagLst xmlns:a="http://schemas.openxmlformats.org/drawingml/2006/main" xmlns:r="http://schemas.openxmlformats.org/officeDocument/2006/relationships" xmlns:p="http://schemas.openxmlformats.org/presentationml/2006/main">
  <p:tag name="OTLMARKERSHAPE" val="OTL"/>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One object (small) + Navigation</Name>
  <PpLayout>32</PpLayout>
  <Index>18</Index>
</p4ppTags>
</file>

<file path=customXml/item10.xml><?xml version="1.0" encoding="utf-8"?>
<p4ppTags>
  <Name>One object (large)</Name>
  <PpLayout>16</PpLayout>
  <Index>10</Index>
</p4ppTags>
</file>

<file path=customXml/item11.xml><?xml version="1.0" encoding="utf-8"?>
<p4ppTags>
  <Name>One object (large) + Navigation</Name>
  <PpLayout>32</PpLayout>
  <Index>17</Index>
</p4ppTags>
</file>

<file path=customXml/item12.xml><?xml version="1.0" encoding="utf-8"?>
<p4ppTags>
  <Name>Four objects + Navigation</Name>
  <PpLayout>32</PpLayout>
  <Index>22</Index>
</p4ppTags>
</file>

<file path=customXml/item13.xml><?xml version="1.0" encoding="utf-8"?>
<p4ppTags>
  <Name>Free Content</Name>
  <PpLayout>11</PpLayout>
  <Index>9</Index>
</p4ppTags>
</file>

<file path=customXml/item14.xml><?xml version="1.0" encoding="utf-8"?>
<p4ppTags>
  <Name>Text + Index</Name>
  <PpLayout>32</PpLayout>
  <Index>8</Index>
</p4ppTags>
</file>

<file path=customXml/item15.xml><?xml version="1.0" encoding="utf-8"?>
<p4ppTags>
  <Name>Two rows + Navigation</Name>
  <PpLayout>32</PpLayout>
  <Index>21</Index>
</p4ppTags>
</file>

<file path=customXml/item16.xml><?xml version="1.0" encoding="utf-8"?>
<p4ppTags>
  <Name>Two columns</Name>
  <PpLayout>29</PpLayout>
  <Index>12</Index>
</p4ppTags>
</file>

<file path=customXml/item17.xml><?xml version="1.0" encoding="utf-8"?>
<p4ppTags>
  <Name>One object (small)</Name>
  <PpLayout>16</PpLayout>
  <Index>11</Index>
</p4ppTags>
</file>

<file path=customXml/item18.xml><?xml version="1.0" encoding="utf-8"?>
<p4ppTags>
  <Name>Four objects + Navigation</Name>
  <PpLayout>32</PpLayout>
  <Index>22</Index>
</p4ppTags>
</file>

<file path=customXml/item19.xml><?xml version="1.0" encoding="utf-8"?>
<p4ppTags>
  <Name>One object (small) + Navigation</Name>
  <PpLayout>32</PpLayout>
  <Index>18</Index>
</p4ppTags>
</file>

<file path=customXml/item2.xml><?xml version="1.0" encoding="utf-8"?>
<p4ppTags>
  <Name>Two rows</Name>
  <PpLayout>32</PpLayout>
  <Index>13</Index>
</p4ppTags>
</file>

<file path=customXml/item20.xml><?xml version="1.0" encoding="utf-8"?>
<p4ppTags>
  <Name>Four objects</Name>
  <PpLayout>24</PpLayout>
  <Index>15</Index>
</p4ppTags>
</file>

<file path=customXml/item21.xml><?xml version="1.0" encoding="utf-8"?>
<p4ppTags>
  <Name>Two rows</Name>
  <PpLayout>32</PpLayout>
  <Index>13</Index>
</p4ppTags>
</file>

<file path=customXml/item22.xml><?xml version="1.0" encoding="utf-8"?>
<p4ppTags>
  <Name>One object (small)</Name>
  <PpLayout>16</PpLayout>
  <Index>11</Index>
</p4ppTags>
</file>

<file path=customXml/item23.xml><?xml version="1.0" encoding="utf-8"?>
<p4ppTags>
  <Name>One object (small) + Navigation</Name>
  <PpLayout>32</PpLayout>
  <Index>18</Index>
</p4ppTags>
</file>

<file path=customXml/item24.xml><?xml version="1.0" encoding="utf-8"?>
<p4ppTags>
  <Name>One object (large)</Name>
  <PpLayout>16</PpLayout>
  <Index>10</Index>
</p4ppTags>
</file>

<file path=customXml/item25.xml><?xml version="1.0" encoding="utf-8"?>
<p4ppTags>
  <Name>Free Content + Navigation</Name>
  <PpLayout>32</PpLayout>
  <Index>16</Index>
</p4ppTags>
</file>

<file path=customXml/item26.xml><?xml version="1.0" encoding="utf-8"?>
<p4ppTags>
  <Name>Two columns</Name>
  <PpLayout>29</PpLayout>
  <Index>12</Index>
</p4ppTags>
</file>

<file path=customXml/item27.xml><?xml version="1.0" encoding="utf-8"?>
<p4ppTags>
  <Name>One object (large) + Navigation</Name>
  <PpLayout>32</PpLayout>
  <Index>17</Index>
</p4ppTags>
</file>

<file path=customXml/item28.xml><?xml version="1.0" encoding="utf-8"?>
<p4ppTags>
  <Name>Two rows</Name>
  <PpLayout>32</PpLayout>
  <Index>13</Index>
</p4ppTags>
</file>

<file path=customXml/item29.xml><?xml version="1.0" encoding="utf-8"?>
<p4ppTags>
  <Name>Text + Index</Name>
  <PpLayout>32</PpLayout>
  <Index>8</Index>
</p4ppTags>
</file>

<file path=customXml/item3.xml><?xml version="1.0" encoding="utf-8"?>
<p4ppTags>
  <Name>Two columns + Navigation</Name>
  <PpLayout>32</PpLayout>
  <Index>19</Index>
</p4ppTags>
</file>

<file path=customXml/item30.xml><?xml version="1.0" encoding="utf-8"?>
<p4ppTags>
  <Name>Three columns + Navigation</Name>
  <PpLayout>32</PpLayout>
  <Index>20</Index>
</p4ppTags>
</file>

<file path=customXml/item31.xml><?xml version="1.0" encoding="utf-8"?>
<p4ppTags>
  <Name>Three columns + Navigation</Name>
  <PpLayout>32</PpLayout>
  <Index>20</Index>
</p4ppTags>
</file>

<file path=customXml/item32.xml><?xml version="1.0" encoding="utf-8"?>
<p4ppTags>
  <Name>Two columns</Name>
  <PpLayout>29</PpLayout>
  <Index>12</Index>
</p4ppTags>
</file>

<file path=customXml/item33.xml><?xml version="1.0" encoding="utf-8"?>
<p4ppTags>
  <Name>Free Content</Name>
  <PpLayout>11</PpLayout>
  <Index>9</Index>
</p4ppTags>
</file>

<file path=customXml/item34.xml><?xml version="1.0" encoding="utf-8"?>
<p4ppTags>
  <Name>Two columns + Navigation</Name>
  <PpLayout>32</PpLayout>
  <Index>19</Index>
</p4ppTags>
</file>

<file path=customXml/item35.xml><?xml version="1.0" encoding="utf-8"?>
<p4ppTags>
  <Name>One object (large) + Navigation</Name>
  <PpLayout>32</PpLayout>
  <Index>17</Index>
</p4ppTags>
</file>

<file path=customXml/item36.xml><?xml version="1.0" encoding="utf-8"?>
<p4ppTags>
  <Name>Two rows</Name>
  <PpLayout>32</PpLayout>
  <Index>13</Index>
</p4ppTags>
</file>

<file path=customXml/item37.xml><?xml version="1.0" encoding="utf-8"?>
<p4ppTags>
  <Name>Three columns</Name>
  <PpLayout>32</PpLayout>
  <Index>14</Index>
</p4ppTags>
</file>

<file path=customXml/item38.xml><?xml version="1.0" encoding="utf-8"?>
<p4ppTags>
  <Name>One object (large)</Name>
  <PpLayout>16</PpLayout>
  <Index>10</Index>
</p4ppTags>
</file>

<file path=customXml/item39.xml><?xml version="1.0" encoding="utf-8"?>
<p4ppTags>
  <Name>One object (large)</Name>
  <PpLayout>16</PpLayout>
  <Index>10</Index>
</p4ppTags>
</file>

<file path=customXml/item4.xml><?xml version="1.0" encoding="utf-8"?>
<p4ppTags>
  <Name>Text + Index</Name>
  <PpLayout>32</PpLayout>
  <Index>8</Index>
</p4ppTags>
</file>

<file path=customXml/item40.xml><?xml version="1.0" encoding="utf-8"?>
<p4ppTags>
  <Name>Two rows + Navigation</Name>
  <PpLayout>32</PpLayout>
  <Index>21</Index>
</p4ppTags>
</file>

<file path=customXml/item41.xml><?xml version="1.0" encoding="utf-8"?>
<p4ppTags>
  <Name>Free Content + Navigation</Name>
  <PpLayout>32</PpLayout>
  <Index>16</Index>
</p4ppTags>
</file>

<file path=customXml/item42.xml><?xml version="1.0" encoding="utf-8"?>
<p4ppTags>
  <Name>Free Content</Name>
  <PpLayout>11</PpLayout>
  <Index>9</Index>
</p4ppTags>
</file>

<file path=customXml/item43.xml><?xml version="1.0" encoding="utf-8"?>
<p4ppTags>
  <Name>Four objects + Navigation</Name>
  <PpLayout>32</PpLayout>
  <Index>22</Index>
</p4ppTags>
</file>

<file path=customXml/item44.xml><?xml version="1.0" encoding="utf-8"?>
<p4ppTags>
  <Name>Three columns</Name>
  <PpLayout>32</PpLayout>
  <Index>14</Index>
</p4ppTags>
</file>

<file path=customXml/item45.xml><?xml version="1.0" encoding="utf-8"?>
<p4ppTags>
  <Name>One object (large)</Name>
  <PpLayout>16</PpLayout>
  <Index>10</Index>
</p4ppTags>
</file>

<file path=customXml/item46.xml><?xml version="1.0" encoding="utf-8"?>
<p4ppTags>
  <Name>Three columns + Navigation</Name>
  <PpLayout>32</PpLayout>
  <Index>20</Index>
</p4ppTags>
</file>

<file path=customXml/item47.xml><?xml version="1.0" encoding="utf-8"?>
<p4ppTags>
  <Name>Three columns</Name>
  <PpLayout>32</PpLayout>
  <Index>14</Index>
</p4ppTags>
</file>

<file path=customXml/item48.xml><?xml version="1.0" encoding="utf-8"?>
<p4ppTags>
  <Name>One object (small)</Name>
  <PpLayout>16</PpLayout>
  <Index>11</Index>
</p4ppTags>
</file>

<file path=customXml/item49.xml><?xml version="1.0" encoding="utf-8"?>
<p4ppTags>
  <Name>Four objects</Name>
  <PpLayout>24</PpLayout>
  <Index>15</Index>
</p4ppTags>
</file>

<file path=customXml/item5.xml><?xml version="1.0" encoding="utf-8"?>
<p4ppTags>
  <Name>Free Content</Name>
  <PpLayout>11</PpLayout>
  <Index>9</Index>
</p4ppTags>
</file>

<file path=customXml/item50.xml><?xml version="1.0" encoding="utf-8"?>
<p4ppTags>
  <Name>Four objects + Navigation</Name>
  <PpLayout>32</PpLayout>
  <Index>22</Index>
</p4ppTags>
</file>

<file path=customXml/item51.xml><?xml version="1.0" encoding="utf-8"?>
<p4ppTags>
  <Name>Free Content + Navigation</Name>
  <PpLayout>32</PpLayout>
  <Index>16</Index>
</p4ppTags>
</file>

<file path=customXml/item52.xml><?xml version="1.0" encoding="utf-8"?>
<p4ppTags>
  <Name>One object (small)</Name>
  <PpLayout>16</PpLayout>
  <Index>11</Index>
</p4ppTags>
</file>

<file path=customXml/item53.xml><?xml version="1.0" encoding="utf-8"?>
<p4ppTags>
  <Name>Two columns</Name>
  <PpLayout>29</PpLayout>
  <Index>12</Index>
</p4ppTags>
</file>

<file path=customXml/item54.xml><?xml version="1.0" encoding="utf-8"?>
<p4ppTags>
  <Name>One object (small) + Navigation</Name>
  <PpLayout>32</PpLayout>
  <Index>18</Index>
</p4ppTags>
</file>

<file path=customXml/item55.xml><?xml version="1.0" encoding="utf-8"?>
<p4ppTags>
  <Name>Three columns + Navigation</Name>
  <PpLayout>32</PpLayout>
  <Index>20</Index>
</p4ppTags>
</file>

<file path=customXml/item56.xml><?xml version="1.0" encoding="utf-8"?>
<p4ppTags>
  <Name>Three columns</Name>
  <PpLayout>32</PpLayout>
  <Index>14</Index>
</p4ppTags>
</file>

<file path=customXml/item57.xml><?xml version="1.0" encoding="utf-8"?>
<p4ppTags>
  <Name>Text + Index</Name>
  <PpLayout>32</PpLayout>
  <Index>8</Index>
</p4ppTags>
</file>

<file path=customXml/item58.xml><?xml version="1.0" encoding="utf-8"?>
<p4ppTags>
  <Name>Two columns + Navigation</Name>
  <PpLayout>32</PpLayout>
  <Index>19</Index>
</p4ppTags>
</file>

<file path=customXml/item59.xml><?xml version="1.0" encoding="utf-8"?>
<p4ppTags>
  <Name>Four objects</Name>
  <PpLayout>24</PpLayout>
  <Index>15</Index>
</p4ppTags>
</file>

<file path=customXml/item6.xml><?xml version="1.0" encoding="utf-8"?>
<p4ppTags>
  <Name>One object (large) + Navigation</Name>
  <PpLayout>32</PpLayout>
  <Index>17</Index>
</p4ppTags>
</file>

<file path=customXml/item60.xml><?xml version="1.0" encoding="utf-8"?>
<p4ppTags>
  <Name>Two columns + Navigation</Name>
  <PpLayout>32</PpLayout>
  <Index>19</Index>
</p4ppTags>
</file>

<file path=customXml/item61.xml><?xml version="1.0" encoding="utf-8"?>
<p4ppTags>
  <Name>Four objects</Name>
  <PpLayout>24</PpLayout>
  <Index>15</Index>
</p4ppTags>
</file>

<file path=customXml/item7.xml><?xml version="1.0" encoding="utf-8"?>
<p4ppTags>
  <Name>Two rows + Navigation</Name>
  <PpLayout>32</PpLayout>
  <Index>21</Index>
</p4ppTags>
</file>

<file path=customXml/item8.xml><?xml version="1.0" encoding="utf-8"?>
<p4ppTags>
  <Name>Two rows + Navigation</Name>
  <PpLayout>32</PpLayout>
  <Index>21</Index>
</p4ppTags>
</file>

<file path=customXml/item9.xml><?xml version="1.0" encoding="utf-8"?>
<p4ppTags>
  <Name>Free Content + Navigation</Name>
  <PpLayout>32</PpLayout>
  <Index>16</Index>
</p4ppTags>
</file>

<file path=customXml/itemProps1.xml><?xml version="1.0" encoding="utf-8"?>
<ds:datastoreItem xmlns:ds="http://schemas.openxmlformats.org/officeDocument/2006/customXml" ds:itemID="{1435C469-2BD2-49B8-A6D4-82FA6728B6AB}">
  <ds:schemaRefs/>
</ds:datastoreItem>
</file>

<file path=customXml/itemProps10.xml><?xml version="1.0" encoding="utf-8"?>
<ds:datastoreItem xmlns:ds="http://schemas.openxmlformats.org/officeDocument/2006/customXml" ds:itemID="{C9CDDDA1-F4DD-4150-9704-B0C4904CCFAE}">
  <ds:schemaRefs/>
</ds:datastoreItem>
</file>

<file path=customXml/itemProps11.xml><?xml version="1.0" encoding="utf-8"?>
<ds:datastoreItem xmlns:ds="http://schemas.openxmlformats.org/officeDocument/2006/customXml" ds:itemID="{E323A0BA-A65E-4CEE-A0D5-5E24A56887B8}">
  <ds:schemaRefs/>
</ds:datastoreItem>
</file>

<file path=customXml/itemProps12.xml><?xml version="1.0" encoding="utf-8"?>
<ds:datastoreItem xmlns:ds="http://schemas.openxmlformats.org/officeDocument/2006/customXml" ds:itemID="{B93E90F3-4B43-42B9-A00D-9C889D81B2C0}">
  <ds:schemaRefs/>
</ds:datastoreItem>
</file>

<file path=customXml/itemProps13.xml><?xml version="1.0" encoding="utf-8"?>
<ds:datastoreItem xmlns:ds="http://schemas.openxmlformats.org/officeDocument/2006/customXml" ds:itemID="{6C507E71-EAB6-4680-B7BF-6BCF8CAC3C7F}">
  <ds:schemaRefs/>
</ds:datastoreItem>
</file>

<file path=customXml/itemProps14.xml><?xml version="1.0" encoding="utf-8"?>
<ds:datastoreItem xmlns:ds="http://schemas.openxmlformats.org/officeDocument/2006/customXml" ds:itemID="{0156A6AA-EE1C-4579-A55F-AF8A89BE8B77}">
  <ds:schemaRefs/>
</ds:datastoreItem>
</file>

<file path=customXml/itemProps15.xml><?xml version="1.0" encoding="utf-8"?>
<ds:datastoreItem xmlns:ds="http://schemas.openxmlformats.org/officeDocument/2006/customXml" ds:itemID="{9D83B9C0-2632-4F2A-8978-002E570D91D2}">
  <ds:schemaRefs/>
</ds:datastoreItem>
</file>

<file path=customXml/itemProps16.xml><?xml version="1.0" encoding="utf-8"?>
<ds:datastoreItem xmlns:ds="http://schemas.openxmlformats.org/officeDocument/2006/customXml" ds:itemID="{5F1BA2D2-7164-4AA3-9905-93AAD42EA801}">
  <ds:schemaRefs/>
</ds:datastoreItem>
</file>

<file path=customXml/itemProps17.xml><?xml version="1.0" encoding="utf-8"?>
<ds:datastoreItem xmlns:ds="http://schemas.openxmlformats.org/officeDocument/2006/customXml" ds:itemID="{0D68FA31-D0BB-4208-A1F4-F5548843248F}">
  <ds:schemaRefs/>
</ds:datastoreItem>
</file>

<file path=customXml/itemProps18.xml><?xml version="1.0" encoding="utf-8"?>
<ds:datastoreItem xmlns:ds="http://schemas.openxmlformats.org/officeDocument/2006/customXml" ds:itemID="{FAB367E8-B4E2-48EB-9D27-DCE05EB9A566}">
  <ds:schemaRefs/>
</ds:datastoreItem>
</file>

<file path=customXml/itemProps19.xml><?xml version="1.0" encoding="utf-8"?>
<ds:datastoreItem xmlns:ds="http://schemas.openxmlformats.org/officeDocument/2006/customXml" ds:itemID="{ED0AF2BD-F6D9-4F95-A228-AA555162785C}">
  <ds:schemaRefs/>
</ds:datastoreItem>
</file>

<file path=customXml/itemProps2.xml><?xml version="1.0" encoding="utf-8"?>
<ds:datastoreItem xmlns:ds="http://schemas.openxmlformats.org/officeDocument/2006/customXml" ds:itemID="{9AF1707F-79FC-4B5F-A69A-C28AD8A6991C}">
  <ds:schemaRefs/>
</ds:datastoreItem>
</file>

<file path=customXml/itemProps20.xml><?xml version="1.0" encoding="utf-8"?>
<ds:datastoreItem xmlns:ds="http://schemas.openxmlformats.org/officeDocument/2006/customXml" ds:itemID="{0360AD4F-2AD1-4C89-9D4B-163E18421803}">
  <ds:schemaRefs/>
</ds:datastoreItem>
</file>

<file path=customXml/itemProps21.xml><?xml version="1.0" encoding="utf-8"?>
<ds:datastoreItem xmlns:ds="http://schemas.openxmlformats.org/officeDocument/2006/customXml" ds:itemID="{900B738A-27DD-47D5-98A8-9F79999B2AB7}">
  <ds:schemaRefs/>
</ds:datastoreItem>
</file>

<file path=customXml/itemProps22.xml><?xml version="1.0" encoding="utf-8"?>
<ds:datastoreItem xmlns:ds="http://schemas.openxmlformats.org/officeDocument/2006/customXml" ds:itemID="{2A7CC95A-3EEE-4873-A805-72BE482B1B23}">
  <ds:schemaRefs/>
</ds:datastoreItem>
</file>

<file path=customXml/itemProps23.xml><?xml version="1.0" encoding="utf-8"?>
<ds:datastoreItem xmlns:ds="http://schemas.openxmlformats.org/officeDocument/2006/customXml" ds:itemID="{3364B5FF-DA77-485A-84EB-0C597270CA54}">
  <ds:schemaRefs/>
</ds:datastoreItem>
</file>

<file path=customXml/itemProps24.xml><?xml version="1.0" encoding="utf-8"?>
<ds:datastoreItem xmlns:ds="http://schemas.openxmlformats.org/officeDocument/2006/customXml" ds:itemID="{600B0397-17EE-4CF4-8A9F-395A8C75CA90}">
  <ds:schemaRefs/>
</ds:datastoreItem>
</file>

<file path=customXml/itemProps25.xml><?xml version="1.0" encoding="utf-8"?>
<ds:datastoreItem xmlns:ds="http://schemas.openxmlformats.org/officeDocument/2006/customXml" ds:itemID="{EC36CA97-D8F1-460D-A456-0F0D80585F83}">
  <ds:schemaRefs/>
</ds:datastoreItem>
</file>

<file path=customXml/itemProps26.xml><?xml version="1.0" encoding="utf-8"?>
<ds:datastoreItem xmlns:ds="http://schemas.openxmlformats.org/officeDocument/2006/customXml" ds:itemID="{9DDF53D4-FFAC-4C97-BFAA-CE8C1301901A}">
  <ds:schemaRefs/>
</ds:datastoreItem>
</file>

<file path=customXml/itemProps27.xml><?xml version="1.0" encoding="utf-8"?>
<ds:datastoreItem xmlns:ds="http://schemas.openxmlformats.org/officeDocument/2006/customXml" ds:itemID="{FAF82C30-D110-4380-854A-CC88BED38534}">
  <ds:schemaRefs/>
</ds:datastoreItem>
</file>

<file path=customXml/itemProps28.xml><?xml version="1.0" encoding="utf-8"?>
<ds:datastoreItem xmlns:ds="http://schemas.openxmlformats.org/officeDocument/2006/customXml" ds:itemID="{F42B99E7-84A7-445E-B7BD-390A9D9CF0A2}">
  <ds:schemaRefs/>
</ds:datastoreItem>
</file>

<file path=customXml/itemProps29.xml><?xml version="1.0" encoding="utf-8"?>
<ds:datastoreItem xmlns:ds="http://schemas.openxmlformats.org/officeDocument/2006/customXml" ds:itemID="{245D49E4-1997-4F6E-A98E-854E91E32DA7}">
  <ds:schemaRefs/>
</ds:datastoreItem>
</file>

<file path=customXml/itemProps3.xml><?xml version="1.0" encoding="utf-8"?>
<ds:datastoreItem xmlns:ds="http://schemas.openxmlformats.org/officeDocument/2006/customXml" ds:itemID="{93FC99CF-6FEF-47E3-B64E-D30B9E474492}">
  <ds:schemaRefs/>
</ds:datastoreItem>
</file>

<file path=customXml/itemProps30.xml><?xml version="1.0" encoding="utf-8"?>
<ds:datastoreItem xmlns:ds="http://schemas.openxmlformats.org/officeDocument/2006/customXml" ds:itemID="{DA087BEF-0AEE-4FC0-A23B-D59305EC5EA8}">
  <ds:schemaRefs/>
</ds:datastoreItem>
</file>

<file path=customXml/itemProps31.xml><?xml version="1.0" encoding="utf-8"?>
<ds:datastoreItem xmlns:ds="http://schemas.openxmlformats.org/officeDocument/2006/customXml" ds:itemID="{11DCF4DF-271D-47A1-BCCF-74EEE1E9AA64}">
  <ds:schemaRefs/>
</ds:datastoreItem>
</file>

<file path=customXml/itemProps32.xml><?xml version="1.0" encoding="utf-8"?>
<ds:datastoreItem xmlns:ds="http://schemas.openxmlformats.org/officeDocument/2006/customXml" ds:itemID="{30FF2898-9629-4102-97C9-B64CB270E227}">
  <ds:schemaRefs/>
</ds:datastoreItem>
</file>

<file path=customXml/itemProps33.xml><?xml version="1.0" encoding="utf-8"?>
<ds:datastoreItem xmlns:ds="http://schemas.openxmlformats.org/officeDocument/2006/customXml" ds:itemID="{6EC1BD11-C1B8-4A42-9F37-92C26D497641}">
  <ds:schemaRefs/>
</ds:datastoreItem>
</file>

<file path=customXml/itemProps34.xml><?xml version="1.0" encoding="utf-8"?>
<ds:datastoreItem xmlns:ds="http://schemas.openxmlformats.org/officeDocument/2006/customXml" ds:itemID="{1DDEA310-B2FB-4AE0-A3E7-64C80C49A49C}">
  <ds:schemaRefs/>
</ds:datastoreItem>
</file>

<file path=customXml/itemProps35.xml><?xml version="1.0" encoding="utf-8"?>
<ds:datastoreItem xmlns:ds="http://schemas.openxmlformats.org/officeDocument/2006/customXml" ds:itemID="{6DA29A72-90F0-4F83-8F38-CCB338407014}">
  <ds:schemaRefs/>
</ds:datastoreItem>
</file>

<file path=customXml/itemProps36.xml><?xml version="1.0" encoding="utf-8"?>
<ds:datastoreItem xmlns:ds="http://schemas.openxmlformats.org/officeDocument/2006/customXml" ds:itemID="{141051AB-AD7A-4ED9-A910-43CFFF6C46AE}">
  <ds:schemaRefs/>
</ds:datastoreItem>
</file>

<file path=customXml/itemProps37.xml><?xml version="1.0" encoding="utf-8"?>
<ds:datastoreItem xmlns:ds="http://schemas.openxmlformats.org/officeDocument/2006/customXml" ds:itemID="{B3C39D72-7795-4FB3-9947-6037666F063F}">
  <ds:schemaRefs/>
</ds:datastoreItem>
</file>

<file path=customXml/itemProps38.xml><?xml version="1.0" encoding="utf-8"?>
<ds:datastoreItem xmlns:ds="http://schemas.openxmlformats.org/officeDocument/2006/customXml" ds:itemID="{ACEA355C-87B0-4301-8DC5-B017278D42F6}">
  <ds:schemaRefs/>
</ds:datastoreItem>
</file>

<file path=customXml/itemProps39.xml><?xml version="1.0" encoding="utf-8"?>
<ds:datastoreItem xmlns:ds="http://schemas.openxmlformats.org/officeDocument/2006/customXml" ds:itemID="{8F18F66D-B0BF-4A30-9DB3-FE47F0EF2378}">
  <ds:schemaRefs/>
</ds:datastoreItem>
</file>

<file path=customXml/itemProps4.xml><?xml version="1.0" encoding="utf-8"?>
<ds:datastoreItem xmlns:ds="http://schemas.openxmlformats.org/officeDocument/2006/customXml" ds:itemID="{4C625363-DC6D-46A1-AA84-8A3D80F0E5F5}">
  <ds:schemaRefs/>
</ds:datastoreItem>
</file>

<file path=customXml/itemProps40.xml><?xml version="1.0" encoding="utf-8"?>
<ds:datastoreItem xmlns:ds="http://schemas.openxmlformats.org/officeDocument/2006/customXml" ds:itemID="{E2DB5B21-87A0-410F-BF32-E412872D372E}">
  <ds:schemaRefs/>
</ds:datastoreItem>
</file>

<file path=customXml/itemProps41.xml><?xml version="1.0" encoding="utf-8"?>
<ds:datastoreItem xmlns:ds="http://schemas.openxmlformats.org/officeDocument/2006/customXml" ds:itemID="{4E24E822-E48B-484D-AA6A-4D7DFC8C39E8}">
  <ds:schemaRefs/>
</ds:datastoreItem>
</file>

<file path=customXml/itemProps42.xml><?xml version="1.0" encoding="utf-8"?>
<ds:datastoreItem xmlns:ds="http://schemas.openxmlformats.org/officeDocument/2006/customXml" ds:itemID="{BEDC34BF-4D3E-48A3-A4C7-17691CEE4E4C}">
  <ds:schemaRefs/>
</ds:datastoreItem>
</file>

<file path=customXml/itemProps43.xml><?xml version="1.0" encoding="utf-8"?>
<ds:datastoreItem xmlns:ds="http://schemas.openxmlformats.org/officeDocument/2006/customXml" ds:itemID="{75A10FD1-5075-4B47-B901-FDEE6F3F8502}">
  <ds:schemaRefs/>
</ds:datastoreItem>
</file>

<file path=customXml/itemProps44.xml><?xml version="1.0" encoding="utf-8"?>
<ds:datastoreItem xmlns:ds="http://schemas.openxmlformats.org/officeDocument/2006/customXml" ds:itemID="{2440B15B-AEC5-4ED5-8ACF-3B7E0CB65524}">
  <ds:schemaRefs/>
</ds:datastoreItem>
</file>

<file path=customXml/itemProps45.xml><?xml version="1.0" encoding="utf-8"?>
<ds:datastoreItem xmlns:ds="http://schemas.openxmlformats.org/officeDocument/2006/customXml" ds:itemID="{794E8F0E-6057-4B4A-8AF8-2E9C500D03E8}">
  <ds:schemaRefs/>
</ds:datastoreItem>
</file>

<file path=customXml/itemProps46.xml><?xml version="1.0" encoding="utf-8"?>
<ds:datastoreItem xmlns:ds="http://schemas.openxmlformats.org/officeDocument/2006/customXml" ds:itemID="{C42A1016-3B9F-4FD8-98CE-FE9BDD084B93}">
  <ds:schemaRefs/>
</ds:datastoreItem>
</file>

<file path=customXml/itemProps47.xml><?xml version="1.0" encoding="utf-8"?>
<ds:datastoreItem xmlns:ds="http://schemas.openxmlformats.org/officeDocument/2006/customXml" ds:itemID="{C7C2D84D-344D-4B9C-AEAA-9DB429091EE5}">
  <ds:schemaRefs/>
</ds:datastoreItem>
</file>

<file path=customXml/itemProps48.xml><?xml version="1.0" encoding="utf-8"?>
<ds:datastoreItem xmlns:ds="http://schemas.openxmlformats.org/officeDocument/2006/customXml" ds:itemID="{5000CA26-732D-4C2D-8C20-965EE72C1ABA}">
  <ds:schemaRefs/>
</ds:datastoreItem>
</file>

<file path=customXml/itemProps49.xml><?xml version="1.0" encoding="utf-8"?>
<ds:datastoreItem xmlns:ds="http://schemas.openxmlformats.org/officeDocument/2006/customXml" ds:itemID="{86E2B3FA-E627-4264-A92C-923E494D3AC9}">
  <ds:schemaRefs/>
</ds:datastoreItem>
</file>

<file path=customXml/itemProps5.xml><?xml version="1.0" encoding="utf-8"?>
<ds:datastoreItem xmlns:ds="http://schemas.openxmlformats.org/officeDocument/2006/customXml" ds:itemID="{3D98F86D-7AE5-4CB6-80CA-7423F5EE670C}">
  <ds:schemaRefs/>
</ds:datastoreItem>
</file>

<file path=customXml/itemProps50.xml><?xml version="1.0" encoding="utf-8"?>
<ds:datastoreItem xmlns:ds="http://schemas.openxmlformats.org/officeDocument/2006/customXml" ds:itemID="{BF558C2E-8102-4744-9DAC-327CED63F5AE}">
  <ds:schemaRefs/>
</ds:datastoreItem>
</file>

<file path=customXml/itemProps51.xml><?xml version="1.0" encoding="utf-8"?>
<ds:datastoreItem xmlns:ds="http://schemas.openxmlformats.org/officeDocument/2006/customXml" ds:itemID="{7CDBE0C3-3521-489E-B30A-560F3B411E05}">
  <ds:schemaRefs/>
</ds:datastoreItem>
</file>

<file path=customXml/itemProps52.xml><?xml version="1.0" encoding="utf-8"?>
<ds:datastoreItem xmlns:ds="http://schemas.openxmlformats.org/officeDocument/2006/customXml" ds:itemID="{F82636C0-DEC5-48F0-B9A1-E8F64E22A58C}">
  <ds:schemaRefs/>
</ds:datastoreItem>
</file>

<file path=customXml/itemProps53.xml><?xml version="1.0" encoding="utf-8"?>
<ds:datastoreItem xmlns:ds="http://schemas.openxmlformats.org/officeDocument/2006/customXml" ds:itemID="{14B4E2CF-55D3-49F9-9972-5F97524CBB21}">
  <ds:schemaRefs/>
</ds:datastoreItem>
</file>

<file path=customXml/itemProps54.xml><?xml version="1.0" encoding="utf-8"?>
<ds:datastoreItem xmlns:ds="http://schemas.openxmlformats.org/officeDocument/2006/customXml" ds:itemID="{FD91C283-4DED-48FC-9958-6E87B46B9FF5}">
  <ds:schemaRefs/>
</ds:datastoreItem>
</file>

<file path=customXml/itemProps55.xml><?xml version="1.0" encoding="utf-8"?>
<ds:datastoreItem xmlns:ds="http://schemas.openxmlformats.org/officeDocument/2006/customXml" ds:itemID="{F2859E8C-C5F4-499A-8402-138C99C63DBA}">
  <ds:schemaRefs/>
</ds:datastoreItem>
</file>

<file path=customXml/itemProps56.xml><?xml version="1.0" encoding="utf-8"?>
<ds:datastoreItem xmlns:ds="http://schemas.openxmlformats.org/officeDocument/2006/customXml" ds:itemID="{5ABB5CE5-8D6E-4C58-B002-86134AEEBCA4}">
  <ds:schemaRefs/>
</ds:datastoreItem>
</file>

<file path=customXml/itemProps57.xml><?xml version="1.0" encoding="utf-8"?>
<ds:datastoreItem xmlns:ds="http://schemas.openxmlformats.org/officeDocument/2006/customXml" ds:itemID="{04B9CA3C-507A-480D-A18E-6B70E4E84EAC}">
  <ds:schemaRefs/>
</ds:datastoreItem>
</file>

<file path=customXml/itemProps58.xml><?xml version="1.0" encoding="utf-8"?>
<ds:datastoreItem xmlns:ds="http://schemas.openxmlformats.org/officeDocument/2006/customXml" ds:itemID="{A4295BA2-2CC4-40C2-B89C-6E4AEE993A23}">
  <ds:schemaRefs/>
</ds:datastoreItem>
</file>

<file path=customXml/itemProps59.xml><?xml version="1.0" encoding="utf-8"?>
<ds:datastoreItem xmlns:ds="http://schemas.openxmlformats.org/officeDocument/2006/customXml" ds:itemID="{64A2BE71-1CEB-4A6B-BC4F-34F4FF25C820}">
  <ds:schemaRefs/>
</ds:datastoreItem>
</file>

<file path=customXml/itemProps6.xml><?xml version="1.0" encoding="utf-8"?>
<ds:datastoreItem xmlns:ds="http://schemas.openxmlformats.org/officeDocument/2006/customXml" ds:itemID="{47652ED5-7723-4003-9AF9-854B83002549}">
  <ds:schemaRefs/>
</ds:datastoreItem>
</file>

<file path=customXml/itemProps60.xml><?xml version="1.0" encoding="utf-8"?>
<ds:datastoreItem xmlns:ds="http://schemas.openxmlformats.org/officeDocument/2006/customXml" ds:itemID="{D5EC25B5-CDB0-4553-BB2D-3025E1B718D0}">
  <ds:schemaRefs/>
</ds:datastoreItem>
</file>

<file path=customXml/itemProps61.xml><?xml version="1.0" encoding="utf-8"?>
<ds:datastoreItem xmlns:ds="http://schemas.openxmlformats.org/officeDocument/2006/customXml" ds:itemID="{2298CB8A-8D8C-481A-9FB2-6B9B6F75B651}">
  <ds:schemaRefs/>
</ds:datastoreItem>
</file>

<file path=customXml/itemProps7.xml><?xml version="1.0" encoding="utf-8"?>
<ds:datastoreItem xmlns:ds="http://schemas.openxmlformats.org/officeDocument/2006/customXml" ds:itemID="{501D2D73-B62D-4FAD-AFB9-C63F0C8A271B}">
  <ds:schemaRefs/>
</ds:datastoreItem>
</file>

<file path=customXml/itemProps8.xml><?xml version="1.0" encoding="utf-8"?>
<ds:datastoreItem xmlns:ds="http://schemas.openxmlformats.org/officeDocument/2006/customXml" ds:itemID="{12E74737-56F8-4003-B4A6-FECC0FAE7A36}">
  <ds:schemaRefs/>
</ds:datastoreItem>
</file>

<file path=customXml/itemProps9.xml><?xml version="1.0" encoding="utf-8"?>
<ds:datastoreItem xmlns:ds="http://schemas.openxmlformats.org/officeDocument/2006/customXml" ds:itemID="{83318F47-7518-422B-8F42-F0509D6390C3}">
  <ds:schemaRefs/>
</ds:datastoreItem>
</file>

<file path=docProps/app.xml><?xml version="1.0" encoding="utf-8"?>
<Properties xmlns="http://schemas.openxmlformats.org/officeDocument/2006/extended-properties" xmlns:vt="http://schemas.openxmlformats.org/officeDocument/2006/docPropsVTypes">
  <TotalTime>0</TotalTime>
  <Words>8054</Words>
  <Application>Microsoft Office PowerPoint</Application>
  <PresentationFormat>Widescreen</PresentationFormat>
  <Paragraphs>1080</Paragraphs>
  <Slides>84</Slides>
  <Notes>7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84</vt:i4>
      </vt:variant>
    </vt:vector>
  </HeadingPairs>
  <TitlesOfParts>
    <vt:vector size="100" baseType="lpstr">
      <vt:lpstr>Arial Unicode MS</vt:lpstr>
      <vt:lpstr>ＭＳ Ｐゴシック</vt:lpstr>
      <vt:lpstr>Arial</vt:lpstr>
      <vt:lpstr>Calibri</vt:lpstr>
      <vt:lpstr>Helvetica</vt:lpstr>
      <vt:lpstr>Siemens Sans</vt:lpstr>
      <vt:lpstr>Siemens Sans Black</vt:lpstr>
      <vt:lpstr>Siemens Sans regular</vt:lpstr>
      <vt:lpstr>Siemens Sans Roman</vt:lpstr>
      <vt:lpstr>Times New Roman</vt:lpstr>
      <vt:lpstr>Verdana</vt:lpstr>
      <vt:lpstr>Wingdings</vt:lpstr>
      <vt:lpstr>ヒラギノ角ゴ Pro W3</vt:lpstr>
      <vt:lpstr>1_Siemens 2016 – 16:9</vt:lpstr>
      <vt:lpstr>think-cell Slide</vt:lpstr>
      <vt:lpstr>think-cell Folie</vt:lpstr>
      <vt:lpstr>PowerPoint Presentation</vt:lpstr>
      <vt:lpstr>MindConnect Device Training Learning Goals</vt:lpstr>
      <vt:lpstr>PowerPoint Presentation</vt:lpstr>
      <vt:lpstr>PowerPoint Presentation</vt:lpstr>
      <vt:lpstr>MindSphere Introduction Learning Goals</vt:lpstr>
      <vt:lpstr>MindSphere Portfolio Overview </vt:lpstr>
      <vt:lpstr>MindSphere Portfolio Overview </vt:lpstr>
      <vt:lpstr>MindSphere Overview</vt:lpstr>
      <vt:lpstr>MindSphere Connectivity</vt:lpstr>
      <vt:lpstr>Connectivity MindSphere MindConnect (3.0) </vt:lpstr>
      <vt:lpstr>Connecting Assets to MindSphere (2.0) </vt:lpstr>
      <vt:lpstr>MindSphere Connectivity Suite MindConnect Nano</vt:lpstr>
      <vt:lpstr>MindSphere Connectivity Suite MindConnect IoT2040</vt:lpstr>
      <vt:lpstr>Structure of MindSphere Connectivity  MindConnect Nano/ IoT2040</vt:lpstr>
      <vt:lpstr>MindSphere Connectivity Suite MindConnect FB 1500* </vt:lpstr>
      <vt:lpstr>Structure of MindSphere Connectivity  MindConnect FB 1500</vt:lpstr>
      <vt:lpstr>MindSphere Connectivity Suite MindConnect LIB</vt:lpstr>
      <vt:lpstr>Connectivity  MindConnect IoT Extension (3.0)</vt:lpstr>
      <vt:lpstr>Connectivity MindConnect Integration (3.0)</vt:lpstr>
      <vt:lpstr>PowerPoint Presentation</vt:lpstr>
      <vt:lpstr>MindSphere Introduction Learning Goals</vt:lpstr>
      <vt:lpstr>PowerPoint Presentation</vt:lpstr>
      <vt:lpstr>MindSphere Launchpad Learning Goals</vt:lpstr>
      <vt:lpstr>MindSphere Launchpad Overview (3.0) </vt:lpstr>
      <vt:lpstr>PowerPoint Presentation</vt:lpstr>
      <vt:lpstr>MindSphere 3.0 Asset Manager</vt:lpstr>
      <vt:lpstr>MindSphere 3.0 Asset Manager</vt:lpstr>
      <vt:lpstr>MindSphere 3.0 Asset and Hierarchy</vt:lpstr>
      <vt:lpstr>PowerPoint Presentation</vt:lpstr>
      <vt:lpstr>MindSphere 3.0 Fleet Manager</vt:lpstr>
      <vt:lpstr>Fleet Manager Visual Analyzer</vt:lpstr>
      <vt:lpstr>MindSphere Applications Hands-On Exercise 1</vt:lpstr>
      <vt:lpstr>MindSphere Launchpad Summary</vt:lpstr>
      <vt:lpstr>PowerPoint Presentation</vt:lpstr>
      <vt:lpstr>TIA Portal Learning Goals</vt:lpstr>
      <vt:lpstr>TIA Portal</vt:lpstr>
      <vt:lpstr>TIA Portal Hands-On Exercise 2</vt:lpstr>
      <vt:lpstr>TIA Portal Summary</vt:lpstr>
      <vt:lpstr>PowerPoint Presentation</vt:lpstr>
      <vt:lpstr>MindSphere Assets Learning Goals</vt:lpstr>
      <vt:lpstr>Configuration with S7 Requirements for Configuration</vt:lpstr>
      <vt:lpstr>Configuration with S7 What is S7 protocol</vt:lpstr>
      <vt:lpstr>Configuration with S7 S7 protocol</vt:lpstr>
      <vt:lpstr>Configuration with S7 Server and Client</vt:lpstr>
      <vt:lpstr>Configuration with S7 Hands-On Exercise 3</vt:lpstr>
      <vt:lpstr>Configuration with S7 Hands-On Exercise 4</vt:lpstr>
      <vt:lpstr>Configuration with S7 Summary</vt:lpstr>
      <vt:lpstr>PowerPoint Presentation</vt:lpstr>
      <vt:lpstr>Configuration with OPC UA Learning Goals</vt:lpstr>
      <vt:lpstr>Configuration with OPC UA What is OPC UA</vt:lpstr>
      <vt:lpstr>Configuration with OPC UA Industry 4.0 </vt:lpstr>
      <vt:lpstr>Configuration with OPC UA Siemens Reference</vt:lpstr>
      <vt:lpstr>Configuration with OPC UA Information Modeling </vt:lpstr>
      <vt:lpstr>Configuration with OPC UA OPC UA Server and Client</vt:lpstr>
      <vt:lpstr>Configuration with OPC UA OPC UA Transport</vt:lpstr>
      <vt:lpstr>Configuration with OPC UA OPC UA Services</vt:lpstr>
      <vt:lpstr>Configuration with OPC UA Address Space Concepts</vt:lpstr>
      <vt:lpstr>Configuration with OPC UA NodeID</vt:lpstr>
      <vt:lpstr>OPC UA Configuration Hands-On Exercise 4</vt:lpstr>
      <vt:lpstr>MindSphere Launchpad Summary</vt:lpstr>
      <vt:lpstr>PowerPoint Presentation</vt:lpstr>
      <vt:lpstr>MindSphere Assets Learning Goals</vt:lpstr>
      <vt:lpstr>MindSphere Connectivity Suite MindConnect FB 1500* </vt:lpstr>
      <vt:lpstr>MindConnect FB</vt:lpstr>
      <vt:lpstr>MindConnect FB Configuration Hands-On Exercise 6</vt:lpstr>
      <vt:lpstr>Configuration of MindConnect FB Summary</vt:lpstr>
      <vt:lpstr>PowerPoint Presentation</vt:lpstr>
      <vt:lpstr>MindConnect IoT Extension &amp; MindConnect Integration Learning Goals</vt:lpstr>
      <vt:lpstr>Connectivity Services Offering Overview – connectivity for MindSphere 3.0</vt:lpstr>
      <vt:lpstr>PowerPoint Presentation</vt:lpstr>
      <vt:lpstr>PowerPoint Presentation</vt:lpstr>
      <vt:lpstr>PowerPoint Presentation</vt:lpstr>
      <vt:lpstr>PowerPoint Presentation</vt:lpstr>
      <vt:lpstr>PowerPoint Presentation</vt:lpstr>
      <vt:lpstr>Connectivity  MindConnect IoT Extension</vt:lpstr>
      <vt:lpstr>Connectivity MindConnect Integration</vt:lpstr>
      <vt:lpstr>MindConnect IoT Extension &amp; MindConnect Integration Hands-On Exercise 7</vt:lpstr>
      <vt:lpstr>MindConnect IoT Extension &amp; MindConnect Integration Summary</vt:lpstr>
      <vt:lpstr>PowerPoint Presentation</vt:lpstr>
      <vt:lpstr>MindSphere Summary &amp; Feedback Learning Goals</vt:lpstr>
      <vt:lpstr>MindSphere Forums &amp; Network </vt:lpstr>
      <vt:lpstr>MindSphere Connect to Us</vt:lpstr>
      <vt:lpstr>Forums &amp; Network Summary</vt:lpstr>
      <vt:lpstr>PowerPoint Presentation</vt:lpstr>
    </vt:vector>
  </TitlesOfParts>
  <Company>Siemens PLM Softwa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well, Bill</dc:creator>
  <cp:keywords>C_Restricted</cp:keywords>
  <cp:lastModifiedBy>Beck, Stephanie (DF PL DS TS DEL 4)</cp:lastModifiedBy>
  <cp:revision>323</cp:revision>
  <dcterms:created xsi:type="dcterms:W3CDTF">2017-08-03T00:21:08Z</dcterms:created>
  <dcterms:modified xsi:type="dcterms:W3CDTF">2018-08-21T12:2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Restricted</vt:lpwstr>
  </property>
  <property fmtid="{D5CDD505-2E9C-101B-9397-08002B2CF9AE}" pid="3" name="_AdHocReviewCycleID">
    <vt:i4>108856257</vt:i4>
  </property>
  <property fmtid="{D5CDD505-2E9C-101B-9397-08002B2CF9AE}" pid="4" name="_NewReviewCycle">
    <vt:lpwstr/>
  </property>
  <property fmtid="{D5CDD505-2E9C-101B-9397-08002B2CF9AE}" pid="5" name="_EmailSubject">
    <vt:lpwstr>Latest PPT template for MindSphere</vt:lpwstr>
  </property>
  <property fmtid="{D5CDD505-2E9C-101B-9397-08002B2CF9AE}" pid="6" name="_AuthorEmail">
    <vt:lpwstr>roswitha.skowronek@siemens.com</vt:lpwstr>
  </property>
  <property fmtid="{D5CDD505-2E9C-101B-9397-08002B2CF9AE}" pid="7" name="_AuthorEmailDisplayName">
    <vt:lpwstr>Skowronek, Roswitha (DF PL DS TS SE)</vt:lpwstr>
  </property>
</Properties>
</file>